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706" r:id="rId5"/>
    <p:sldMasterId id="2147483840" r:id="rId6"/>
  </p:sldMasterIdLst>
  <p:notesMasterIdLst>
    <p:notesMasterId r:id="rId13"/>
  </p:notesMasterIdLst>
  <p:handoutMasterIdLst>
    <p:handoutMasterId r:id="rId14"/>
  </p:handoutMasterIdLst>
  <p:sldIdLst>
    <p:sldId id="256" r:id="rId7"/>
    <p:sldId id="2146847657" r:id="rId8"/>
    <p:sldId id="2146847661" r:id="rId9"/>
    <p:sldId id="2146847660" r:id="rId10"/>
    <p:sldId id="2146847664" r:id="rId11"/>
    <p:sldId id="2146847656" r:id="rId12"/>
  </p:sldIdLst>
  <p:sldSz cx="12192000" cy="6858000"/>
  <p:notesSz cx="6985000" cy="92837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urnbull, Theodora" initials="TT" lastIdx="2" clrIdx="0">
    <p:extLst>
      <p:ext uri="{19B8F6BF-5375-455C-9EA6-DF929625EA0E}">
        <p15:presenceInfo xmlns:p15="http://schemas.microsoft.com/office/powerpoint/2012/main" userId="S::theodora.turnbull@yrbrands.com::bf6960fe-78b6-410a-a6f3-bd159e868d08" providerId="AD"/>
      </p:ext>
    </p:extLst>
  </p:cmAuthor>
  <p:cmAuthor id="2" name="Hopkins, Andrea" initials="HA" lastIdx="1" clrIdx="1">
    <p:extLst>
      <p:ext uri="{19B8F6BF-5375-455C-9EA6-DF929625EA0E}">
        <p15:presenceInfo xmlns:p15="http://schemas.microsoft.com/office/powerpoint/2012/main" userId="S::Andrea.Hopkins@kcc.com::923c5afb-a09b-4cf9-91be-c6298bf6d287" providerId="AD"/>
      </p:ext>
    </p:extLst>
  </p:cmAuthor>
  <p:cmAuthor id="3" name="Francesca" initials="F" lastIdx="3" clrIdx="2">
    <p:extLst>
      <p:ext uri="{19B8F6BF-5375-455C-9EA6-DF929625EA0E}">
        <p15:presenceInfo xmlns:p15="http://schemas.microsoft.com/office/powerpoint/2012/main" userId="S::francesca.woodhouse@yrbrands.com::2e6055d8-b0f6-480f-9ce2-7fc27eae3e8e" providerId="AD"/>
      </p:ext>
    </p:extLst>
  </p:cmAuthor>
  <p:cmAuthor id="4" name="Bollard, Katherine" initials="BK" lastIdx="19" clrIdx="3">
    <p:extLst>
      <p:ext uri="{19B8F6BF-5375-455C-9EA6-DF929625EA0E}">
        <p15:presenceInfo xmlns:p15="http://schemas.microsoft.com/office/powerpoint/2012/main" userId="S::katherine.bollard@kcc.com::67567e79-4cd1-417b-9e4e-3706bdae38d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53BBD"/>
    <a:srgbClr val="FCD7DA"/>
    <a:srgbClr val="D6F6EA"/>
    <a:srgbClr val="E3D7F3"/>
    <a:srgbClr val="582C8E"/>
    <a:srgbClr val="BED2F3"/>
    <a:srgbClr val="10069F"/>
    <a:srgbClr val="AC87DA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898" autoAdjust="0"/>
    <p:restoredTop sz="66843" autoAdjust="0"/>
  </p:normalViewPr>
  <p:slideViewPr>
    <p:cSldViewPr snapToGrid="0">
      <p:cViewPr varScale="1">
        <p:scale>
          <a:sx n="54" d="100"/>
          <a:sy n="54" d="100"/>
        </p:scale>
        <p:origin x="1858" y="6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5797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56550" y="0"/>
            <a:ext cx="3026833" cy="465797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/>
            </a:lvl1pPr>
          </a:lstStyle>
          <a:p>
            <a:fld id="{052D52A2-C044-4922-80D1-0DEE69100E12}" type="datetimeFigureOut">
              <a:rPr lang="en-US" smtClean="0"/>
              <a:t>4/1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7904"/>
            <a:ext cx="3026833" cy="465796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6550" y="8817904"/>
            <a:ext cx="3026833" cy="465796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r">
              <a:defRPr sz="1200"/>
            </a:lvl1pPr>
          </a:lstStyle>
          <a:p>
            <a:fld id="{63F97C05-5853-42FC-AA9B-4E91CB238B0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572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5797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550" y="0"/>
            <a:ext cx="3026833" cy="465797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/>
            </a:lvl1pPr>
          </a:lstStyle>
          <a:p>
            <a:fld id="{6600CF6F-3760-41FE-BDA4-EB4BA8BF9B25}" type="datetimeFigureOut">
              <a:rPr lang="en-US" smtClean="0"/>
              <a:t>4/1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6438" y="639390"/>
            <a:ext cx="5572125" cy="3133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58" tIns="46479" rIns="92958" bIns="4647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71849" y="3946708"/>
            <a:ext cx="6437870" cy="4690665"/>
          </a:xfrm>
          <a:prstGeom prst="rect">
            <a:avLst/>
          </a:prstGeom>
        </p:spPr>
        <p:txBody>
          <a:bodyPr vert="horz" lIns="92958" tIns="46479" rIns="92958" bIns="4647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26833" cy="465796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550" y="8817904"/>
            <a:ext cx="3026833" cy="465796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r">
              <a:defRPr sz="1200"/>
            </a:lvl1pPr>
          </a:lstStyle>
          <a:p>
            <a:fld id="{3C0D4FCC-7CF6-43E1-B9EB-70DFE705B0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21542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4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4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4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4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4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6438" y="639763"/>
            <a:ext cx="5572125" cy="31337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0D4FCC-7CF6-43E1-B9EB-70DFE705B0C9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43801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emf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le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2142" y="2336800"/>
            <a:ext cx="5788152" cy="2091087"/>
          </a:xfrm>
        </p:spPr>
        <p:txBody>
          <a:bodyPr anchor="ctr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2142" y="4427887"/>
            <a:ext cx="5789202" cy="1285515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3E7FBFD-78E1-42FB-85FC-D9CE5E3DEFA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70622" y="276225"/>
            <a:ext cx="2165537" cy="271230"/>
            <a:chOff x="158750" y="276225"/>
            <a:chExt cx="6388100" cy="800100"/>
          </a:xfrm>
          <a:solidFill>
            <a:schemeClr val="bg1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158750" y="276225"/>
              <a:ext cx="857250" cy="736600"/>
            </a:xfrm>
            <a:custGeom>
              <a:avLst/>
              <a:gdLst>
                <a:gd name="T0" fmla="*/ 298 w 540"/>
                <a:gd name="T1" fmla="*/ 0 h 464"/>
                <a:gd name="T2" fmla="*/ 374 w 540"/>
                <a:gd name="T3" fmla="*/ 18 h 464"/>
                <a:gd name="T4" fmla="*/ 442 w 540"/>
                <a:gd name="T5" fmla="*/ 52 h 464"/>
                <a:gd name="T6" fmla="*/ 494 w 540"/>
                <a:gd name="T7" fmla="*/ 102 h 464"/>
                <a:gd name="T8" fmla="*/ 528 w 540"/>
                <a:gd name="T9" fmla="*/ 162 h 464"/>
                <a:gd name="T10" fmla="*/ 540 w 540"/>
                <a:gd name="T11" fmla="*/ 232 h 464"/>
                <a:gd name="T12" fmla="*/ 534 w 540"/>
                <a:gd name="T13" fmla="*/ 278 h 464"/>
                <a:gd name="T14" fmla="*/ 506 w 540"/>
                <a:gd name="T15" fmla="*/ 342 h 464"/>
                <a:gd name="T16" fmla="*/ 460 w 540"/>
                <a:gd name="T17" fmla="*/ 396 h 464"/>
                <a:gd name="T18" fmla="*/ 398 w 540"/>
                <a:gd name="T19" fmla="*/ 436 h 464"/>
                <a:gd name="T20" fmla="*/ 324 w 540"/>
                <a:gd name="T21" fmla="*/ 460 h 464"/>
                <a:gd name="T22" fmla="*/ 270 w 540"/>
                <a:gd name="T23" fmla="*/ 464 h 464"/>
                <a:gd name="T24" fmla="*/ 190 w 540"/>
                <a:gd name="T25" fmla="*/ 454 h 464"/>
                <a:gd name="T26" fmla="*/ 118 w 540"/>
                <a:gd name="T27" fmla="*/ 424 h 464"/>
                <a:gd name="T28" fmla="*/ 62 w 540"/>
                <a:gd name="T29" fmla="*/ 380 h 464"/>
                <a:gd name="T30" fmla="*/ 20 w 540"/>
                <a:gd name="T31" fmla="*/ 322 h 464"/>
                <a:gd name="T32" fmla="*/ 2 w 540"/>
                <a:gd name="T33" fmla="*/ 256 h 464"/>
                <a:gd name="T34" fmla="*/ 2 w 540"/>
                <a:gd name="T35" fmla="*/ 208 h 464"/>
                <a:gd name="T36" fmla="*/ 20 w 540"/>
                <a:gd name="T37" fmla="*/ 142 h 464"/>
                <a:gd name="T38" fmla="*/ 62 w 540"/>
                <a:gd name="T39" fmla="*/ 84 h 464"/>
                <a:gd name="T40" fmla="*/ 118 w 540"/>
                <a:gd name="T41" fmla="*/ 40 h 464"/>
                <a:gd name="T42" fmla="*/ 190 w 540"/>
                <a:gd name="T43" fmla="*/ 10 h 464"/>
                <a:gd name="T44" fmla="*/ 270 w 540"/>
                <a:gd name="T45" fmla="*/ 0 h 464"/>
                <a:gd name="T46" fmla="*/ 270 w 540"/>
                <a:gd name="T47" fmla="*/ 232 h 464"/>
                <a:gd name="T48" fmla="*/ 220 w 540"/>
                <a:gd name="T49" fmla="*/ 196 h 464"/>
                <a:gd name="T50" fmla="*/ 208 w 540"/>
                <a:gd name="T51" fmla="*/ 176 h 464"/>
                <a:gd name="T52" fmla="*/ 156 w 540"/>
                <a:gd name="T53" fmla="*/ 130 h 464"/>
                <a:gd name="T54" fmla="*/ 76 w 540"/>
                <a:gd name="T55" fmla="*/ 152 h 464"/>
                <a:gd name="T56" fmla="*/ 130 w 540"/>
                <a:gd name="T57" fmla="*/ 204 h 464"/>
                <a:gd name="T58" fmla="*/ 138 w 540"/>
                <a:gd name="T59" fmla="*/ 230 h 464"/>
                <a:gd name="T60" fmla="*/ 132 w 540"/>
                <a:gd name="T61" fmla="*/ 244 h 464"/>
                <a:gd name="T62" fmla="*/ 108 w 540"/>
                <a:gd name="T63" fmla="*/ 250 h 464"/>
                <a:gd name="T64" fmla="*/ 38 w 540"/>
                <a:gd name="T65" fmla="*/ 330 h 464"/>
                <a:gd name="T66" fmla="*/ 146 w 540"/>
                <a:gd name="T67" fmla="*/ 330 h 464"/>
                <a:gd name="T68" fmla="*/ 186 w 540"/>
                <a:gd name="T69" fmla="*/ 320 h 464"/>
                <a:gd name="T70" fmla="*/ 214 w 540"/>
                <a:gd name="T71" fmla="*/ 296 h 464"/>
                <a:gd name="T72" fmla="*/ 320 w 540"/>
                <a:gd name="T73" fmla="*/ 390 h 464"/>
                <a:gd name="T74" fmla="*/ 326 w 540"/>
                <a:gd name="T75" fmla="*/ 296 h 464"/>
                <a:gd name="T76" fmla="*/ 352 w 540"/>
                <a:gd name="T77" fmla="*/ 320 h 464"/>
                <a:gd name="T78" fmla="*/ 392 w 540"/>
                <a:gd name="T79" fmla="*/ 330 h 464"/>
                <a:gd name="T80" fmla="*/ 500 w 540"/>
                <a:gd name="T81" fmla="*/ 250 h 464"/>
                <a:gd name="T82" fmla="*/ 432 w 540"/>
                <a:gd name="T83" fmla="*/ 250 h 464"/>
                <a:gd name="T84" fmla="*/ 408 w 540"/>
                <a:gd name="T85" fmla="*/ 244 h 464"/>
                <a:gd name="T86" fmla="*/ 400 w 540"/>
                <a:gd name="T87" fmla="*/ 230 h 464"/>
                <a:gd name="T88" fmla="*/ 410 w 540"/>
                <a:gd name="T89" fmla="*/ 204 h 464"/>
                <a:gd name="T90" fmla="*/ 462 w 540"/>
                <a:gd name="T91" fmla="*/ 152 h 464"/>
                <a:gd name="T92" fmla="*/ 382 w 540"/>
                <a:gd name="T93" fmla="*/ 130 h 464"/>
                <a:gd name="T94" fmla="*/ 330 w 540"/>
                <a:gd name="T95" fmla="*/ 176 h 464"/>
                <a:gd name="T96" fmla="*/ 320 w 540"/>
                <a:gd name="T97" fmla="*/ 19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40" h="464">
                  <a:moveTo>
                    <a:pt x="270" y="0"/>
                  </a:moveTo>
                  <a:lnTo>
                    <a:pt x="270" y="0"/>
                  </a:lnTo>
                  <a:lnTo>
                    <a:pt x="298" y="0"/>
                  </a:lnTo>
                  <a:lnTo>
                    <a:pt x="324" y="4"/>
                  </a:lnTo>
                  <a:lnTo>
                    <a:pt x="350" y="10"/>
                  </a:lnTo>
                  <a:lnTo>
                    <a:pt x="374" y="18"/>
                  </a:lnTo>
                  <a:lnTo>
                    <a:pt x="398" y="28"/>
                  </a:lnTo>
                  <a:lnTo>
                    <a:pt x="420" y="40"/>
                  </a:lnTo>
                  <a:lnTo>
                    <a:pt x="442" y="52"/>
                  </a:lnTo>
                  <a:lnTo>
                    <a:pt x="460" y="68"/>
                  </a:lnTo>
                  <a:lnTo>
                    <a:pt x="478" y="84"/>
                  </a:lnTo>
                  <a:lnTo>
                    <a:pt x="494" y="102"/>
                  </a:lnTo>
                  <a:lnTo>
                    <a:pt x="506" y="122"/>
                  </a:lnTo>
                  <a:lnTo>
                    <a:pt x="518" y="142"/>
                  </a:lnTo>
                  <a:lnTo>
                    <a:pt x="528" y="162"/>
                  </a:lnTo>
                  <a:lnTo>
                    <a:pt x="534" y="184"/>
                  </a:lnTo>
                  <a:lnTo>
                    <a:pt x="538" y="208"/>
                  </a:lnTo>
                  <a:lnTo>
                    <a:pt x="540" y="232"/>
                  </a:lnTo>
                  <a:lnTo>
                    <a:pt x="540" y="232"/>
                  </a:lnTo>
                  <a:lnTo>
                    <a:pt x="538" y="256"/>
                  </a:lnTo>
                  <a:lnTo>
                    <a:pt x="534" y="278"/>
                  </a:lnTo>
                  <a:lnTo>
                    <a:pt x="528" y="300"/>
                  </a:lnTo>
                  <a:lnTo>
                    <a:pt x="518" y="322"/>
                  </a:lnTo>
                  <a:lnTo>
                    <a:pt x="506" y="342"/>
                  </a:lnTo>
                  <a:lnTo>
                    <a:pt x="494" y="362"/>
                  </a:lnTo>
                  <a:lnTo>
                    <a:pt x="478" y="380"/>
                  </a:lnTo>
                  <a:lnTo>
                    <a:pt x="460" y="396"/>
                  </a:lnTo>
                  <a:lnTo>
                    <a:pt x="442" y="410"/>
                  </a:lnTo>
                  <a:lnTo>
                    <a:pt x="420" y="424"/>
                  </a:lnTo>
                  <a:lnTo>
                    <a:pt x="398" y="436"/>
                  </a:lnTo>
                  <a:lnTo>
                    <a:pt x="374" y="446"/>
                  </a:lnTo>
                  <a:lnTo>
                    <a:pt x="350" y="454"/>
                  </a:lnTo>
                  <a:lnTo>
                    <a:pt x="324" y="460"/>
                  </a:lnTo>
                  <a:lnTo>
                    <a:pt x="298" y="462"/>
                  </a:lnTo>
                  <a:lnTo>
                    <a:pt x="270" y="464"/>
                  </a:lnTo>
                  <a:lnTo>
                    <a:pt x="270" y="464"/>
                  </a:lnTo>
                  <a:lnTo>
                    <a:pt x="242" y="462"/>
                  </a:lnTo>
                  <a:lnTo>
                    <a:pt x="216" y="458"/>
                  </a:lnTo>
                  <a:lnTo>
                    <a:pt x="190" y="454"/>
                  </a:lnTo>
                  <a:lnTo>
                    <a:pt x="164" y="446"/>
                  </a:lnTo>
                  <a:lnTo>
                    <a:pt x="140" y="436"/>
                  </a:lnTo>
                  <a:lnTo>
                    <a:pt x="118" y="424"/>
                  </a:lnTo>
                  <a:lnTo>
                    <a:pt x="98" y="410"/>
                  </a:lnTo>
                  <a:lnTo>
                    <a:pt x="78" y="396"/>
                  </a:lnTo>
                  <a:lnTo>
                    <a:pt x="62" y="380"/>
                  </a:lnTo>
                  <a:lnTo>
                    <a:pt x="46" y="362"/>
                  </a:lnTo>
                  <a:lnTo>
                    <a:pt x="32" y="342"/>
                  </a:lnTo>
                  <a:lnTo>
                    <a:pt x="20" y="322"/>
                  </a:lnTo>
                  <a:lnTo>
                    <a:pt x="12" y="300"/>
                  </a:lnTo>
                  <a:lnTo>
                    <a:pt x="6" y="278"/>
                  </a:lnTo>
                  <a:lnTo>
                    <a:pt x="2" y="256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08"/>
                  </a:lnTo>
                  <a:lnTo>
                    <a:pt x="6" y="184"/>
                  </a:lnTo>
                  <a:lnTo>
                    <a:pt x="12" y="162"/>
                  </a:lnTo>
                  <a:lnTo>
                    <a:pt x="20" y="142"/>
                  </a:lnTo>
                  <a:lnTo>
                    <a:pt x="32" y="120"/>
                  </a:lnTo>
                  <a:lnTo>
                    <a:pt x="46" y="102"/>
                  </a:lnTo>
                  <a:lnTo>
                    <a:pt x="62" y="84"/>
                  </a:lnTo>
                  <a:lnTo>
                    <a:pt x="78" y="68"/>
                  </a:lnTo>
                  <a:lnTo>
                    <a:pt x="98" y="52"/>
                  </a:lnTo>
                  <a:lnTo>
                    <a:pt x="118" y="40"/>
                  </a:lnTo>
                  <a:lnTo>
                    <a:pt x="140" y="28"/>
                  </a:lnTo>
                  <a:lnTo>
                    <a:pt x="164" y="18"/>
                  </a:lnTo>
                  <a:lnTo>
                    <a:pt x="190" y="10"/>
                  </a:lnTo>
                  <a:lnTo>
                    <a:pt x="216" y="4"/>
                  </a:lnTo>
                  <a:lnTo>
                    <a:pt x="242" y="0"/>
                  </a:lnTo>
                  <a:lnTo>
                    <a:pt x="270" y="0"/>
                  </a:lnTo>
                  <a:lnTo>
                    <a:pt x="270" y="0"/>
                  </a:lnTo>
                  <a:close/>
                  <a:moveTo>
                    <a:pt x="270" y="232"/>
                  </a:moveTo>
                  <a:lnTo>
                    <a:pt x="270" y="232"/>
                  </a:lnTo>
                  <a:close/>
                  <a:moveTo>
                    <a:pt x="220" y="50"/>
                  </a:moveTo>
                  <a:lnTo>
                    <a:pt x="220" y="50"/>
                  </a:lnTo>
                  <a:lnTo>
                    <a:pt x="220" y="196"/>
                  </a:lnTo>
                  <a:lnTo>
                    <a:pt x="220" y="196"/>
                  </a:lnTo>
                  <a:lnTo>
                    <a:pt x="214" y="186"/>
                  </a:lnTo>
                  <a:lnTo>
                    <a:pt x="208" y="176"/>
                  </a:lnTo>
                  <a:lnTo>
                    <a:pt x="194" y="160"/>
                  </a:lnTo>
                  <a:lnTo>
                    <a:pt x="176" y="144"/>
                  </a:lnTo>
                  <a:lnTo>
                    <a:pt x="156" y="130"/>
                  </a:lnTo>
                  <a:lnTo>
                    <a:pt x="48" y="130"/>
                  </a:lnTo>
                  <a:lnTo>
                    <a:pt x="48" y="130"/>
                  </a:lnTo>
                  <a:lnTo>
                    <a:pt x="76" y="152"/>
                  </a:lnTo>
                  <a:lnTo>
                    <a:pt x="106" y="178"/>
                  </a:lnTo>
                  <a:lnTo>
                    <a:pt x="120" y="192"/>
                  </a:lnTo>
                  <a:lnTo>
                    <a:pt x="130" y="204"/>
                  </a:lnTo>
                  <a:lnTo>
                    <a:pt x="136" y="218"/>
                  </a:lnTo>
                  <a:lnTo>
                    <a:pt x="138" y="230"/>
                  </a:lnTo>
                  <a:lnTo>
                    <a:pt x="138" y="230"/>
                  </a:lnTo>
                  <a:lnTo>
                    <a:pt x="138" y="236"/>
                  </a:lnTo>
                  <a:lnTo>
                    <a:pt x="136" y="240"/>
                  </a:lnTo>
                  <a:lnTo>
                    <a:pt x="132" y="244"/>
                  </a:lnTo>
                  <a:lnTo>
                    <a:pt x="128" y="246"/>
                  </a:lnTo>
                  <a:lnTo>
                    <a:pt x="11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38" y="25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146" y="330"/>
                  </a:lnTo>
                  <a:lnTo>
                    <a:pt x="146" y="330"/>
                  </a:lnTo>
                  <a:lnTo>
                    <a:pt x="166" y="328"/>
                  </a:lnTo>
                  <a:lnTo>
                    <a:pt x="176" y="324"/>
                  </a:lnTo>
                  <a:lnTo>
                    <a:pt x="186" y="320"/>
                  </a:lnTo>
                  <a:lnTo>
                    <a:pt x="196" y="314"/>
                  </a:lnTo>
                  <a:lnTo>
                    <a:pt x="206" y="306"/>
                  </a:lnTo>
                  <a:lnTo>
                    <a:pt x="214" y="296"/>
                  </a:lnTo>
                  <a:lnTo>
                    <a:pt x="220" y="284"/>
                  </a:lnTo>
                  <a:lnTo>
                    <a:pt x="220" y="390"/>
                  </a:lnTo>
                  <a:lnTo>
                    <a:pt x="320" y="390"/>
                  </a:lnTo>
                  <a:lnTo>
                    <a:pt x="320" y="284"/>
                  </a:lnTo>
                  <a:lnTo>
                    <a:pt x="320" y="284"/>
                  </a:lnTo>
                  <a:lnTo>
                    <a:pt x="326" y="296"/>
                  </a:lnTo>
                  <a:lnTo>
                    <a:pt x="334" y="306"/>
                  </a:lnTo>
                  <a:lnTo>
                    <a:pt x="342" y="314"/>
                  </a:lnTo>
                  <a:lnTo>
                    <a:pt x="352" y="320"/>
                  </a:lnTo>
                  <a:lnTo>
                    <a:pt x="362" y="324"/>
                  </a:lnTo>
                  <a:lnTo>
                    <a:pt x="372" y="328"/>
                  </a:lnTo>
                  <a:lnTo>
                    <a:pt x="392" y="330"/>
                  </a:lnTo>
                  <a:lnTo>
                    <a:pt x="392" y="330"/>
                  </a:lnTo>
                  <a:lnTo>
                    <a:pt x="500" y="330"/>
                  </a:lnTo>
                  <a:lnTo>
                    <a:pt x="500" y="250"/>
                  </a:lnTo>
                  <a:lnTo>
                    <a:pt x="500" y="250"/>
                  </a:lnTo>
                  <a:lnTo>
                    <a:pt x="432" y="250"/>
                  </a:lnTo>
                  <a:lnTo>
                    <a:pt x="432" y="250"/>
                  </a:lnTo>
                  <a:lnTo>
                    <a:pt x="422" y="250"/>
                  </a:lnTo>
                  <a:lnTo>
                    <a:pt x="412" y="246"/>
                  </a:lnTo>
                  <a:lnTo>
                    <a:pt x="408" y="244"/>
                  </a:lnTo>
                  <a:lnTo>
                    <a:pt x="404" y="240"/>
                  </a:lnTo>
                  <a:lnTo>
                    <a:pt x="402" y="236"/>
                  </a:lnTo>
                  <a:lnTo>
                    <a:pt x="400" y="230"/>
                  </a:lnTo>
                  <a:lnTo>
                    <a:pt x="400" y="230"/>
                  </a:lnTo>
                  <a:lnTo>
                    <a:pt x="402" y="218"/>
                  </a:lnTo>
                  <a:lnTo>
                    <a:pt x="410" y="204"/>
                  </a:lnTo>
                  <a:lnTo>
                    <a:pt x="420" y="192"/>
                  </a:lnTo>
                  <a:lnTo>
                    <a:pt x="432" y="178"/>
                  </a:lnTo>
                  <a:lnTo>
                    <a:pt x="462" y="152"/>
                  </a:lnTo>
                  <a:lnTo>
                    <a:pt x="492" y="130"/>
                  </a:lnTo>
                  <a:lnTo>
                    <a:pt x="382" y="130"/>
                  </a:lnTo>
                  <a:lnTo>
                    <a:pt x="382" y="130"/>
                  </a:lnTo>
                  <a:lnTo>
                    <a:pt x="364" y="144"/>
                  </a:lnTo>
                  <a:lnTo>
                    <a:pt x="346" y="160"/>
                  </a:lnTo>
                  <a:lnTo>
                    <a:pt x="330" y="176"/>
                  </a:lnTo>
                  <a:lnTo>
                    <a:pt x="324" y="186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20" y="50"/>
                  </a:lnTo>
                  <a:lnTo>
                    <a:pt x="22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1314450" y="339725"/>
              <a:ext cx="5232400" cy="736600"/>
              <a:chOff x="1314450" y="339725"/>
              <a:chExt cx="5232400" cy="736600"/>
            </a:xfrm>
            <a:grpFill/>
          </p:grpSpPr>
          <p:sp>
            <p:nvSpPr>
              <p:cNvPr id="11" name="Freeform 9"/>
              <p:cNvSpPr>
                <a:spLocks/>
              </p:cNvSpPr>
              <p:nvPr/>
            </p:nvSpPr>
            <p:spPr bwMode="auto">
              <a:xfrm>
                <a:off x="1908175" y="352425"/>
                <a:ext cx="139700" cy="98425"/>
              </a:xfrm>
              <a:custGeom>
                <a:avLst/>
                <a:gdLst>
                  <a:gd name="T0" fmla="*/ 4 w 88"/>
                  <a:gd name="T1" fmla="*/ 0 h 62"/>
                  <a:gd name="T2" fmla="*/ 88 w 88"/>
                  <a:gd name="T3" fmla="*/ 0 h 62"/>
                  <a:gd name="T4" fmla="*/ 84 w 88"/>
                  <a:gd name="T5" fmla="*/ 62 h 62"/>
                  <a:gd name="T6" fmla="*/ 0 w 88"/>
                  <a:gd name="T7" fmla="*/ 62 h 62"/>
                  <a:gd name="T8" fmla="*/ 4 w 88"/>
                  <a:gd name="T9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" h="62">
                    <a:moveTo>
                      <a:pt x="4" y="0"/>
                    </a:moveTo>
                    <a:lnTo>
                      <a:pt x="88" y="0"/>
                    </a:lnTo>
                    <a:lnTo>
                      <a:pt x="84" y="62"/>
                    </a:lnTo>
                    <a:lnTo>
                      <a:pt x="0" y="6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10"/>
              <p:cNvSpPr>
                <a:spLocks noEditPoints="1"/>
              </p:cNvSpPr>
              <p:nvPr/>
            </p:nvSpPr>
            <p:spPr bwMode="auto">
              <a:xfrm>
                <a:off x="5397500" y="504825"/>
                <a:ext cx="393700" cy="393700"/>
              </a:xfrm>
              <a:custGeom>
                <a:avLst/>
                <a:gdLst>
                  <a:gd name="T0" fmla="*/ 152 w 248"/>
                  <a:gd name="T1" fmla="*/ 216 h 248"/>
                  <a:gd name="T2" fmla="*/ 138 w 248"/>
                  <a:gd name="T3" fmla="*/ 228 h 248"/>
                  <a:gd name="T4" fmla="*/ 112 w 248"/>
                  <a:gd name="T5" fmla="*/ 242 h 248"/>
                  <a:gd name="T6" fmla="*/ 92 w 248"/>
                  <a:gd name="T7" fmla="*/ 246 h 248"/>
                  <a:gd name="T8" fmla="*/ 80 w 248"/>
                  <a:gd name="T9" fmla="*/ 248 h 248"/>
                  <a:gd name="T10" fmla="*/ 44 w 248"/>
                  <a:gd name="T11" fmla="*/ 242 h 248"/>
                  <a:gd name="T12" fmla="*/ 18 w 248"/>
                  <a:gd name="T13" fmla="*/ 226 h 248"/>
                  <a:gd name="T14" fmla="*/ 4 w 248"/>
                  <a:gd name="T15" fmla="*/ 202 h 248"/>
                  <a:gd name="T16" fmla="*/ 0 w 248"/>
                  <a:gd name="T17" fmla="*/ 174 h 248"/>
                  <a:gd name="T18" fmla="*/ 2 w 248"/>
                  <a:gd name="T19" fmla="*/ 156 h 248"/>
                  <a:gd name="T20" fmla="*/ 20 w 248"/>
                  <a:gd name="T21" fmla="*/ 128 h 248"/>
                  <a:gd name="T22" fmla="*/ 54 w 248"/>
                  <a:gd name="T23" fmla="*/ 108 h 248"/>
                  <a:gd name="T24" fmla="*/ 104 w 248"/>
                  <a:gd name="T25" fmla="*/ 98 h 248"/>
                  <a:gd name="T26" fmla="*/ 162 w 248"/>
                  <a:gd name="T27" fmla="*/ 96 h 248"/>
                  <a:gd name="T28" fmla="*/ 164 w 248"/>
                  <a:gd name="T29" fmla="*/ 78 h 248"/>
                  <a:gd name="T30" fmla="*/ 162 w 248"/>
                  <a:gd name="T31" fmla="*/ 60 h 248"/>
                  <a:gd name="T32" fmla="*/ 154 w 248"/>
                  <a:gd name="T33" fmla="*/ 46 h 248"/>
                  <a:gd name="T34" fmla="*/ 136 w 248"/>
                  <a:gd name="T35" fmla="*/ 40 h 248"/>
                  <a:gd name="T36" fmla="*/ 126 w 248"/>
                  <a:gd name="T37" fmla="*/ 42 h 248"/>
                  <a:gd name="T38" fmla="*/ 114 w 248"/>
                  <a:gd name="T39" fmla="*/ 48 h 248"/>
                  <a:gd name="T40" fmla="*/ 106 w 248"/>
                  <a:gd name="T41" fmla="*/ 66 h 248"/>
                  <a:gd name="T42" fmla="*/ 22 w 248"/>
                  <a:gd name="T43" fmla="*/ 76 h 248"/>
                  <a:gd name="T44" fmla="*/ 24 w 248"/>
                  <a:gd name="T45" fmla="*/ 66 h 248"/>
                  <a:gd name="T46" fmla="*/ 28 w 248"/>
                  <a:gd name="T47" fmla="*/ 46 h 248"/>
                  <a:gd name="T48" fmla="*/ 38 w 248"/>
                  <a:gd name="T49" fmla="*/ 30 h 248"/>
                  <a:gd name="T50" fmla="*/ 54 w 248"/>
                  <a:gd name="T51" fmla="*/ 18 h 248"/>
                  <a:gd name="T52" fmla="*/ 62 w 248"/>
                  <a:gd name="T53" fmla="*/ 14 h 248"/>
                  <a:gd name="T54" fmla="*/ 102 w 248"/>
                  <a:gd name="T55" fmla="*/ 2 h 248"/>
                  <a:gd name="T56" fmla="*/ 144 w 248"/>
                  <a:gd name="T57" fmla="*/ 0 h 248"/>
                  <a:gd name="T58" fmla="*/ 164 w 248"/>
                  <a:gd name="T59" fmla="*/ 0 h 248"/>
                  <a:gd name="T60" fmla="*/ 200 w 248"/>
                  <a:gd name="T61" fmla="*/ 10 h 248"/>
                  <a:gd name="T62" fmla="*/ 230 w 248"/>
                  <a:gd name="T63" fmla="*/ 30 h 248"/>
                  <a:gd name="T64" fmla="*/ 240 w 248"/>
                  <a:gd name="T65" fmla="*/ 44 h 248"/>
                  <a:gd name="T66" fmla="*/ 246 w 248"/>
                  <a:gd name="T67" fmla="*/ 62 h 248"/>
                  <a:gd name="T68" fmla="*/ 248 w 248"/>
                  <a:gd name="T69" fmla="*/ 82 h 248"/>
                  <a:gd name="T70" fmla="*/ 242 w 248"/>
                  <a:gd name="T71" fmla="*/ 196 h 248"/>
                  <a:gd name="T72" fmla="*/ 242 w 248"/>
                  <a:gd name="T73" fmla="*/ 246 h 248"/>
                  <a:gd name="T74" fmla="*/ 152 w 248"/>
                  <a:gd name="T75" fmla="*/ 216 h 248"/>
                  <a:gd name="T76" fmla="*/ 114 w 248"/>
                  <a:gd name="T77" fmla="*/ 200 h 248"/>
                  <a:gd name="T78" fmla="*/ 138 w 248"/>
                  <a:gd name="T79" fmla="*/ 194 h 248"/>
                  <a:gd name="T80" fmla="*/ 152 w 248"/>
                  <a:gd name="T81" fmla="*/ 176 h 248"/>
                  <a:gd name="T82" fmla="*/ 158 w 248"/>
                  <a:gd name="T83" fmla="*/ 154 h 248"/>
                  <a:gd name="T84" fmla="*/ 160 w 248"/>
                  <a:gd name="T85" fmla="*/ 130 h 248"/>
                  <a:gd name="T86" fmla="*/ 122 w 248"/>
                  <a:gd name="T87" fmla="*/ 132 h 248"/>
                  <a:gd name="T88" fmla="*/ 110 w 248"/>
                  <a:gd name="T89" fmla="*/ 134 h 248"/>
                  <a:gd name="T90" fmla="*/ 94 w 248"/>
                  <a:gd name="T91" fmla="*/ 148 h 248"/>
                  <a:gd name="T92" fmla="*/ 86 w 248"/>
                  <a:gd name="T93" fmla="*/ 170 h 248"/>
                  <a:gd name="T94" fmla="*/ 86 w 248"/>
                  <a:gd name="T95" fmla="*/ 176 h 248"/>
                  <a:gd name="T96" fmla="*/ 92 w 248"/>
                  <a:gd name="T97" fmla="*/ 192 h 248"/>
                  <a:gd name="T98" fmla="*/ 102 w 248"/>
                  <a:gd name="T99" fmla="*/ 198 h 248"/>
                  <a:gd name="T100" fmla="*/ 114 w 248"/>
                  <a:gd name="T101" fmla="*/ 20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8" h="248">
                    <a:moveTo>
                      <a:pt x="152" y="216"/>
                    </a:moveTo>
                    <a:lnTo>
                      <a:pt x="152" y="216"/>
                    </a:lnTo>
                    <a:lnTo>
                      <a:pt x="152" y="216"/>
                    </a:lnTo>
                    <a:lnTo>
                      <a:pt x="138" y="228"/>
                    </a:lnTo>
                    <a:lnTo>
                      <a:pt x="122" y="238"/>
                    </a:lnTo>
                    <a:lnTo>
                      <a:pt x="112" y="242"/>
                    </a:lnTo>
                    <a:lnTo>
                      <a:pt x="102" y="246"/>
                    </a:lnTo>
                    <a:lnTo>
                      <a:pt x="92" y="246"/>
                    </a:lnTo>
                    <a:lnTo>
                      <a:pt x="80" y="248"/>
                    </a:lnTo>
                    <a:lnTo>
                      <a:pt x="80" y="248"/>
                    </a:lnTo>
                    <a:lnTo>
                      <a:pt x="60" y="246"/>
                    </a:lnTo>
                    <a:lnTo>
                      <a:pt x="44" y="242"/>
                    </a:lnTo>
                    <a:lnTo>
                      <a:pt x="30" y="234"/>
                    </a:lnTo>
                    <a:lnTo>
                      <a:pt x="18" y="226"/>
                    </a:lnTo>
                    <a:lnTo>
                      <a:pt x="10" y="216"/>
                    </a:lnTo>
                    <a:lnTo>
                      <a:pt x="4" y="202"/>
                    </a:lnTo>
                    <a:lnTo>
                      <a:pt x="0" y="188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2" y="156"/>
                    </a:lnTo>
                    <a:lnTo>
                      <a:pt x="8" y="142"/>
                    </a:lnTo>
                    <a:lnTo>
                      <a:pt x="20" y="128"/>
                    </a:lnTo>
                    <a:lnTo>
                      <a:pt x="34" y="116"/>
                    </a:lnTo>
                    <a:lnTo>
                      <a:pt x="54" y="108"/>
                    </a:lnTo>
                    <a:lnTo>
                      <a:pt x="76" y="102"/>
                    </a:lnTo>
                    <a:lnTo>
                      <a:pt x="104" y="98"/>
                    </a:lnTo>
                    <a:lnTo>
                      <a:pt x="134" y="96"/>
                    </a:lnTo>
                    <a:lnTo>
                      <a:pt x="162" y="96"/>
                    </a:lnTo>
                    <a:lnTo>
                      <a:pt x="162" y="96"/>
                    </a:lnTo>
                    <a:lnTo>
                      <a:pt x="164" y="78"/>
                    </a:lnTo>
                    <a:lnTo>
                      <a:pt x="164" y="70"/>
                    </a:lnTo>
                    <a:lnTo>
                      <a:pt x="162" y="60"/>
                    </a:lnTo>
                    <a:lnTo>
                      <a:pt x="160" y="52"/>
                    </a:lnTo>
                    <a:lnTo>
                      <a:pt x="154" y="46"/>
                    </a:lnTo>
                    <a:lnTo>
                      <a:pt x="146" y="42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26" y="42"/>
                    </a:lnTo>
                    <a:lnTo>
                      <a:pt x="120" y="44"/>
                    </a:lnTo>
                    <a:lnTo>
                      <a:pt x="114" y="48"/>
                    </a:lnTo>
                    <a:lnTo>
                      <a:pt x="110" y="54"/>
                    </a:lnTo>
                    <a:lnTo>
                      <a:pt x="106" y="66"/>
                    </a:lnTo>
                    <a:lnTo>
                      <a:pt x="104" y="76"/>
                    </a:lnTo>
                    <a:lnTo>
                      <a:pt x="22" y="76"/>
                    </a:lnTo>
                    <a:lnTo>
                      <a:pt x="22" y="76"/>
                    </a:lnTo>
                    <a:lnTo>
                      <a:pt x="24" y="66"/>
                    </a:lnTo>
                    <a:lnTo>
                      <a:pt x="26" y="54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38" y="30"/>
                    </a:lnTo>
                    <a:lnTo>
                      <a:pt x="46" y="24"/>
                    </a:lnTo>
                    <a:lnTo>
                      <a:pt x="54" y="18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2" y="6"/>
                    </a:lnTo>
                    <a:lnTo>
                      <a:pt x="102" y="2"/>
                    </a:lnTo>
                    <a:lnTo>
                      <a:pt x="124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64" y="0"/>
                    </a:lnTo>
                    <a:lnTo>
                      <a:pt x="182" y="4"/>
                    </a:lnTo>
                    <a:lnTo>
                      <a:pt x="200" y="10"/>
                    </a:lnTo>
                    <a:lnTo>
                      <a:pt x="216" y="18"/>
                    </a:lnTo>
                    <a:lnTo>
                      <a:pt x="230" y="30"/>
                    </a:lnTo>
                    <a:lnTo>
                      <a:pt x="236" y="38"/>
                    </a:lnTo>
                    <a:lnTo>
                      <a:pt x="240" y="44"/>
                    </a:lnTo>
                    <a:lnTo>
                      <a:pt x="244" y="52"/>
                    </a:lnTo>
                    <a:lnTo>
                      <a:pt x="246" y="62"/>
                    </a:lnTo>
                    <a:lnTo>
                      <a:pt x="248" y="72"/>
                    </a:lnTo>
                    <a:lnTo>
                      <a:pt x="248" y="82"/>
                    </a:lnTo>
                    <a:lnTo>
                      <a:pt x="242" y="196"/>
                    </a:lnTo>
                    <a:lnTo>
                      <a:pt x="242" y="196"/>
                    </a:lnTo>
                    <a:lnTo>
                      <a:pt x="240" y="214"/>
                    </a:lnTo>
                    <a:lnTo>
                      <a:pt x="242" y="246"/>
                    </a:lnTo>
                    <a:lnTo>
                      <a:pt x="158" y="246"/>
                    </a:lnTo>
                    <a:lnTo>
                      <a:pt x="152" y="216"/>
                    </a:lnTo>
                    <a:close/>
                    <a:moveTo>
                      <a:pt x="114" y="200"/>
                    </a:moveTo>
                    <a:lnTo>
                      <a:pt x="114" y="200"/>
                    </a:lnTo>
                    <a:lnTo>
                      <a:pt x="128" y="198"/>
                    </a:lnTo>
                    <a:lnTo>
                      <a:pt x="138" y="194"/>
                    </a:lnTo>
                    <a:lnTo>
                      <a:pt x="146" y="186"/>
                    </a:lnTo>
                    <a:lnTo>
                      <a:pt x="152" y="176"/>
                    </a:lnTo>
                    <a:lnTo>
                      <a:pt x="156" y="166"/>
                    </a:lnTo>
                    <a:lnTo>
                      <a:pt x="158" y="154"/>
                    </a:lnTo>
                    <a:lnTo>
                      <a:pt x="160" y="130"/>
                    </a:lnTo>
                    <a:lnTo>
                      <a:pt x="160" y="130"/>
                    </a:lnTo>
                    <a:lnTo>
                      <a:pt x="134" y="130"/>
                    </a:lnTo>
                    <a:lnTo>
                      <a:pt x="122" y="132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2" y="140"/>
                    </a:lnTo>
                    <a:lnTo>
                      <a:pt x="94" y="148"/>
                    </a:lnTo>
                    <a:lnTo>
                      <a:pt x="88" y="158"/>
                    </a:lnTo>
                    <a:lnTo>
                      <a:pt x="86" y="170"/>
                    </a:lnTo>
                    <a:lnTo>
                      <a:pt x="86" y="170"/>
                    </a:lnTo>
                    <a:lnTo>
                      <a:pt x="86" y="176"/>
                    </a:lnTo>
                    <a:lnTo>
                      <a:pt x="88" y="182"/>
                    </a:lnTo>
                    <a:lnTo>
                      <a:pt x="92" y="192"/>
                    </a:lnTo>
                    <a:lnTo>
                      <a:pt x="96" y="194"/>
                    </a:lnTo>
                    <a:lnTo>
                      <a:pt x="102" y="198"/>
                    </a:lnTo>
                    <a:lnTo>
                      <a:pt x="108" y="200"/>
                    </a:lnTo>
                    <a:lnTo>
                      <a:pt x="114" y="200"/>
                    </a:lnTo>
                    <a:lnTo>
                      <a:pt x="114" y="2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11"/>
              <p:cNvSpPr>
                <a:spLocks noEditPoints="1"/>
              </p:cNvSpPr>
              <p:nvPr/>
            </p:nvSpPr>
            <p:spPr bwMode="auto">
              <a:xfrm>
                <a:off x="6092825" y="352425"/>
                <a:ext cx="454025" cy="542925"/>
              </a:xfrm>
              <a:custGeom>
                <a:avLst/>
                <a:gdLst>
                  <a:gd name="T0" fmla="*/ 0 w 286"/>
                  <a:gd name="T1" fmla="*/ 342 h 342"/>
                  <a:gd name="T2" fmla="*/ 24 w 286"/>
                  <a:gd name="T3" fmla="*/ 0 h 342"/>
                  <a:gd name="T4" fmla="*/ 114 w 286"/>
                  <a:gd name="T5" fmla="*/ 0 h 342"/>
                  <a:gd name="T6" fmla="*/ 90 w 286"/>
                  <a:gd name="T7" fmla="*/ 342 h 342"/>
                  <a:gd name="T8" fmla="*/ 0 w 286"/>
                  <a:gd name="T9" fmla="*/ 342 h 342"/>
                  <a:gd name="T10" fmla="*/ 100 w 286"/>
                  <a:gd name="T11" fmla="*/ 210 h 342"/>
                  <a:gd name="T12" fmla="*/ 184 w 286"/>
                  <a:gd name="T13" fmla="*/ 104 h 342"/>
                  <a:gd name="T14" fmla="*/ 286 w 286"/>
                  <a:gd name="T15" fmla="*/ 104 h 342"/>
                  <a:gd name="T16" fmla="*/ 194 w 286"/>
                  <a:gd name="T17" fmla="*/ 204 h 342"/>
                  <a:gd name="T18" fmla="*/ 282 w 286"/>
                  <a:gd name="T19" fmla="*/ 342 h 342"/>
                  <a:gd name="T20" fmla="*/ 170 w 286"/>
                  <a:gd name="T21" fmla="*/ 342 h 342"/>
                  <a:gd name="T22" fmla="*/ 100 w 286"/>
                  <a:gd name="T23" fmla="*/ 21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6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4" y="0"/>
                    </a:lnTo>
                    <a:lnTo>
                      <a:pt x="90" y="342"/>
                    </a:lnTo>
                    <a:lnTo>
                      <a:pt x="0" y="342"/>
                    </a:lnTo>
                    <a:close/>
                    <a:moveTo>
                      <a:pt x="100" y="210"/>
                    </a:moveTo>
                    <a:lnTo>
                      <a:pt x="184" y="104"/>
                    </a:lnTo>
                    <a:lnTo>
                      <a:pt x="286" y="104"/>
                    </a:lnTo>
                    <a:lnTo>
                      <a:pt x="194" y="204"/>
                    </a:lnTo>
                    <a:lnTo>
                      <a:pt x="282" y="342"/>
                    </a:lnTo>
                    <a:lnTo>
                      <a:pt x="170" y="342"/>
                    </a:lnTo>
                    <a:lnTo>
                      <a:pt x="10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12"/>
              <p:cNvSpPr>
                <a:spLocks/>
              </p:cNvSpPr>
              <p:nvPr/>
            </p:nvSpPr>
            <p:spPr bwMode="auto">
              <a:xfrm>
                <a:off x="3606800" y="517525"/>
                <a:ext cx="292100" cy="377825"/>
              </a:xfrm>
              <a:custGeom>
                <a:avLst/>
                <a:gdLst>
                  <a:gd name="T0" fmla="*/ 104 w 184"/>
                  <a:gd name="T1" fmla="*/ 34 h 238"/>
                  <a:gd name="T2" fmla="*/ 106 w 184"/>
                  <a:gd name="T3" fmla="*/ 34 h 238"/>
                  <a:gd name="T4" fmla="*/ 106 w 184"/>
                  <a:gd name="T5" fmla="*/ 34 h 238"/>
                  <a:gd name="T6" fmla="*/ 114 w 184"/>
                  <a:gd name="T7" fmla="*/ 24 h 238"/>
                  <a:gd name="T8" fmla="*/ 124 w 184"/>
                  <a:gd name="T9" fmla="*/ 16 h 238"/>
                  <a:gd name="T10" fmla="*/ 132 w 184"/>
                  <a:gd name="T11" fmla="*/ 10 h 238"/>
                  <a:gd name="T12" fmla="*/ 142 w 184"/>
                  <a:gd name="T13" fmla="*/ 6 h 238"/>
                  <a:gd name="T14" fmla="*/ 152 w 184"/>
                  <a:gd name="T15" fmla="*/ 4 h 238"/>
                  <a:gd name="T16" fmla="*/ 162 w 184"/>
                  <a:gd name="T17" fmla="*/ 2 h 238"/>
                  <a:gd name="T18" fmla="*/ 184 w 184"/>
                  <a:gd name="T19" fmla="*/ 0 h 238"/>
                  <a:gd name="T20" fmla="*/ 178 w 184"/>
                  <a:gd name="T21" fmla="*/ 76 h 238"/>
                  <a:gd name="T22" fmla="*/ 178 w 184"/>
                  <a:gd name="T23" fmla="*/ 76 h 238"/>
                  <a:gd name="T24" fmla="*/ 160 w 184"/>
                  <a:gd name="T25" fmla="*/ 76 h 238"/>
                  <a:gd name="T26" fmla="*/ 160 w 184"/>
                  <a:gd name="T27" fmla="*/ 76 h 238"/>
                  <a:gd name="T28" fmla="*/ 140 w 184"/>
                  <a:gd name="T29" fmla="*/ 78 h 238"/>
                  <a:gd name="T30" fmla="*/ 126 w 184"/>
                  <a:gd name="T31" fmla="*/ 82 h 238"/>
                  <a:gd name="T32" fmla="*/ 116 w 184"/>
                  <a:gd name="T33" fmla="*/ 88 h 238"/>
                  <a:gd name="T34" fmla="*/ 108 w 184"/>
                  <a:gd name="T35" fmla="*/ 98 h 238"/>
                  <a:gd name="T36" fmla="*/ 102 w 184"/>
                  <a:gd name="T37" fmla="*/ 108 h 238"/>
                  <a:gd name="T38" fmla="*/ 100 w 184"/>
                  <a:gd name="T39" fmla="*/ 120 h 238"/>
                  <a:gd name="T40" fmla="*/ 98 w 184"/>
                  <a:gd name="T41" fmla="*/ 148 h 238"/>
                  <a:gd name="T42" fmla="*/ 92 w 184"/>
                  <a:gd name="T43" fmla="*/ 238 h 238"/>
                  <a:gd name="T44" fmla="*/ 0 w 184"/>
                  <a:gd name="T45" fmla="*/ 238 h 238"/>
                  <a:gd name="T46" fmla="*/ 12 w 184"/>
                  <a:gd name="T47" fmla="*/ 62 h 238"/>
                  <a:gd name="T48" fmla="*/ 12 w 184"/>
                  <a:gd name="T49" fmla="*/ 62 h 238"/>
                  <a:gd name="T50" fmla="*/ 14 w 184"/>
                  <a:gd name="T51" fmla="*/ 32 h 238"/>
                  <a:gd name="T52" fmla="*/ 14 w 184"/>
                  <a:gd name="T53" fmla="*/ 0 h 238"/>
                  <a:gd name="T54" fmla="*/ 102 w 184"/>
                  <a:gd name="T55" fmla="*/ 0 h 238"/>
                  <a:gd name="T56" fmla="*/ 104 w 184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4" h="238">
                    <a:moveTo>
                      <a:pt x="104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4" y="24"/>
                    </a:lnTo>
                    <a:lnTo>
                      <a:pt x="124" y="16"/>
                    </a:lnTo>
                    <a:lnTo>
                      <a:pt x="132" y="10"/>
                    </a:lnTo>
                    <a:lnTo>
                      <a:pt x="142" y="6"/>
                    </a:lnTo>
                    <a:lnTo>
                      <a:pt x="152" y="4"/>
                    </a:lnTo>
                    <a:lnTo>
                      <a:pt x="162" y="2"/>
                    </a:lnTo>
                    <a:lnTo>
                      <a:pt x="184" y="0"/>
                    </a:lnTo>
                    <a:lnTo>
                      <a:pt x="178" y="76"/>
                    </a:lnTo>
                    <a:lnTo>
                      <a:pt x="178" y="76"/>
                    </a:lnTo>
                    <a:lnTo>
                      <a:pt x="160" y="76"/>
                    </a:lnTo>
                    <a:lnTo>
                      <a:pt x="160" y="76"/>
                    </a:lnTo>
                    <a:lnTo>
                      <a:pt x="140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2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4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13"/>
              <p:cNvSpPr>
                <a:spLocks/>
              </p:cNvSpPr>
              <p:nvPr/>
            </p:nvSpPr>
            <p:spPr bwMode="auto">
              <a:xfrm>
                <a:off x="3889375" y="352425"/>
                <a:ext cx="174625" cy="542925"/>
              </a:xfrm>
              <a:custGeom>
                <a:avLst/>
                <a:gdLst>
                  <a:gd name="T0" fmla="*/ 0 w 110"/>
                  <a:gd name="T1" fmla="*/ 342 h 342"/>
                  <a:gd name="T2" fmla="*/ 24 w 110"/>
                  <a:gd name="T3" fmla="*/ 0 h 342"/>
                  <a:gd name="T4" fmla="*/ 110 w 110"/>
                  <a:gd name="T5" fmla="*/ 0 h 342"/>
                  <a:gd name="T6" fmla="*/ 86 w 110"/>
                  <a:gd name="T7" fmla="*/ 342 h 342"/>
                  <a:gd name="T8" fmla="*/ 0 w 110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0" y="0"/>
                    </a:lnTo>
                    <a:lnTo>
                      <a:pt x="86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14"/>
              <p:cNvSpPr>
                <a:spLocks noEditPoints="1"/>
              </p:cNvSpPr>
              <p:nvPr/>
            </p:nvSpPr>
            <p:spPr bwMode="auto">
              <a:xfrm>
                <a:off x="2740025" y="352425"/>
                <a:ext cx="438150" cy="546100"/>
              </a:xfrm>
              <a:custGeom>
                <a:avLst/>
                <a:gdLst>
                  <a:gd name="T0" fmla="*/ 112 w 276"/>
                  <a:gd name="T1" fmla="*/ 0 h 344"/>
                  <a:gd name="T2" fmla="*/ 104 w 276"/>
                  <a:gd name="T3" fmla="*/ 136 h 344"/>
                  <a:gd name="T4" fmla="*/ 120 w 276"/>
                  <a:gd name="T5" fmla="*/ 122 h 344"/>
                  <a:gd name="T6" fmla="*/ 146 w 276"/>
                  <a:gd name="T7" fmla="*/ 104 h 344"/>
                  <a:gd name="T8" fmla="*/ 168 w 276"/>
                  <a:gd name="T9" fmla="*/ 98 h 344"/>
                  <a:gd name="T10" fmla="*/ 180 w 276"/>
                  <a:gd name="T11" fmla="*/ 98 h 344"/>
                  <a:gd name="T12" fmla="*/ 206 w 276"/>
                  <a:gd name="T13" fmla="*/ 100 h 344"/>
                  <a:gd name="T14" fmla="*/ 226 w 276"/>
                  <a:gd name="T15" fmla="*/ 108 h 344"/>
                  <a:gd name="T16" fmla="*/ 244 w 276"/>
                  <a:gd name="T17" fmla="*/ 120 h 344"/>
                  <a:gd name="T18" fmla="*/ 258 w 276"/>
                  <a:gd name="T19" fmla="*/ 136 h 344"/>
                  <a:gd name="T20" fmla="*/ 274 w 276"/>
                  <a:gd name="T21" fmla="*/ 176 h 344"/>
                  <a:gd name="T22" fmla="*/ 276 w 276"/>
                  <a:gd name="T23" fmla="*/ 220 h 344"/>
                  <a:gd name="T24" fmla="*/ 274 w 276"/>
                  <a:gd name="T25" fmla="*/ 242 h 344"/>
                  <a:gd name="T26" fmla="*/ 260 w 276"/>
                  <a:gd name="T27" fmla="*/ 284 h 344"/>
                  <a:gd name="T28" fmla="*/ 240 w 276"/>
                  <a:gd name="T29" fmla="*/ 312 h 344"/>
                  <a:gd name="T30" fmla="*/ 222 w 276"/>
                  <a:gd name="T31" fmla="*/ 328 h 344"/>
                  <a:gd name="T32" fmla="*/ 202 w 276"/>
                  <a:gd name="T33" fmla="*/ 338 h 344"/>
                  <a:gd name="T34" fmla="*/ 176 w 276"/>
                  <a:gd name="T35" fmla="*/ 344 h 344"/>
                  <a:gd name="T36" fmla="*/ 160 w 276"/>
                  <a:gd name="T37" fmla="*/ 344 h 344"/>
                  <a:gd name="T38" fmla="*/ 140 w 276"/>
                  <a:gd name="T39" fmla="*/ 342 h 344"/>
                  <a:gd name="T40" fmla="*/ 106 w 276"/>
                  <a:gd name="T41" fmla="*/ 324 h 344"/>
                  <a:gd name="T42" fmla="*/ 92 w 276"/>
                  <a:gd name="T43" fmla="*/ 312 h 344"/>
                  <a:gd name="T44" fmla="*/ 0 w 276"/>
                  <a:gd name="T45" fmla="*/ 342 h 344"/>
                  <a:gd name="T46" fmla="*/ 94 w 276"/>
                  <a:gd name="T47" fmla="*/ 226 h 344"/>
                  <a:gd name="T48" fmla="*/ 96 w 276"/>
                  <a:gd name="T49" fmla="*/ 250 h 344"/>
                  <a:gd name="T50" fmla="*/ 102 w 276"/>
                  <a:gd name="T51" fmla="*/ 272 h 344"/>
                  <a:gd name="T52" fmla="*/ 114 w 276"/>
                  <a:gd name="T53" fmla="*/ 288 h 344"/>
                  <a:gd name="T54" fmla="*/ 134 w 276"/>
                  <a:gd name="T55" fmla="*/ 296 h 344"/>
                  <a:gd name="T56" fmla="*/ 148 w 276"/>
                  <a:gd name="T57" fmla="*/ 294 h 344"/>
                  <a:gd name="T58" fmla="*/ 168 w 276"/>
                  <a:gd name="T59" fmla="*/ 282 h 344"/>
                  <a:gd name="T60" fmla="*/ 180 w 276"/>
                  <a:gd name="T61" fmla="*/ 260 h 344"/>
                  <a:gd name="T62" fmla="*/ 186 w 276"/>
                  <a:gd name="T63" fmla="*/ 222 h 344"/>
                  <a:gd name="T64" fmla="*/ 186 w 276"/>
                  <a:gd name="T65" fmla="*/ 198 h 344"/>
                  <a:gd name="T66" fmla="*/ 180 w 276"/>
                  <a:gd name="T67" fmla="*/ 174 h 344"/>
                  <a:gd name="T68" fmla="*/ 168 w 276"/>
                  <a:gd name="T69" fmla="*/ 156 h 344"/>
                  <a:gd name="T70" fmla="*/ 146 w 276"/>
                  <a:gd name="T71" fmla="*/ 150 h 344"/>
                  <a:gd name="T72" fmla="*/ 132 w 276"/>
                  <a:gd name="T73" fmla="*/ 152 h 344"/>
                  <a:gd name="T74" fmla="*/ 112 w 276"/>
                  <a:gd name="T75" fmla="*/ 166 h 344"/>
                  <a:gd name="T76" fmla="*/ 100 w 276"/>
                  <a:gd name="T77" fmla="*/ 188 h 344"/>
                  <a:gd name="T78" fmla="*/ 94 w 276"/>
                  <a:gd name="T79" fmla="*/ 226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6" h="344">
                    <a:moveTo>
                      <a:pt x="24" y="0"/>
                    </a:moveTo>
                    <a:lnTo>
                      <a:pt x="112" y="0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20" y="122"/>
                    </a:lnTo>
                    <a:lnTo>
                      <a:pt x="138" y="108"/>
                    </a:lnTo>
                    <a:lnTo>
                      <a:pt x="146" y="104"/>
                    </a:lnTo>
                    <a:lnTo>
                      <a:pt x="158" y="100"/>
                    </a:lnTo>
                    <a:lnTo>
                      <a:pt x="168" y="98"/>
                    </a:lnTo>
                    <a:lnTo>
                      <a:pt x="180" y="98"/>
                    </a:lnTo>
                    <a:lnTo>
                      <a:pt x="180" y="98"/>
                    </a:lnTo>
                    <a:lnTo>
                      <a:pt x="194" y="98"/>
                    </a:lnTo>
                    <a:lnTo>
                      <a:pt x="206" y="100"/>
                    </a:lnTo>
                    <a:lnTo>
                      <a:pt x="216" y="104"/>
                    </a:lnTo>
                    <a:lnTo>
                      <a:pt x="226" y="108"/>
                    </a:lnTo>
                    <a:lnTo>
                      <a:pt x="236" y="114"/>
                    </a:lnTo>
                    <a:lnTo>
                      <a:pt x="244" y="120"/>
                    </a:lnTo>
                    <a:lnTo>
                      <a:pt x="250" y="128"/>
                    </a:lnTo>
                    <a:lnTo>
                      <a:pt x="258" y="136"/>
                    </a:lnTo>
                    <a:lnTo>
                      <a:pt x="266" y="156"/>
                    </a:lnTo>
                    <a:lnTo>
                      <a:pt x="274" y="176"/>
                    </a:lnTo>
                    <a:lnTo>
                      <a:pt x="276" y="198"/>
                    </a:lnTo>
                    <a:lnTo>
                      <a:pt x="276" y="220"/>
                    </a:lnTo>
                    <a:lnTo>
                      <a:pt x="276" y="220"/>
                    </a:lnTo>
                    <a:lnTo>
                      <a:pt x="274" y="242"/>
                    </a:lnTo>
                    <a:lnTo>
                      <a:pt x="268" y="264"/>
                    </a:lnTo>
                    <a:lnTo>
                      <a:pt x="260" y="284"/>
                    </a:lnTo>
                    <a:lnTo>
                      <a:pt x="248" y="304"/>
                    </a:lnTo>
                    <a:lnTo>
                      <a:pt x="240" y="312"/>
                    </a:lnTo>
                    <a:lnTo>
                      <a:pt x="232" y="320"/>
                    </a:lnTo>
                    <a:lnTo>
                      <a:pt x="222" y="328"/>
                    </a:lnTo>
                    <a:lnTo>
                      <a:pt x="212" y="334"/>
                    </a:lnTo>
                    <a:lnTo>
                      <a:pt x="202" y="338"/>
                    </a:lnTo>
                    <a:lnTo>
                      <a:pt x="188" y="342"/>
                    </a:lnTo>
                    <a:lnTo>
                      <a:pt x="176" y="344"/>
                    </a:lnTo>
                    <a:lnTo>
                      <a:pt x="160" y="344"/>
                    </a:lnTo>
                    <a:lnTo>
                      <a:pt x="160" y="344"/>
                    </a:lnTo>
                    <a:lnTo>
                      <a:pt x="150" y="344"/>
                    </a:lnTo>
                    <a:lnTo>
                      <a:pt x="140" y="342"/>
                    </a:lnTo>
                    <a:lnTo>
                      <a:pt x="122" y="336"/>
                    </a:lnTo>
                    <a:lnTo>
                      <a:pt x="106" y="324"/>
                    </a:lnTo>
                    <a:lnTo>
                      <a:pt x="94" y="312"/>
                    </a:lnTo>
                    <a:lnTo>
                      <a:pt x="92" y="312"/>
                    </a:lnTo>
                    <a:lnTo>
                      <a:pt x="88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  <a:moveTo>
                      <a:pt x="94" y="226"/>
                    </a:moveTo>
                    <a:lnTo>
                      <a:pt x="94" y="226"/>
                    </a:lnTo>
                    <a:lnTo>
                      <a:pt x="96" y="250"/>
                    </a:lnTo>
                    <a:lnTo>
                      <a:pt x="98" y="260"/>
                    </a:lnTo>
                    <a:lnTo>
                      <a:pt x="102" y="272"/>
                    </a:lnTo>
                    <a:lnTo>
                      <a:pt x="106" y="282"/>
                    </a:lnTo>
                    <a:lnTo>
                      <a:pt x="114" y="288"/>
                    </a:lnTo>
                    <a:lnTo>
                      <a:pt x="122" y="294"/>
                    </a:lnTo>
                    <a:lnTo>
                      <a:pt x="134" y="296"/>
                    </a:lnTo>
                    <a:lnTo>
                      <a:pt x="134" y="296"/>
                    </a:lnTo>
                    <a:lnTo>
                      <a:pt x="148" y="294"/>
                    </a:lnTo>
                    <a:lnTo>
                      <a:pt x="158" y="288"/>
                    </a:lnTo>
                    <a:lnTo>
                      <a:pt x="168" y="282"/>
                    </a:lnTo>
                    <a:lnTo>
                      <a:pt x="174" y="272"/>
                    </a:lnTo>
                    <a:lnTo>
                      <a:pt x="180" y="260"/>
                    </a:lnTo>
                    <a:lnTo>
                      <a:pt x="184" y="248"/>
                    </a:lnTo>
                    <a:lnTo>
                      <a:pt x="186" y="222"/>
                    </a:lnTo>
                    <a:lnTo>
                      <a:pt x="186" y="222"/>
                    </a:lnTo>
                    <a:lnTo>
                      <a:pt x="186" y="198"/>
                    </a:lnTo>
                    <a:lnTo>
                      <a:pt x="184" y="186"/>
                    </a:lnTo>
                    <a:lnTo>
                      <a:pt x="180" y="174"/>
                    </a:lnTo>
                    <a:lnTo>
                      <a:pt x="176" y="164"/>
                    </a:lnTo>
                    <a:lnTo>
                      <a:pt x="168" y="156"/>
                    </a:lnTo>
                    <a:lnTo>
                      <a:pt x="158" y="152"/>
                    </a:lnTo>
                    <a:lnTo>
                      <a:pt x="146" y="150"/>
                    </a:lnTo>
                    <a:lnTo>
                      <a:pt x="146" y="150"/>
                    </a:lnTo>
                    <a:lnTo>
                      <a:pt x="132" y="152"/>
                    </a:lnTo>
                    <a:lnTo>
                      <a:pt x="120" y="156"/>
                    </a:lnTo>
                    <a:lnTo>
                      <a:pt x="112" y="166"/>
                    </a:lnTo>
                    <a:lnTo>
                      <a:pt x="104" y="176"/>
                    </a:lnTo>
                    <a:lnTo>
                      <a:pt x="100" y="188"/>
                    </a:lnTo>
                    <a:lnTo>
                      <a:pt x="98" y="200"/>
                    </a:lnTo>
                    <a:lnTo>
                      <a:pt x="94" y="226"/>
                    </a:lnTo>
                    <a:lnTo>
                      <a:pt x="94" y="2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15"/>
              <p:cNvSpPr>
                <a:spLocks noEditPoints="1"/>
              </p:cNvSpPr>
              <p:nvPr/>
            </p:nvSpPr>
            <p:spPr bwMode="auto">
              <a:xfrm>
                <a:off x="3197225" y="504825"/>
                <a:ext cx="406400" cy="396875"/>
              </a:xfrm>
              <a:custGeom>
                <a:avLst/>
                <a:gdLst>
                  <a:gd name="T0" fmla="*/ 86 w 256"/>
                  <a:gd name="T1" fmla="*/ 142 h 250"/>
                  <a:gd name="T2" fmla="*/ 86 w 256"/>
                  <a:gd name="T3" fmla="*/ 166 h 250"/>
                  <a:gd name="T4" fmla="*/ 90 w 256"/>
                  <a:gd name="T5" fmla="*/ 184 h 250"/>
                  <a:gd name="T6" fmla="*/ 102 w 256"/>
                  <a:gd name="T7" fmla="*/ 196 h 250"/>
                  <a:gd name="T8" fmla="*/ 124 w 256"/>
                  <a:gd name="T9" fmla="*/ 202 h 250"/>
                  <a:gd name="T10" fmla="*/ 132 w 256"/>
                  <a:gd name="T11" fmla="*/ 200 h 250"/>
                  <a:gd name="T12" fmla="*/ 148 w 256"/>
                  <a:gd name="T13" fmla="*/ 196 h 250"/>
                  <a:gd name="T14" fmla="*/ 158 w 256"/>
                  <a:gd name="T15" fmla="*/ 186 h 250"/>
                  <a:gd name="T16" fmla="*/ 164 w 256"/>
                  <a:gd name="T17" fmla="*/ 174 h 250"/>
                  <a:gd name="T18" fmla="*/ 248 w 256"/>
                  <a:gd name="T19" fmla="*/ 170 h 250"/>
                  <a:gd name="T20" fmla="*/ 246 w 256"/>
                  <a:gd name="T21" fmla="*/ 180 h 250"/>
                  <a:gd name="T22" fmla="*/ 238 w 256"/>
                  <a:gd name="T23" fmla="*/ 198 h 250"/>
                  <a:gd name="T24" fmla="*/ 218 w 256"/>
                  <a:gd name="T25" fmla="*/ 222 h 250"/>
                  <a:gd name="T26" fmla="*/ 202 w 256"/>
                  <a:gd name="T27" fmla="*/ 234 h 250"/>
                  <a:gd name="T28" fmla="*/ 168 w 256"/>
                  <a:gd name="T29" fmla="*/ 246 h 250"/>
                  <a:gd name="T30" fmla="*/ 128 w 256"/>
                  <a:gd name="T31" fmla="*/ 250 h 250"/>
                  <a:gd name="T32" fmla="*/ 96 w 256"/>
                  <a:gd name="T33" fmla="*/ 248 h 250"/>
                  <a:gd name="T34" fmla="*/ 66 w 256"/>
                  <a:gd name="T35" fmla="*/ 242 h 250"/>
                  <a:gd name="T36" fmla="*/ 44 w 256"/>
                  <a:gd name="T37" fmla="*/ 232 h 250"/>
                  <a:gd name="T38" fmla="*/ 26 w 256"/>
                  <a:gd name="T39" fmla="*/ 218 h 250"/>
                  <a:gd name="T40" fmla="*/ 12 w 256"/>
                  <a:gd name="T41" fmla="*/ 200 h 250"/>
                  <a:gd name="T42" fmla="*/ 4 w 256"/>
                  <a:gd name="T43" fmla="*/ 178 h 250"/>
                  <a:gd name="T44" fmla="*/ 0 w 256"/>
                  <a:gd name="T45" fmla="*/ 150 h 250"/>
                  <a:gd name="T46" fmla="*/ 0 w 256"/>
                  <a:gd name="T47" fmla="*/ 118 h 250"/>
                  <a:gd name="T48" fmla="*/ 4 w 256"/>
                  <a:gd name="T49" fmla="*/ 92 h 250"/>
                  <a:gd name="T50" fmla="*/ 14 w 256"/>
                  <a:gd name="T51" fmla="*/ 68 h 250"/>
                  <a:gd name="T52" fmla="*/ 26 w 256"/>
                  <a:gd name="T53" fmla="*/ 48 h 250"/>
                  <a:gd name="T54" fmla="*/ 44 w 256"/>
                  <a:gd name="T55" fmla="*/ 32 h 250"/>
                  <a:gd name="T56" fmla="*/ 86 w 256"/>
                  <a:gd name="T57" fmla="*/ 8 h 250"/>
                  <a:gd name="T58" fmla="*/ 138 w 256"/>
                  <a:gd name="T59" fmla="*/ 0 h 250"/>
                  <a:gd name="T60" fmla="*/ 154 w 256"/>
                  <a:gd name="T61" fmla="*/ 2 h 250"/>
                  <a:gd name="T62" fmla="*/ 184 w 256"/>
                  <a:gd name="T63" fmla="*/ 6 h 250"/>
                  <a:gd name="T64" fmla="*/ 208 w 256"/>
                  <a:gd name="T65" fmla="*/ 18 h 250"/>
                  <a:gd name="T66" fmla="*/ 228 w 256"/>
                  <a:gd name="T67" fmla="*/ 32 h 250"/>
                  <a:gd name="T68" fmla="*/ 242 w 256"/>
                  <a:gd name="T69" fmla="*/ 50 h 250"/>
                  <a:gd name="T70" fmla="*/ 250 w 256"/>
                  <a:gd name="T71" fmla="*/ 72 h 250"/>
                  <a:gd name="T72" fmla="*/ 256 w 256"/>
                  <a:gd name="T73" fmla="*/ 112 h 250"/>
                  <a:gd name="T74" fmla="*/ 86 w 256"/>
                  <a:gd name="T75" fmla="*/ 142 h 250"/>
                  <a:gd name="T76" fmla="*/ 172 w 256"/>
                  <a:gd name="T77" fmla="*/ 98 h 250"/>
                  <a:gd name="T78" fmla="*/ 170 w 256"/>
                  <a:gd name="T79" fmla="*/ 78 h 250"/>
                  <a:gd name="T80" fmla="*/ 164 w 256"/>
                  <a:gd name="T81" fmla="*/ 62 h 250"/>
                  <a:gd name="T82" fmla="*/ 158 w 256"/>
                  <a:gd name="T83" fmla="*/ 56 h 250"/>
                  <a:gd name="T84" fmla="*/ 142 w 256"/>
                  <a:gd name="T85" fmla="*/ 48 h 250"/>
                  <a:gd name="T86" fmla="*/ 134 w 256"/>
                  <a:gd name="T87" fmla="*/ 46 h 250"/>
                  <a:gd name="T88" fmla="*/ 114 w 256"/>
                  <a:gd name="T89" fmla="*/ 52 h 250"/>
                  <a:gd name="T90" fmla="*/ 102 w 256"/>
                  <a:gd name="T91" fmla="*/ 62 h 250"/>
                  <a:gd name="T92" fmla="*/ 94 w 256"/>
                  <a:gd name="T93" fmla="*/ 78 h 250"/>
                  <a:gd name="T94" fmla="*/ 172 w 256"/>
                  <a:gd name="T95" fmla="*/ 98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6" h="250">
                    <a:moveTo>
                      <a:pt x="86" y="142"/>
                    </a:moveTo>
                    <a:lnTo>
                      <a:pt x="86" y="142"/>
                    </a:lnTo>
                    <a:lnTo>
                      <a:pt x="84" y="154"/>
                    </a:lnTo>
                    <a:lnTo>
                      <a:pt x="86" y="166"/>
                    </a:lnTo>
                    <a:lnTo>
                      <a:pt x="88" y="176"/>
                    </a:lnTo>
                    <a:lnTo>
                      <a:pt x="90" y="184"/>
                    </a:lnTo>
                    <a:lnTo>
                      <a:pt x="96" y="192"/>
                    </a:lnTo>
                    <a:lnTo>
                      <a:pt x="102" y="196"/>
                    </a:lnTo>
                    <a:lnTo>
                      <a:pt x="112" y="200"/>
                    </a:lnTo>
                    <a:lnTo>
                      <a:pt x="124" y="202"/>
                    </a:lnTo>
                    <a:lnTo>
                      <a:pt x="124" y="202"/>
                    </a:lnTo>
                    <a:lnTo>
                      <a:pt x="132" y="200"/>
                    </a:lnTo>
                    <a:lnTo>
                      <a:pt x="140" y="198"/>
                    </a:lnTo>
                    <a:lnTo>
                      <a:pt x="148" y="196"/>
                    </a:lnTo>
                    <a:lnTo>
                      <a:pt x="154" y="192"/>
                    </a:lnTo>
                    <a:lnTo>
                      <a:pt x="158" y="186"/>
                    </a:lnTo>
                    <a:lnTo>
                      <a:pt x="162" y="180"/>
                    </a:lnTo>
                    <a:lnTo>
                      <a:pt x="164" y="174"/>
                    </a:lnTo>
                    <a:lnTo>
                      <a:pt x="164" y="170"/>
                    </a:lnTo>
                    <a:lnTo>
                      <a:pt x="248" y="170"/>
                    </a:lnTo>
                    <a:lnTo>
                      <a:pt x="248" y="170"/>
                    </a:lnTo>
                    <a:lnTo>
                      <a:pt x="246" y="180"/>
                    </a:lnTo>
                    <a:lnTo>
                      <a:pt x="242" y="190"/>
                    </a:lnTo>
                    <a:lnTo>
                      <a:pt x="238" y="198"/>
                    </a:lnTo>
                    <a:lnTo>
                      <a:pt x="232" y="208"/>
                    </a:lnTo>
                    <a:lnTo>
                      <a:pt x="218" y="222"/>
                    </a:lnTo>
                    <a:lnTo>
                      <a:pt x="202" y="234"/>
                    </a:lnTo>
                    <a:lnTo>
                      <a:pt x="202" y="234"/>
                    </a:lnTo>
                    <a:lnTo>
                      <a:pt x="186" y="242"/>
                    </a:lnTo>
                    <a:lnTo>
                      <a:pt x="168" y="246"/>
                    </a:lnTo>
                    <a:lnTo>
                      <a:pt x="148" y="248"/>
                    </a:lnTo>
                    <a:lnTo>
                      <a:pt x="128" y="250"/>
                    </a:lnTo>
                    <a:lnTo>
                      <a:pt x="128" y="250"/>
                    </a:lnTo>
                    <a:lnTo>
                      <a:pt x="96" y="248"/>
                    </a:lnTo>
                    <a:lnTo>
                      <a:pt x="80" y="244"/>
                    </a:lnTo>
                    <a:lnTo>
                      <a:pt x="66" y="242"/>
                    </a:lnTo>
                    <a:lnTo>
                      <a:pt x="54" y="238"/>
                    </a:lnTo>
                    <a:lnTo>
                      <a:pt x="44" y="232"/>
                    </a:lnTo>
                    <a:lnTo>
                      <a:pt x="34" y="226"/>
                    </a:lnTo>
                    <a:lnTo>
                      <a:pt x="26" y="218"/>
                    </a:lnTo>
                    <a:lnTo>
                      <a:pt x="18" y="210"/>
                    </a:lnTo>
                    <a:lnTo>
                      <a:pt x="12" y="200"/>
                    </a:lnTo>
                    <a:lnTo>
                      <a:pt x="8" y="190"/>
                    </a:lnTo>
                    <a:lnTo>
                      <a:pt x="4" y="178"/>
                    </a:lnTo>
                    <a:lnTo>
                      <a:pt x="2" y="164"/>
                    </a:lnTo>
                    <a:lnTo>
                      <a:pt x="0" y="150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2" y="106"/>
                    </a:lnTo>
                    <a:lnTo>
                      <a:pt x="4" y="92"/>
                    </a:lnTo>
                    <a:lnTo>
                      <a:pt x="8" y="80"/>
                    </a:lnTo>
                    <a:lnTo>
                      <a:pt x="14" y="68"/>
                    </a:lnTo>
                    <a:lnTo>
                      <a:pt x="20" y="58"/>
                    </a:lnTo>
                    <a:lnTo>
                      <a:pt x="26" y="48"/>
                    </a:lnTo>
                    <a:lnTo>
                      <a:pt x="34" y="40"/>
                    </a:lnTo>
                    <a:lnTo>
                      <a:pt x="44" y="32"/>
                    </a:lnTo>
                    <a:lnTo>
                      <a:pt x="64" y="18"/>
                    </a:lnTo>
                    <a:lnTo>
                      <a:pt x="86" y="8"/>
                    </a:lnTo>
                    <a:lnTo>
                      <a:pt x="110" y="2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4" y="2"/>
                    </a:lnTo>
                    <a:lnTo>
                      <a:pt x="170" y="4"/>
                    </a:lnTo>
                    <a:lnTo>
                      <a:pt x="184" y="6"/>
                    </a:lnTo>
                    <a:lnTo>
                      <a:pt x="196" y="12"/>
                    </a:lnTo>
                    <a:lnTo>
                      <a:pt x="208" y="18"/>
                    </a:lnTo>
                    <a:lnTo>
                      <a:pt x="218" y="24"/>
                    </a:lnTo>
                    <a:lnTo>
                      <a:pt x="228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46" y="60"/>
                    </a:lnTo>
                    <a:lnTo>
                      <a:pt x="250" y="72"/>
                    </a:lnTo>
                    <a:lnTo>
                      <a:pt x="254" y="84"/>
                    </a:lnTo>
                    <a:lnTo>
                      <a:pt x="256" y="112"/>
                    </a:lnTo>
                    <a:lnTo>
                      <a:pt x="254" y="142"/>
                    </a:lnTo>
                    <a:lnTo>
                      <a:pt x="86" y="142"/>
                    </a:lnTo>
                    <a:close/>
                    <a:moveTo>
                      <a:pt x="172" y="98"/>
                    </a:moveTo>
                    <a:lnTo>
                      <a:pt x="172" y="98"/>
                    </a:lnTo>
                    <a:lnTo>
                      <a:pt x="172" y="88"/>
                    </a:lnTo>
                    <a:lnTo>
                      <a:pt x="170" y="78"/>
                    </a:lnTo>
                    <a:lnTo>
                      <a:pt x="168" y="70"/>
                    </a:lnTo>
                    <a:lnTo>
                      <a:pt x="164" y="62"/>
                    </a:lnTo>
                    <a:lnTo>
                      <a:pt x="164" y="62"/>
                    </a:lnTo>
                    <a:lnTo>
                      <a:pt x="158" y="56"/>
                    </a:lnTo>
                    <a:lnTo>
                      <a:pt x="150" y="50"/>
                    </a:lnTo>
                    <a:lnTo>
                      <a:pt x="142" y="48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22" y="48"/>
                    </a:lnTo>
                    <a:lnTo>
                      <a:pt x="114" y="52"/>
                    </a:lnTo>
                    <a:lnTo>
                      <a:pt x="106" y="56"/>
                    </a:lnTo>
                    <a:lnTo>
                      <a:pt x="102" y="62"/>
                    </a:lnTo>
                    <a:lnTo>
                      <a:pt x="96" y="70"/>
                    </a:lnTo>
                    <a:lnTo>
                      <a:pt x="94" y="78"/>
                    </a:lnTo>
                    <a:lnTo>
                      <a:pt x="90" y="98"/>
                    </a:lnTo>
                    <a:lnTo>
                      <a:pt x="172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16"/>
              <p:cNvSpPr>
                <a:spLocks/>
              </p:cNvSpPr>
              <p:nvPr/>
            </p:nvSpPr>
            <p:spPr bwMode="auto">
              <a:xfrm>
                <a:off x="1314450" y="352425"/>
                <a:ext cx="196850" cy="542925"/>
              </a:xfrm>
              <a:custGeom>
                <a:avLst/>
                <a:gdLst>
                  <a:gd name="T0" fmla="*/ 24 w 124"/>
                  <a:gd name="T1" fmla="*/ 0 h 342"/>
                  <a:gd name="T2" fmla="*/ 124 w 124"/>
                  <a:gd name="T3" fmla="*/ 0 h 342"/>
                  <a:gd name="T4" fmla="*/ 100 w 124"/>
                  <a:gd name="T5" fmla="*/ 342 h 342"/>
                  <a:gd name="T6" fmla="*/ 0 w 124"/>
                  <a:gd name="T7" fmla="*/ 342 h 342"/>
                  <a:gd name="T8" fmla="*/ 24 w 124"/>
                  <a:gd name="T9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342">
                    <a:moveTo>
                      <a:pt x="24" y="0"/>
                    </a:moveTo>
                    <a:lnTo>
                      <a:pt x="124" y="0"/>
                    </a:lnTo>
                    <a:lnTo>
                      <a:pt x="100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17"/>
              <p:cNvSpPr>
                <a:spLocks/>
              </p:cNvSpPr>
              <p:nvPr/>
            </p:nvSpPr>
            <p:spPr bwMode="auto">
              <a:xfrm>
                <a:off x="1498600" y="352425"/>
                <a:ext cx="368300" cy="542925"/>
              </a:xfrm>
              <a:custGeom>
                <a:avLst/>
                <a:gdLst>
                  <a:gd name="T0" fmla="*/ 120 w 232"/>
                  <a:gd name="T1" fmla="*/ 0 h 342"/>
                  <a:gd name="T2" fmla="*/ 0 w 232"/>
                  <a:gd name="T3" fmla="*/ 152 h 342"/>
                  <a:gd name="T4" fmla="*/ 106 w 232"/>
                  <a:gd name="T5" fmla="*/ 342 h 342"/>
                  <a:gd name="T6" fmla="*/ 226 w 232"/>
                  <a:gd name="T7" fmla="*/ 342 h 342"/>
                  <a:gd name="T8" fmla="*/ 106 w 232"/>
                  <a:gd name="T9" fmla="*/ 148 h 342"/>
                  <a:gd name="T10" fmla="*/ 232 w 232"/>
                  <a:gd name="T11" fmla="*/ 0 h 342"/>
                  <a:gd name="T12" fmla="*/ 120 w 232"/>
                  <a:gd name="T13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2" h="342">
                    <a:moveTo>
                      <a:pt x="120" y="0"/>
                    </a:moveTo>
                    <a:lnTo>
                      <a:pt x="0" y="152"/>
                    </a:lnTo>
                    <a:lnTo>
                      <a:pt x="106" y="342"/>
                    </a:lnTo>
                    <a:lnTo>
                      <a:pt x="226" y="342"/>
                    </a:lnTo>
                    <a:lnTo>
                      <a:pt x="106" y="148"/>
                    </a:lnTo>
                    <a:lnTo>
                      <a:pt x="232" y="0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18"/>
              <p:cNvSpPr>
                <a:spLocks/>
              </p:cNvSpPr>
              <p:nvPr/>
            </p:nvSpPr>
            <p:spPr bwMode="auto">
              <a:xfrm>
                <a:off x="1876425" y="517525"/>
                <a:ext cx="158750" cy="377825"/>
              </a:xfrm>
              <a:custGeom>
                <a:avLst/>
                <a:gdLst>
                  <a:gd name="T0" fmla="*/ 16 w 100"/>
                  <a:gd name="T1" fmla="*/ 0 h 238"/>
                  <a:gd name="T2" fmla="*/ 100 w 100"/>
                  <a:gd name="T3" fmla="*/ 0 h 238"/>
                  <a:gd name="T4" fmla="*/ 84 w 100"/>
                  <a:gd name="T5" fmla="*/ 238 h 238"/>
                  <a:gd name="T6" fmla="*/ 0 w 100"/>
                  <a:gd name="T7" fmla="*/ 238 h 238"/>
                  <a:gd name="T8" fmla="*/ 16 w 100"/>
                  <a:gd name="T9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238">
                    <a:moveTo>
                      <a:pt x="16" y="0"/>
                    </a:moveTo>
                    <a:lnTo>
                      <a:pt x="100" y="0"/>
                    </a:lnTo>
                    <a:lnTo>
                      <a:pt x="84" y="238"/>
                    </a:lnTo>
                    <a:lnTo>
                      <a:pt x="0" y="238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19"/>
              <p:cNvSpPr>
                <a:spLocks/>
              </p:cNvSpPr>
              <p:nvPr/>
            </p:nvSpPr>
            <p:spPr bwMode="auto">
              <a:xfrm>
                <a:off x="2038350" y="504825"/>
                <a:ext cx="692150" cy="390525"/>
              </a:xfrm>
              <a:custGeom>
                <a:avLst/>
                <a:gdLst>
                  <a:gd name="T0" fmla="*/ 106 w 436"/>
                  <a:gd name="T1" fmla="*/ 40 h 246"/>
                  <a:gd name="T2" fmla="*/ 106 w 436"/>
                  <a:gd name="T3" fmla="*/ 40 h 246"/>
                  <a:gd name="T4" fmla="*/ 128 w 436"/>
                  <a:gd name="T5" fmla="*/ 20 h 246"/>
                  <a:gd name="T6" fmla="*/ 150 w 436"/>
                  <a:gd name="T7" fmla="*/ 8 h 246"/>
                  <a:gd name="T8" fmla="*/ 172 w 436"/>
                  <a:gd name="T9" fmla="*/ 2 h 246"/>
                  <a:gd name="T10" fmla="*/ 192 w 436"/>
                  <a:gd name="T11" fmla="*/ 2 h 246"/>
                  <a:gd name="T12" fmla="*/ 216 w 436"/>
                  <a:gd name="T13" fmla="*/ 6 h 246"/>
                  <a:gd name="T14" fmla="*/ 238 w 436"/>
                  <a:gd name="T15" fmla="*/ 14 h 246"/>
                  <a:gd name="T16" fmla="*/ 254 w 436"/>
                  <a:gd name="T17" fmla="*/ 28 h 246"/>
                  <a:gd name="T18" fmla="*/ 264 w 436"/>
                  <a:gd name="T19" fmla="*/ 44 h 246"/>
                  <a:gd name="T20" fmla="*/ 272 w 436"/>
                  <a:gd name="T21" fmla="*/ 34 h 246"/>
                  <a:gd name="T22" fmla="*/ 290 w 436"/>
                  <a:gd name="T23" fmla="*/ 18 h 246"/>
                  <a:gd name="T24" fmla="*/ 312 w 436"/>
                  <a:gd name="T25" fmla="*/ 8 h 246"/>
                  <a:gd name="T26" fmla="*/ 338 w 436"/>
                  <a:gd name="T27" fmla="*/ 2 h 246"/>
                  <a:gd name="T28" fmla="*/ 352 w 436"/>
                  <a:gd name="T29" fmla="*/ 0 h 246"/>
                  <a:gd name="T30" fmla="*/ 386 w 436"/>
                  <a:gd name="T31" fmla="*/ 6 h 246"/>
                  <a:gd name="T32" fmla="*/ 414 w 436"/>
                  <a:gd name="T33" fmla="*/ 24 h 246"/>
                  <a:gd name="T34" fmla="*/ 432 w 436"/>
                  <a:gd name="T35" fmla="*/ 50 h 246"/>
                  <a:gd name="T36" fmla="*/ 436 w 436"/>
                  <a:gd name="T37" fmla="*/ 86 h 246"/>
                  <a:gd name="T38" fmla="*/ 332 w 436"/>
                  <a:gd name="T39" fmla="*/ 246 h 246"/>
                  <a:gd name="T40" fmla="*/ 342 w 436"/>
                  <a:gd name="T41" fmla="*/ 106 h 246"/>
                  <a:gd name="T42" fmla="*/ 342 w 436"/>
                  <a:gd name="T43" fmla="*/ 80 h 246"/>
                  <a:gd name="T44" fmla="*/ 336 w 436"/>
                  <a:gd name="T45" fmla="*/ 66 h 246"/>
                  <a:gd name="T46" fmla="*/ 322 w 436"/>
                  <a:gd name="T47" fmla="*/ 58 h 246"/>
                  <a:gd name="T48" fmla="*/ 312 w 436"/>
                  <a:gd name="T49" fmla="*/ 58 h 246"/>
                  <a:gd name="T50" fmla="*/ 288 w 436"/>
                  <a:gd name="T51" fmla="*/ 66 h 246"/>
                  <a:gd name="T52" fmla="*/ 276 w 436"/>
                  <a:gd name="T53" fmla="*/ 82 h 246"/>
                  <a:gd name="T54" fmla="*/ 270 w 436"/>
                  <a:gd name="T55" fmla="*/ 100 h 246"/>
                  <a:gd name="T56" fmla="*/ 260 w 436"/>
                  <a:gd name="T57" fmla="*/ 246 h 246"/>
                  <a:gd name="T58" fmla="*/ 180 w 436"/>
                  <a:gd name="T59" fmla="*/ 106 h 246"/>
                  <a:gd name="T60" fmla="*/ 178 w 436"/>
                  <a:gd name="T61" fmla="*/ 88 h 246"/>
                  <a:gd name="T62" fmla="*/ 174 w 436"/>
                  <a:gd name="T63" fmla="*/ 72 h 246"/>
                  <a:gd name="T64" fmla="*/ 164 w 436"/>
                  <a:gd name="T65" fmla="*/ 62 h 246"/>
                  <a:gd name="T66" fmla="*/ 148 w 436"/>
                  <a:gd name="T67" fmla="*/ 58 h 246"/>
                  <a:gd name="T68" fmla="*/ 132 w 436"/>
                  <a:gd name="T69" fmla="*/ 60 h 246"/>
                  <a:gd name="T70" fmla="*/ 114 w 436"/>
                  <a:gd name="T71" fmla="*/ 72 h 246"/>
                  <a:gd name="T72" fmla="*/ 104 w 436"/>
                  <a:gd name="T73" fmla="*/ 92 h 246"/>
                  <a:gd name="T74" fmla="*/ 102 w 436"/>
                  <a:gd name="T75" fmla="*/ 110 h 246"/>
                  <a:gd name="T76" fmla="*/ 0 w 436"/>
                  <a:gd name="T77" fmla="*/ 246 h 246"/>
                  <a:gd name="T78" fmla="*/ 106 w 436"/>
                  <a:gd name="T79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36" h="246">
                    <a:moveTo>
                      <a:pt x="106" y="8"/>
                    </a:moveTo>
                    <a:lnTo>
                      <a:pt x="106" y="40"/>
                    </a:lnTo>
                    <a:lnTo>
                      <a:pt x="106" y="40"/>
                    </a:lnTo>
                    <a:lnTo>
                      <a:pt x="106" y="40"/>
                    </a:lnTo>
                    <a:lnTo>
                      <a:pt x="118" y="28"/>
                    </a:lnTo>
                    <a:lnTo>
                      <a:pt x="128" y="20"/>
                    </a:lnTo>
                    <a:lnTo>
                      <a:pt x="140" y="12"/>
                    </a:lnTo>
                    <a:lnTo>
                      <a:pt x="150" y="8"/>
                    </a:lnTo>
                    <a:lnTo>
                      <a:pt x="162" y="4"/>
                    </a:lnTo>
                    <a:lnTo>
                      <a:pt x="172" y="2"/>
                    </a:lnTo>
                    <a:lnTo>
                      <a:pt x="192" y="2"/>
                    </a:lnTo>
                    <a:lnTo>
                      <a:pt x="192" y="2"/>
                    </a:lnTo>
                    <a:lnTo>
                      <a:pt x="204" y="2"/>
                    </a:lnTo>
                    <a:lnTo>
                      <a:pt x="216" y="6"/>
                    </a:lnTo>
                    <a:lnTo>
                      <a:pt x="228" y="8"/>
                    </a:lnTo>
                    <a:lnTo>
                      <a:pt x="238" y="14"/>
                    </a:lnTo>
                    <a:lnTo>
                      <a:pt x="246" y="20"/>
                    </a:lnTo>
                    <a:lnTo>
                      <a:pt x="254" y="28"/>
                    </a:lnTo>
                    <a:lnTo>
                      <a:pt x="260" y="36"/>
                    </a:lnTo>
                    <a:lnTo>
                      <a:pt x="264" y="44"/>
                    </a:lnTo>
                    <a:lnTo>
                      <a:pt x="264" y="44"/>
                    </a:lnTo>
                    <a:lnTo>
                      <a:pt x="272" y="34"/>
                    </a:lnTo>
                    <a:lnTo>
                      <a:pt x="280" y="26"/>
                    </a:lnTo>
                    <a:lnTo>
                      <a:pt x="290" y="18"/>
                    </a:lnTo>
                    <a:lnTo>
                      <a:pt x="302" y="12"/>
                    </a:lnTo>
                    <a:lnTo>
                      <a:pt x="312" y="8"/>
                    </a:lnTo>
                    <a:lnTo>
                      <a:pt x="326" y="4"/>
                    </a:lnTo>
                    <a:lnTo>
                      <a:pt x="338" y="2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70" y="2"/>
                    </a:lnTo>
                    <a:lnTo>
                      <a:pt x="386" y="6"/>
                    </a:lnTo>
                    <a:lnTo>
                      <a:pt x="402" y="14"/>
                    </a:lnTo>
                    <a:lnTo>
                      <a:pt x="414" y="24"/>
                    </a:lnTo>
                    <a:lnTo>
                      <a:pt x="424" y="36"/>
                    </a:lnTo>
                    <a:lnTo>
                      <a:pt x="432" y="50"/>
                    </a:lnTo>
                    <a:lnTo>
                      <a:pt x="436" y="68"/>
                    </a:lnTo>
                    <a:lnTo>
                      <a:pt x="436" y="86"/>
                    </a:lnTo>
                    <a:lnTo>
                      <a:pt x="424" y="246"/>
                    </a:lnTo>
                    <a:lnTo>
                      <a:pt x="332" y="246"/>
                    </a:lnTo>
                    <a:lnTo>
                      <a:pt x="342" y="106"/>
                    </a:lnTo>
                    <a:lnTo>
                      <a:pt x="342" y="106"/>
                    </a:lnTo>
                    <a:lnTo>
                      <a:pt x="342" y="88"/>
                    </a:lnTo>
                    <a:lnTo>
                      <a:pt x="342" y="80"/>
                    </a:lnTo>
                    <a:lnTo>
                      <a:pt x="340" y="74"/>
                    </a:lnTo>
                    <a:lnTo>
                      <a:pt x="336" y="66"/>
                    </a:lnTo>
                    <a:lnTo>
                      <a:pt x="330" y="62"/>
                    </a:lnTo>
                    <a:lnTo>
                      <a:pt x="322" y="58"/>
                    </a:lnTo>
                    <a:lnTo>
                      <a:pt x="312" y="58"/>
                    </a:lnTo>
                    <a:lnTo>
                      <a:pt x="312" y="58"/>
                    </a:lnTo>
                    <a:lnTo>
                      <a:pt x="298" y="60"/>
                    </a:lnTo>
                    <a:lnTo>
                      <a:pt x="288" y="66"/>
                    </a:lnTo>
                    <a:lnTo>
                      <a:pt x="280" y="72"/>
                    </a:lnTo>
                    <a:lnTo>
                      <a:pt x="276" y="82"/>
                    </a:lnTo>
                    <a:lnTo>
                      <a:pt x="272" y="92"/>
                    </a:lnTo>
                    <a:lnTo>
                      <a:pt x="270" y="100"/>
                    </a:lnTo>
                    <a:lnTo>
                      <a:pt x="270" y="110"/>
                    </a:lnTo>
                    <a:lnTo>
                      <a:pt x="260" y="246"/>
                    </a:lnTo>
                    <a:lnTo>
                      <a:pt x="170" y="246"/>
                    </a:lnTo>
                    <a:lnTo>
                      <a:pt x="180" y="106"/>
                    </a:lnTo>
                    <a:lnTo>
                      <a:pt x="180" y="106"/>
                    </a:lnTo>
                    <a:lnTo>
                      <a:pt x="178" y="88"/>
                    </a:lnTo>
                    <a:lnTo>
                      <a:pt x="178" y="80"/>
                    </a:lnTo>
                    <a:lnTo>
                      <a:pt x="174" y="72"/>
                    </a:lnTo>
                    <a:lnTo>
                      <a:pt x="170" y="66"/>
                    </a:lnTo>
                    <a:lnTo>
                      <a:pt x="164" y="62"/>
                    </a:lnTo>
                    <a:lnTo>
                      <a:pt x="15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32" y="60"/>
                    </a:lnTo>
                    <a:lnTo>
                      <a:pt x="122" y="66"/>
                    </a:lnTo>
                    <a:lnTo>
                      <a:pt x="114" y="72"/>
                    </a:lnTo>
                    <a:lnTo>
                      <a:pt x="108" y="82"/>
                    </a:lnTo>
                    <a:lnTo>
                      <a:pt x="104" y="92"/>
                    </a:lnTo>
                    <a:lnTo>
                      <a:pt x="104" y="100"/>
                    </a:lnTo>
                    <a:lnTo>
                      <a:pt x="102" y="110"/>
                    </a:lnTo>
                    <a:lnTo>
                      <a:pt x="94" y="246"/>
                    </a:lnTo>
                    <a:lnTo>
                      <a:pt x="0" y="246"/>
                    </a:lnTo>
                    <a:lnTo>
                      <a:pt x="16" y="8"/>
                    </a:lnTo>
                    <a:lnTo>
                      <a:pt x="106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20"/>
              <p:cNvSpPr>
                <a:spLocks/>
              </p:cNvSpPr>
              <p:nvPr/>
            </p:nvSpPr>
            <p:spPr bwMode="auto">
              <a:xfrm>
                <a:off x="4064000" y="517525"/>
                <a:ext cx="454025" cy="558800"/>
              </a:xfrm>
              <a:custGeom>
                <a:avLst/>
                <a:gdLst>
                  <a:gd name="T0" fmla="*/ 116 w 286"/>
                  <a:gd name="T1" fmla="*/ 352 h 352"/>
                  <a:gd name="T2" fmla="*/ 34 w 286"/>
                  <a:gd name="T3" fmla="*/ 352 h 352"/>
                  <a:gd name="T4" fmla="*/ 86 w 286"/>
                  <a:gd name="T5" fmla="*/ 242 h 352"/>
                  <a:gd name="T6" fmla="*/ 0 w 286"/>
                  <a:gd name="T7" fmla="*/ 0 h 352"/>
                  <a:gd name="T8" fmla="*/ 100 w 286"/>
                  <a:gd name="T9" fmla="*/ 0 h 352"/>
                  <a:gd name="T10" fmla="*/ 140 w 286"/>
                  <a:gd name="T11" fmla="*/ 148 h 352"/>
                  <a:gd name="T12" fmla="*/ 202 w 286"/>
                  <a:gd name="T13" fmla="*/ 0 h 352"/>
                  <a:gd name="T14" fmla="*/ 286 w 286"/>
                  <a:gd name="T15" fmla="*/ 0 h 352"/>
                  <a:gd name="T16" fmla="*/ 116 w 286"/>
                  <a:gd name="T17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6" h="352">
                    <a:moveTo>
                      <a:pt x="116" y="352"/>
                    </a:moveTo>
                    <a:lnTo>
                      <a:pt x="34" y="352"/>
                    </a:lnTo>
                    <a:lnTo>
                      <a:pt x="86" y="242"/>
                    </a:lnTo>
                    <a:lnTo>
                      <a:pt x="0" y="0"/>
                    </a:lnTo>
                    <a:lnTo>
                      <a:pt x="100" y="0"/>
                    </a:lnTo>
                    <a:lnTo>
                      <a:pt x="140" y="148"/>
                    </a:lnTo>
                    <a:lnTo>
                      <a:pt x="202" y="0"/>
                    </a:lnTo>
                    <a:lnTo>
                      <a:pt x="286" y="0"/>
                    </a:lnTo>
                    <a:lnTo>
                      <a:pt x="116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21"/>
              <p:cNvSpPr>
                <a:spLocks/>
              </p:cNvSpPr>
              <p:nvPr/>
            </p:nvSpPr>
            <p:spPr bwMode="auto">
              <a:xfrm>
                <a:off x="4473575" y="593725"/>
                <a:ext cx="241300" cy="117475"/>
              </a:xfrm>
              <a:custGeom>
                <a:avLst/>
                <a:gdLst>
                  <a:gd name="T0" fmla="*/ 36 w 152"/>
                  <a:gd name="T1" fmla="*/ 0 h 74"/>
                  <a:gd name="T2" fmla="*/ 152 w 152"/>
                  <a:gd name="T3" fmla="*/ 0 h 74"/>
                  <a:gd name="T4" fmla="*/ 114 w 152"/>
                  <a:gd name="T5" fmla="*/ 74 h 74"/>
                  <a:gd name="T6" fmla="*/ 0 w 152"/>
                  <a:gd name="T7" fmla="*/ 74 h 74"/>
                  <a:gd name="T8" fmla="*/ 36 w 152"/>
                  <a:gd name="T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74">
                    <a:moveTo>
                      <a:pt x="36" y="0"/>
                    </a:moveTo>
                    <a:lnTo>
                      <a:pt x="152" y="0"/>
                    </a:lnTo>
                    <a:lnTo>
                      <a:pt x="114" y="74"/>
                    </a:lnTo>
                    <a:lnTo>
                      <a:pt x="0" y="7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" name="Freeform 22"/>
              <p:cNvSpPr>
                <a:spLocks/>
              </p:cNvSpPr>
              <p:nvPr/>
            </p:nvSpPr>
            <p:spPr bwMode="auto">
              <a:xfrm>
                <a:off x="4721225" y="339725"/>
                <a:ext cx="504825" cy="558800"/>
              </a:xfrm>
              <a:custGeom>
                <a:avLst/>
                <a:gdLst>
                  <a:gd name="T0" fmla="*/ 180 w 318"/>
                  <a:gd name="T1" fmla="*/ 0 h 352"/>
                  <a:gd name="T2" fmla="*/ 232 w 318"/>
                  <a:gd name="T3" fmla="*/ 6 h 352"/>
                  <a:gd name="T4" fmla="*/ 266 w 318"/>
                  <a:gd name="T5" fmla="*/ 20 h 352"/>
                  <a:gd name="T6" fmla="*/ 286 w 318"/>
                  <a:gd name="T7" fmla="*/ 32 h 352"/>
                  <a:gd name="T8" fmla="*/ 302 w 318"/>
                  <a:gd name="T9" fmla="*/ 50 h 352"/>
                  <a:gd name="T10" fmla="*/ 312 w 318"/>
                  <a:gd name="T11" fmla="*/ 74 h 352"/>
                  <a:gd name="T12" fmla="*/ 318 w 318"/>
                  <a:gd name="T13" fmla="*/ 100 h 352"/>
                  <a:gd name="T14" fmla="*/ 222 w 318"/>
                  <a:gd name="T15" fmla="*/ 116 h 352"/>
                  <a:gd name="T16" fmla="*/ 222 w 318"/>
                  <a:gd name="T17" fmla="*/ 108 h 352"/>
                  <a:gd name="T18" fmla="*/ 216 w 318"/>
                  <a:gd name="T19" fmla="*/ 90 h 352"/>
                  <a:gd name="T20" fmla="*/ 204 w 318"/>
                  <a:gd name="T21" fmla="*/ 76 h 352"/>
                  <a:gd name="T22" fmla="*/ 188 w 318"/>
                  <a:gd name="T23" fmla="*/ 68 h 352"/>
                  <a:gd name="T24" fmla="*/ 176 w 318"/>
                  <a:gd name="T25" fmla="*/ 68 h 352"/>
                  <a:gd name="T26" fmla="*/ 150 w 318"/>
                  <a:gd name="T27" fmla="*/ 72 h 352"/>
                  <a:gd name="T28" fmla="*/ 128 w 318"/>
                  <a:gd name="T29" fmla="*/ 88 h 352"/>
                  <a:gd name="T30" fmla="*/ 108 w 318"/>
                  <a:gd name="T31" fmla="*/ 118 h 352"/>
                  <a:gd name="T32" fmla="*/ 98 w 318"/>
                  <a:gd name="T33" fmla="*/ 162 h 352"/>
                  <a:gd name="T34" fmla="*/ 96 w 318"/>
                  <a:gd name="T35" fmla="*/ 188 h 352"/>
                  <a:gd name="T36" fmla="*/ 98 w 318"/>
                  <a:gd name="T37" fmla="*/ 234 h 352"/>
                  <a:gd name="T38" fmla="*/ 112 w 318"/>
                  <a:gd name="T39" fmla="*/ 266 h 352"/>
                  <a:gd name="T40" fmla="*/ 122 w 318"/>
                  <a:gd name="T41" fmla="*/ 278 h 352"/>
                  <a:gd name="T42" fmla="*/ 138 w 318"/>
                  <a:gd name="T43" fmla="*/ 284 h 352"/>
                  <a:gd name="T44" fmla="*/ 158 w 318"/>
                  <a:gd name="T45" fmla="*/ 288 h 352"/>
                  <a:gd name="T46" fmla="*/ 174 w 318"/>
                  <a:gd name="T47" fmla="*/ 286 h 352"/>
                  <a:gd name="T48" fmla="*/ 198 w 318"/>
                  <a:gd name="T49" fmla="*/ 274 h 352"/>
                  <a:gd name="T50" fmla="*/ 212 w 318"/>
                  <a:gd name="T51" fmla="*/ 256 h 352"/>
                  <a:gd name="T52" fmla="*/ 218 w 318"/>
                  <a:gd name="T53" fmla="*/ 236 h 352"/>
                  <a:gd name="T54" fmla="*/ 314 w 318"/>
                  <a:gd name="T55" fmla="*/ 236 h 352"/>
                  <a:gd name="T56" fmla="*/ 306 w 318"/>
                  <a:gd name="T57" fmla="*/ 270 h 352"/>
                  <a:gd name="T58" fmla="*/ 290 w 318"/>
                  <a:gd name="T59" fmla="*/ 300 h 352"/>
                  <a:gd name="T60" fmla="*/ 272 w 318"/>
                  <a:gd name="T61" fmla="*/ 318 h 352"/>
                  <a:gd name="T62" fmla="*/ 248 w 318"/>
                  <a:gd name="T63" fmla="*/ 334 h 352"/>
                  <a:gd name="T64" fmla="*/ 216 w 318"/>
                  <a:gd name="T65" fmla="*/ 346 h 352"/>
                  <a:gd name="T66" fmla="*/ 176 w 318"/>
                  <a:gd name="T67" fmla="*/ 352 h 352"/>
                  <a:gd name="T68" fmla="*/ 152 w 318"/>
                  <a:gd name="T69" fmla="*/ 352 h 352"/>
                  <a:gd name="T70" fmla="*/ 106 w 318"/>
                  <a:gd name="T71" fmla="*/ 348 h 352"/>
                  <a:gd name="T72" fmla="*/ 70 w 318"/>
                  <a:gd name="T73" fmla="*/ 336 h 352"/>
                  <a:gd name="T74" fmla="*/ 42 w 318"/>
                  <a:gd name="T75" fmla="*/ 316 h 352"/>
                  <a:gd name="T76" fmla="*/ 22 w 318"/>
                  <a:gd name="T77" fmla="*/ 292 h 352"/>
                  <a:gd name="T78" fmla="*/ 8 w 318"/>
                  <a:gd name="T79" fmla="*/ 262 h 352"/>
                  <a:gd name="T80" fmla="*/ 2 w 318"/>
                  <a:gd name="T81" fmla="*/ 230 h 352"/>
                  <a:gd name="T82" fmla="*/ 0 w 318"/>
                  <a:gd name="T83" fmla="*/ 194 h 352"/>
                  <a:gd name="T84" fmla="*/ 2 w 318"/>
                  <a:gd name="T85" fmla="*/ 160 h 352"/>
                  <a:gd name="T86" fmla="*/ 18 w 318"/>
                  <a:gd name="T87" fmla="*/ 102 h 352"/>
                  <a:gd name="T88" fmla="*/ 32 w 318"/>
                  <a:gd name="T89" fmla="*/ 74 h 352"/>
                  <a:gd name="T90" fmla="*/ 52 w 318"/>
                  <a:gd name="T91" fmla="*/ 50 h 352"/>
                  <a:gd name="T92" fmla="*/ 76 w 318"/>
                  <a:gd name="T93" fmla="*/ 30 h 352"/>
                  <a:gd name="T94" fmla="*/ 106 w 318"/>
                  <a:gd name="T95" fmla="*/ 14 h 352"/>
                  <a:gd name="T96" fmla="*/ 140 w 318"/>
                  <a:gd name="T97" fmla="*/ 4 h 352"/>
                  <a:gd name="T98" fmla="*/ 180 w 318"/>
                  <a:gd name="T99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18" h="352">
                    <a:moveTo>
                      <a:pt x="180" y="0"/>
                    </a:moveTo>
                    <a:lnTo>
                      <a:pt x="180" y="0"/>
                    </a:lnTo>
                    <a:lnTo>
                      <a:pt x="206" y="0"/>
                    </a:lnTo>
                    <a:lnTo>
                      <a:pt x="232" y="6"/>
                    </a:lnTo>
                    <a:lnTo>
                      <a:pt x="256" y="14"/>
                    </a:lnTo>
                    <a:lnTo>
                      <a:pt x="266" y="20"/>
                    </a:lnTo>
                    <a:lnTo>
                      <a:pt x="276" y="26"/>
                    </a:lnTo>
                    <a:lnTo>
                      <a:pt x="286" y="32"/>
                    </a:lnTo>
                    <a:lnTo>
                      <a:pt x="294" y="42"/>
                    </a:lnTo>
                    <a:lnTo>
                      <a:pt x="302" y="50"/>
                    </a:lnTo>
                    <a:lnTo>
                      <a:pt x="308" y="62"/>
                    </a:lnTo>
                    <a:lnTo>
                      <a:pt x="312" y="74"/>
                    </a:lnTo>
                    <a:lnTo>
                      <a:pt x="316" y="86"/>
                    </a:lnTo>
                    <a:lnTo>
                      <a:pt x="318" y="100"/>
                    </a:lnTo>
                    <a:lnTo>
                      <a:pt x="318" y="116"/>
                    </a:lnTo>
                    <a:lnTo>
                      <a:pt x="222" y="116"/>
                    </a:lnTo>
                    <a:lnTo>
                      <a:pt x="222" y="116"/>
                    </a:lnTo>
                    <a:lnTo>
                      <a:pt x="222" y="108"/>
                    </a:lnTo>
                    <a:lnTo>
                      <a:pt x="220" y="98"/>
                    </a:lnTo>
                    <a:lnTo>
                      <a:pt x="216" y="90"/>
                    </a:lnTo>
                    <a:lnTo>
                      <a:pt x="212" y="84"/>
                    </a:lnTo>
                    <a:lnTo>
                      <a:pt x="204" y="76"/>
                    </a:lnTo>
                    <a:lnTo>
                      <a:pt x="198" y="72"/>
                    </a:lnTo>
                    <a:lnTo>
                      <a:pt x="188" y="68"/>
                    </a:lnTo>
                    <a:lnTo>
                      <a:pt x="176" y="68"/>
                    </a:lnTo>
                    <a:lnTo>
                      <a:pt x="176" y="68"/>
                    </a:lnTo>
                    <a:lnTo>
                      <a:pt x="164" y="68"/>
                    </a:lnTo>
                    <a:lnTo>
                      <a:pt x="150" y="72"/>
                    </a:lnTo>
                    <a:lnTo>
                      <a:pt x="138" y="80"/>
                    </a:lnTo>
                    <a:lnTo>
                      <a:pt x="128" y="88"/>
                    </a:lnTo>
                    <a:lnTo>
                      <a:pt x="118" y="102"/>
                    </a:lnTo>
                    <a:lnTo>
                      <a:pt x="108" y="118"/>
                    </a:lnTo>
                    <a:lnTo>
                      <a:pt x="102" y="138"/>
                    </a:lnTo>
                    <a:lnTo>
                      <a:pt x="98" y="162"/>
                    </a:lnTo>
                    <a:lnTo>
                      <a:pt x="98" y="162"/>
                    </a:lnTo>
                    <a:lnTo>
                      <a:pt x="96" y="188"/>
                    </a:lnTo>
                    <a:lnTo>
                      <a:pt x="96" y="212"/>
                    </a:lnTo>
                    <a:lnTo>
                      <a:pt x="98" y="234"/>
                    </a:lnTo>
                    <a:lnTo>
                      <a:pt x="104" y="252"/>
                    </a:lnTo>
                    <a:lnTo>
                      <a:pt x="112" y="266"/>
                    </a:lnTo>
                    <a:lnTo>
                      <a:pt x="116" y="272"/>
                    </a:lnTo>
                    <a:lnTo>
                      <a:pt x="122" y="278"/>
                    </a:lnTo>
                    <a:lnTo>
                      <a:pt x="130" y="282"/>
                    </a:lnTo>
                    <a:lnTo>
                      <a:pt x="138" y="284"/>
                    </a:lnTo>
                    <a:lnTo>
                      <a:pt x="148" y="286"/>
                    </a:lnTo>
                    <a:lnTo>
                      <a:pt x="158" y="288"/>
                    </a:lnTo>
                    <a:lnTo>
                      <a:pt x="158" y="288"/>
                    </a:lnTo>
                    <a:lnTo>
                      <a:pt x="174" y="286"/>
                    </a:lnTo>
                    <a:lnTo>
                      <a:pt x="188" y="280"/>
                    </a:lnTo>
                    <a:lnTo>
                      <a:pt x="198" y="274"/>
                    </a:lnTo>
                    <a:lnTo>
                      <a:pt x="206" y="264"/>
                    </a:lnTo>
                    <a:lnTo>
                      <a:pt x="212" y="256"/>
                    </a:lnTo>
                    <a:lnTo>
                      <a:pt x="214" y="248"/>
                    </a:lnTo>
                    <a:lnTo>
                      <a:pt x="218" y="236"/>
                    </a:lnTo>
                    <a:lnTo>
                      <a:pt x="314" y="236"/>
                    </a:lnTo>
                    <a:lnTo>
                      <a:pt x="314" y="236"/>
                    </a:lnTo>
                    <a:lnTo>
                      <a:pt x="312" y="252"/>
                    </a:lnTo>
                    <a:lnTo>
                      <a:pt x="306" y="270"/>
                    </a:lnTo>
                    <a:lnTo>
                      <a:pt x="296" y="290"/>
                    </a:lnTo>
                    <a:lnTo>
                      <a:pt x="290" y="300"/>
                    </a:lnTo>
                    <a:lnTo>
                      <a:pt x="282" y="308"/>
                    </a:lnTo>
                    <a:lnTo>
                      <a:pt x="272" y="318"/>
                    </a:lnTo>
                    <a:lnTo>
                      <a:pt x="260" y="326"/>
                    </a:lnTo>
                    <a:lnTo>
                      <a:pt x="248" y="334"/>
                    </a:lnTo>
                    <a:lnTo>
                      <a:pt x="232" y="340"/>
                    </a:lnTo>
                    <a:lnTo>
                      <a:pt x="216" y="346"/>
                    </a:lnTo>
                    <a:lnTo>
                      <a:pt x="196" y="350"/>
                    </a:lnTo>
                    <a:lnTo>
                      <a:pt x="176" y="352"/>
                    </a:lnTo>
                    <a:lnTo>
                      <a:pt x="152" y="352"/>
                    </a:lnTo>
                    <a:lnTo>
                      <a:pt x="152" y="352"/>
                    </a:lnTo>
                    <a:lnTo>
                      <a:pt x="128" y="352"/>
                    </a:lnTo>
                    <a:lnTo>
                      <a:pt x="106" y="348"/>
                    </a:lnTo>
                    <a:lnTo>
                      <a:pt x="86" y="342"/>
                    </a:lnTo>
                    <a:lnTo>
                      <a:pt x="70" y="336"/>
                    </a:lnTo>
                    <a:lnTo>
                      <a:pt x="54" y="326"/>
                    </a:lnTo>
                    <a:lnTo>
                      <a:pt x="42" y="316"/>
                    </a:lnTo>
                    <a:lnTo>
                      <a:pt x="30" y="304"/>
                    </a:lnTo>
                    <a:lnTo>
                      <a:pt x="22" y="292"/>
                    </a:lnTo>
                    <a:lnTo>
                      <a:pt x="14" y="276"/>
                    </a:lnTo>
                    <a:lnTo>
                      <a:pt x="8" y="262"/>
                    </a:lnTo>
                    <a:lnTo>
                      <a:pt x="4" y="246"/>
                    </a:lnTo>
                    <a:lnTo>
                      <a:pt x="2" y="230"/>
                    </a:lnTo>
                    <a:lnTo>
                      <a:pt x="0" y="212"/>
                    </a:lnTo>
                    <a:lnTo>
                      <a:pt x="0" y="194"/>
                    </a:lnTo>
                    <a:lnTo>
                      <a:pt x="2" y="160"/>
                    </a:lnTo>
                    <a:lnTo>
                      <a:pt x="2" y="160"/>
                    </a:lnTo>
                    <a:lnTo>
                      <a:pt x="8" y="130"/>
                    </a:lnTo>
                    <a:lnTo>
                      <a:pt x="18" y="102"/>
                    </a:lnTo>
                    <a:lnTo>
                      <a:pt x="24" y="88"/>
                    </a:lnTo>
                    <a:lnTo>
                      <a:pt x="32" y="74"/>
                    </a:lnTo>
                    <a:lnTo>
                      <a:pt x="42" y="62"/>
                    </a:lnTo>
                    <a:lnTo>
                      <a:pt x="52" y="50"/>
                    </a:lnTo>
                    <a:lnTo>
                      <a:pt x="64" y="40"/>
                    </a:lnTo>
                    <a:lnTo>
                      <a:pt x="76" y="30"/>
                    </a:lnTo>
                    <a:lnTo>
                      <a:pt x="90" y="20"/>
                    </a:lnTo>
                    <a:lnTo>
                      <a:pt x="106" y="14"/>
                    </a:lnTo>
                    <a:lnTo>
                      <a:pt x="122" y="8"/>
                    </a:lnTo>
                    <a:lnTo>
                      <a:pt x="140" y="4"/>
                    </a:lnTo>
                    <a:lnTo>
                      <a:pt x="160" y="0"/>
                    </a:lnTo>
                    <a:lnTo>
                      <a:pt x="180" y="0"/>
                    </a:lnTo>
                    <a:lnTo>
                      <a:pt x="18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23"/>
              <p:cNvSpPr>
                <a:spLocks/>
              </p:cNvSpPr>
              <p:nvPr/>
            </p:nvSpPr>
            <p:spPr bwMode="auto">
              <a:xfrm>
                <a:off x="5229225" y="352425"/>
                <a:ext cx="177800" cy="542925"/>
              </a:xfrm>
              <a:custGeom>
                <a:avLst/>
                <a:gdLst>
                  <a:gd name="T0" fmla="*/ 0 w 112"/>
                  <a:gd name="T1" fmla="*/ 342 h 342"/>
                  <a:gd name="T2" fmla="*/ 24 w 112"/>
                  <a:gd name="T3" fmla="*/ 0 h 342"/>
                  <a:gd name="T4" fmla="*/ 112 w 112"/>
                  <a:gd name="T5" fmla="*/ 0 h 342"/>
                  <a:gd name="T6" fmla="*/ 88 w 112"/>
                  <a:gd name="T7" fmla="*/ 342 h 342"/>
                  <a:gd name="T8" fmla="*/ 0 w 112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2" y="0"/>
                    </a:lnTo>
                    <a:lnTo>
                      <a:pt x="88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Freeform 24"/>
              <p:cNvSpPr>
                <a:spLocks/>
              </p:cNvSpPr>
              <p:nvPr/>
            </p:nvSpPr>
            <p:spPr bwMode="auto">
              <a:xfrm>
                <a:off x="5803900" y="517525"/>
                <a:ext cx="295275" cy="377825"/>
              </a:xfrm>
              <a:custGeom>
                <a:avLst/>
                <a:gdLst>
                  <a:gd name="T0" fmla="*/ 106 w 186"/>
                  <a:gd name="T1" fmla="*/ 34 h 238"/>
                  <a:gd name="T2" fmla="*/ 106 w 186"/>
                  <a:gd name="T3" fmla="*/ 34 h 238"/>
                  <a:gd name="T4" fmla="*/ 106 w 186"/>
                  <a:gd name="T5" fmla="*/ 34 h 238"/>
                  <a:gd name="T6" fmla="*/ 116 w 186"/>
                  <a:gd name="T7" fmla="*/ 24 h 238"/>
                  <a:gd name="T8" fmla="*/ 124 w 186"/>
                  <a:gd name="T9" fmla="*/ 16 h 238"/>
                  <a:gd name="T10" fmla="*/ 134 w 186"/>
                  <a:gd name="T11" fmla="*/ 10 h 238"/>
                  <a:gd name="T12" fmla="*/ 144 w 186"/>
                  <a:gd name="T13" fmla="*/ 6 h 238"/>
                  <a:gd name="T14" fmla="*/ 154 w 186"/>
                  <a:gd name="T15" fmla="*/ 4 h 238"/>
                  <a:gd name="T16" fmla="*/ 164 w 186"/>
                  <a:gd name="T17" fmla="*/ 2 h 238"/>
                  <a:gd name="T18" fmla="*/ 186 w 186"/>
                  <a:gd name="T19" fmla="*/ 0 h 238"/>
                  <a:gd name="T20" fmla="*/ 180 w 186"/>
                  <a:gd name="T21" fmla="*/ 76 h 238"/>
                  <a:gd name="T22" fmla="*/ 180 w 186"/>
                  <a:gd name="T23" fmla="*/ 76 h 238"/>
                  <a:gd name="T24" fmla="*/ 162 w 186"/>
                  <a:gd name="T25" fmla="*/ 76 h 238"/>
                  <a:gd name="T26" fmla="*/ 162 w 186"/>
                  <a:gd name="T27" fmla="*/ 76 h 238"/>
                  <a:gd name="T28" fmla="*/ 142 w 186"/>
                  <a:gd name="T29" fmla="*/ 78 h 238"/>
                  <a:gd name="T30" fmla="*/ 126 w 186"/>
                  <a:gd name="T31" fmla="*/ 82 h 238"/>
                  <a:gd name="T32" fmla="*/ 116 w 186"/>
                  <a:gd name="T33" fmla="*/ 88 h 238"/>
                  <a:gd name="T34" fmla="*/ 108 w 186"/>
                  <a:gd name="T35" fmla="*/ 98 h 238"/>
                  <a:gd name="T36" fmla="*/ 104 w 186"/>
                  <a:gd name="T37" fmla="*/ 108 h 238"/>
                  <a:gd name="T38" fmla="*/ 100 w 186"/>
                  <a:gd name="T39" fmla="*/ 120 h 238"/>
                  <a:gd name="T40" fmla="*/ 98 w 186"/>
                  <a:gd name="T41" fmla="*/ 148 h 238"/>
                  <a:gd name="T42" fmla="*/ 92 w 186"/>
                  <a:gd name="T43" fmla="*/ 238 h 238"/>
                  <a:gd name="T44" fmla="*/ 0 w 186"/>
                  <a:gd name="T45" fmla="*/ 238 h 238"/>
                  <a:gd name="T46" fmla="*/ 14 w 186"/>
                  <a:gd name="T47" fmla="*/ 62 h 238"/>
                  <a:gd name="T48" fmla="*/ 14 w 186"/>
                  <a:gd name="T49" fmla="*/ 62 h 238"/>
                  <a:gd name="T50" fmla="*/ 14 w 186"/>
                  <a:gd name="T51" fmla="*/ 32 h 238"/>
                  <a:gd name="T52" fmla="*/ 14 w 186"/>
                  <a:gd name="T53" fmla="*/ 0 h 238"/>
                  <a:gd name="T54" fmla="*/ 102 w 186"/>
                  <a:gd name="T55" fmla="*/ 0 h 238"/>
                  <a:gd name="T56" fmla="*/ 106 w 186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6" h="238">
                    <a:moveTo>
                      <a:pt x="106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6" y="24"/>
                    </a:lnTo>
                    <a:lnTo>
                      <a:pt x="124" y="16"/>
                    </a:lnTo>
                    <a:lnTo>
                      <a:pt x="134" y="10"/>
                    </a:lnTo>
                    <a:lnTo>
                      <a:pt x="144" y="6"/>
                    </a:lnTo>
                    <a:lnTo>
                      <a:pt x="154" y="4"/>
                    </a:lnTo>
                    <a:lnTo>
                      <a:pt x="164" y="2"/>
                    </a:lnTo>
                    <a:lnTo>
                      <a:pt x="186" y="0"/>
                    </a:lnTo>
                    <a:lnTo>
                      <a:pt x="180" y="76"/>
                    </a:lnTo>
                    <a:lnTo>
                      <a:pt x="180" y="76"/>
                    </a:lnTo>
                    <a:lnTo>
                      <a:pt x="162" y="76"/>
                    </a:lnTo>
                    <a:lnTo>
                      <a:pt x="162" y="76"/>
                    </a:lnTo>
                    <a:lnTo>
                      <a:pt x="142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4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6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31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53074" y="553073"/>
            <a:ext cx="3571665" cy="316888"/>
          </a:xfrm>
        </p:spPr>
        <p:txBody>
          <a:bodyPr>
            <a:noAutofit/>
          </a:bodyPr>
          <a:lstStyle>
            <a:lvl1pPr marL="0" indent="0">
              <a:buNone/>
              <a:defRPr sz="1400" b="0" u="none">
                <a:solidFill>
                  <a:schemeClr val="bg1"/>
                </a:solidFill>
              </a:defRPr>
            </a:lvl1pPr>
            <a:lvl2pPr marL="457200" indent="0">
              <a:buNone/>
              <a:defRPr b="0" u="none"/>
            </a:lvl2pPr>
            <a:lvl3pPr marL="914400" indent="0">
              <a:buNone/>
              <a:defRPr b="0" u="none"/>
            </a:lvl3pPr>
            <a:lvl4pPr marL="1371600" indent="0">
              <a:buNone/>
              <a:defRPr b="0" u="none"/>
            </a:lvl4pPr>
            <a:lvl5pPr marL="1828800" indent="0">
              <a:buNone/>
              <a:defRPr b="0" u="none"/>
            </a:lvl5pPr>
          </a:lstStyle>
          <a:p>
            <a:pPr lvl="0"/>
            <a:r>
              <a:rPr lang="en-US"/>
              <a:t>BU/Function/Region</a:t>
            </a:r>
          </a:p>
        </p:txBody>
      </p:sp>
    </p:spTree>
    <p:extLst>
      <p:ext uri="{BB962C8B-B14F-4D97-AF65-F5344CB8AC3E}">
        <p14:creationId xmlns:p14="http://schemas.microsoft.com/office/powerpoint/2010/main" val="1167704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2"/>
            <a:ext cx="12195050" cy="685628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2399" y="2336800"/>
            <a:ext cx="5788152" cy="2091087"/>
          </a:xfrm>
        </p:spPr>
        <p:txBody>
          <a:bodyPr anchor="ctr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2399" y="4427887"/>
            <a:ext cx="5789202" cy="1285515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3E7FBFD-78E1-42FB-85FC-D9CE5E3DEFA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70622" y="276225"/>
            <a:ext cx="2165537" cy="271230"/>
            <a:chOff x="158750" y="276225"/>
            <a:chExt cx="6388100" cy="800100"/>
          </a:xfrm>
          <a:solidFill>
            <a:schemeClr val="bg1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158750" y="276225"/>
              <a:ext cx="857250" cy="736600"/>
            </a:xfrm>
            <a:custGeom>
              <a:avLst/>
              <a:gdLst>
                <a:gd name="T0" fmla="*/ 298 w 540"/>
                <a:gd name="T1" fmla="*/ 0 h 464"/>
                <a:gd name="T2" fmla="*/ 374 w 540"/>
                <a:gd name="T3" fmla="*/ 18 h 464"/>
                <a:gd name="T4" fmla="*/ 442 w 540"/>
                <a:gd name="T5" fmla="*/ 52 h 464"/>
                <a:gd name="T6" fmla="*/ 494 w 540"/>
                <a:gd name="T7" fmla="*/ 102 h 464"/>
                <a:gd name="T8" fmla="*/ 528 w 540"/>
                <a:gd name="T9" fmla="*/ 162 h 464"/>
                <a:gd name="T10" fmla="*/ 540 w 540"/>
                <a:gd name="T11" fmla="*/ 232 h 464"/>
                <a:gd name="T12" fmla="*/ 534 w 540"/>
                <a:gd name="T13" fmla="*/ 278 h 464"/>
                <a:gd name="T14" fmla="*/ 506 w 540"/>
                <a:gd name="T15" fmla="*/ 342 h 464"/>
                <a:gd name="T16" fmla="*/ 460 w 540"/>
                <a:gd name="T17" fmla="*/ 396 h 464"/>
                <a:gd name="T18" fmla="*/ 398 w 540"/>
                <a:gd name="T19" fmla="*/ 436 h 464"/>
                <a:gd name="T20" fmla="*/ 324 w 540"/>
                <a:gd name="T21" fmla="*/ 460 h 464"/>
                <a:gd name="T22" fmla="*/ 270 w 540"/>
                <a:gd name="T23" fmla="*/ 464 h 464"/>
                <a:gd name="T24" fmla="*/ 190 w 540"/>
                <a:gd name="T25" fmla="*/ 454 h 464"/>
                <a:gd name="T26" fmla="*/ 118 w 540"/>
                <a:gd name="T27" fmla="*/ 424 h 464"/>
                <a:gd name="T28" fmla="*/ 62 w 540"/>
                <a:gd name="T29" fmla="*/ 380 h 464"/>
                <a:gd name="T30" fmla="*/ 20 w 540"/>
                <a:gd name="T31" fmla="*/ 322 h 464"/>
                <a:gd name="T32" fmla="*/ 2 w 540"/>
                <a:gd name="T33" fmla="*/ 256 h 464"/>
                <a:gd name="T34" fmla="*/ 2 w 540"/>
                <a:gd name="T35" fmla="*/ 208 h 464"/>
                <a:gd name="T36" fmla="*/ 20 w 540"/>
                <a:gd name="T37" fmla="*/ 142 h 464"/>
                <a:gd name="T38" fmla="*/ 62 w 540"/>
                <a:gd name="T39" fmla="*/ 84 h 464"/>
                <a:gd name="T40" fmla="*/ 118 w 540"/>
                <a:gd name="T41" fmla="*/ 40 h 464"/>
                <a:gd name="T42" fmla="*/ 190 w 540"/>
                <a:gd name="T43" fmla="*/ 10 h 464"/>
                <a:gd name="T44" fmla="*/ 270 w 540"/>
                <a:gd name="T45" fmla="*/ 0 h 464"/>
                <a:gd name="T46" fmla="*/ 270 w 540"/>
                <a:gd name="T47" fmla="*/ 232 h 464"/>
                <a:gd name="T48" fmla="*/ 220 w 540"/>
                <a:gd name="T49" fmla="*/ 196 h 464"/>
                <a:gd name="T50" fmla="*/ 208 w 540"/>
                <a:gd name="T51" fmla="*/ 176 h 464"/>
                <a:gd name="T52" fmla="*/ 156 w 540"/>
                <a:gd name="T53" fmla="*/ 130 h 464"/>
                <a:gd name="T54" fmla="*/ 76 w 540"/>
                <a:gd name="T55" fmla="*/ 152 h 464"/>
                <a:gd name="T56" fmla="*/ 130 w 540"/>
                <a:gd name="T57" fmla="*/ 204 h 464"/>
                <a:gd name="T58" fmla="*/ 138 w 540"/>
                <a:gd name="T59" fmla="*/ 230 h 464"/>
                <a:gd name="T60" fmla="*/ 132 w 540"/>
                <a:gd name="T61" fmla="*/ 244 h 464"/>
                <a:gd name="T62" fmla="*/ 108 w 540"/>
                <a:gd name="T63" fmla="*/ 250 h 464"/>
                <a:gd name="T64" fmla="*/ 38 w 540"/>
                <a:gd name="T65" fmla="*/ 330 h 464"/>
                <a:gd name="T66" fmla="*/ 146 w 540"/>
                <a:gd name="T67" fmla="*/ 330 h 464"/>
                <a:gd name="T68" fmla="*/ 186 w 540"/>
                <a:gd name="T69" fmla="*/ 320 h 464"/>
                <a:gd name="T70" fmla="*/ 214 w 540"/>
                <a:gd name="T71" fmla="*/ 296 h 464"/>
                <a:gd name="T72" fmla="*/ 320 w 540"/>
                <a:gd name="T73" fmla="*/ 390 h 464"/>
                <a:gd name="T74" fmla="*/ 326 w 540"/>
                <a:gd name="T75" fmla="*/ 296 h 464"/>
                <a:gd name="T76" fmla="*/ 352 w 540"/>
                <a:gd name="T77" fmla="*/ 320 h 464"/>
                <a:gd name="T78" fmla="*/ 392 w 540"/>
                <a:gd name="T79" fmla="*/ 330 h 464"/>
                <a:gd name="T80" fmla="*/ 500 w 540"/>
                <a:gd name="T81" fmla="*/ 250 h 464"/>
                <a:gd name="T82" fmla="*/ 432 w 540"/>
                <a:gd name="T83" fmla="*/ 250 h 464"/>
                <a:gd name="T84" fmla="*/ 408 w 540"/>
                <a:gd name="T85" fmla="*/ 244 h 464"/>
                <a:gd name="T86" fmla="*/ 400 w 540"/>
                <a:gd name="T87" fmla="*/ 230 h 464"/>
                <a:gd name="T88" fmla="*/ 410 w 540"/>
                <a:gd name="T89" fmla="*/ 204 h 464"/>
                <a:gd name="T90" fmla="*/ 462 w 540"/>
                <a:gd name="T91" fmla="*/ 152 h 464"/>
                <a:gd name="T92" fmla="*/ 382 w 540"/>
                <a:gd name="T93" fmla="*/ 130 h 464"/>
                <a:gd name="T94" fmla="*/ 330 w 540"/>
                <a:gd name="T95" fmla="*/ 176 h 464"/>
                <a:gd name="T96" fmla="*/ 320 w 540"/>
                <a:gd name="T97" fmla="*/ 19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40" h="464">
                  <a:moveTo>
                    <a:pt x="270" y="0"/>
                  </a:moveTo>
                  <a:lnTo>
                    <a:pt x="270" y="0"/>
                  </a:lnTo>
                  <a:lnTo>
                    <a:pt x="298" y="0"/>
                  </a:lnTo>
                  <a:lnTo>
                    <a:pt x="324" y="4"/>
                  </a:lnTo>
                  <a:lnTo>
                    <a:pt x="350" y="10"/>
                  </a:lnTo>
                  <a:lnTo>
                    <a:pt x="374" y="18"/>
                  </a:lnTo>
                  <a:lnTo>
                    <a:pt x="398" y="28"/>
                  </a:lnTo>
                  <a:lnTo>
                    <a:pt x="420" y="40"/>
                  </a:lnTo>
                  <a:lnTo>
                    <a:pt x="442" y="52"/>
                  </a:lnTo>
                  <a:lnTo>
                    <a:pt x="460" y="68"/>
                  </a:lnTo>
                  <a:lnTo>
                    <a:pt x="478" y="84"/>
                  </a:lnTo>
                  <a:lnTo>
                    <a:pt x="494" y="102"/>
                  </a:lnTo>
                  <a:lnTo>
                    <a:pt x="506" y="122"/>
                  </a:lnTo>
                  <a:lnTo>
                    <a:pt x="518" y="142"/>
                  </a:lnTo>
                  <a:lnTo>
                    <a:pt x="528" y="162"/>
                  </a:lnTo>
                  <a:lnTo>
                    <a:pt x="534" y="184"/>
                  </a:lnTo>
                  <a:lnTo>
                    <a:pt x="538" y="208"/>
                  </a:lnTo>
                  <a:lnTo>
                    <a:pt x="540" y="232"/>
                  </a:lnTo>
                  <a:lnTo>
                    <a:pt x="540" y="232"/>
                  </a:lnTo>
                  <a:lnTo>
                    <a:pt x="538" y="256"/>
                  </a:lnTo>
                  <a:lnTo>
                    <a:pt x="534" y="278"/>
                  </a:lnTo>
                  <a:lnTo>
                    <a:pt x="528" y="300"/>
                  </a:lnTo>
                  <a:lnTo>
                    <a:pt x="518" y="322"/>
                  </a:lnTo>
                  <a:lnTo>
                    <a:pt x="506" y="342"/>
                  </a:lnTo>
                  <a:lnTo>
                    <a:pt x="494" y="362"/>
                  </a:lnTo>
                  <a:lnTo>
                    <a:pt x="478" y="380"/>
                  </a:lnTo>
                  <a:lnTo>
                    <a:pt x="460" y="396"/>
                  </a:lnTo>
                  <a:lnTo>
                    <a:pt x="442" y="410"/>
                  </a:lnTo>
                  <a:lnTo>
                    <a:pt x="420" y="424"/>
                  </a:lnTo>
                  <a:lnTo>
                    <a:pt x="398" y="436"/>
                  </a:lnTo>
                  <a:lnTo>
                    <a:pt x="374" y="446"/>
                  </a:lnTo>
                  <a:lnTo>
                    <a:pt x="350" y="454"/>
                  </a:lnTo>
                  <a:lnTo>
                    <a:pt x="324" y="460"/>
                  </a:lnTo>
                  <a:lnTo>
                    <a:pt x="298" y="462"/>
                  </a:lnTo>
                  <a:lnTo>
                    <a:pt x="270" y="464"/>
                  </a:lnTo>
                  <a:lnTo>
                    <a:pt x="270" y="464"/>
                  </a:lnTo>
                  <a:lnTo>
                    <a:pt x="242" y="462"/>
                  </a:lnTo>
                  <a:lnTo>
                    <a:pt x="216" y="458"/>
                  </a:lnTo>
                  <a:lnTo>
                    <a:pt x="190" y="454"/>
                  </a:lnTo>
                  <a:lnTo>
                    <a:pt x="164" y="446"/>
                  </a:lnTo>
                  <a:lnTo>
                    <a:pt x="140" y="436"/>
                  </a:lnTo>
                  <a:lnTo>
                    <a:pt x="118" y="424"/>
                  </a:lnTo>
                  <a:lnTo>
                    <a:pt x="98" y="410"/>
                  </a:lnTo>
                  <a:lnTo>
                    <a:pt x="78" y="396"/>
                  </a:lnTo>
                  <a:lnTo>
                    <a:pt x="62" y="380"/>
                  </a:lnTo>
                  <a:lnTo>
                    <a:pt x="46" y="362"/>
                  </a:lnTo>
                  <a:lnTo>
                    <a:pt x="32" y="342"/>
                  </a:lnTo>
                  <a:lnTo>
                    <a:pt x="20" y="322"/>
                  </a:lnTo>
                  <a:lnTo>
                    <a:pt x="12" y="300"/>
                  </a:lnTo>
                  <a:lnTo>
                    <a:pt x="6" y="278"/>
                  </a:lnTo>
                  <a:lnTo>
                    <a:pt x="2" y="256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08"/>
                  </a:lnTo>
                  <a:lnTo>
                    <a:pt x="6" y="184"/>
                  </a:lnTo>
                  <a:lnTo>
                    <a:pt x="12" y="162"/>
                  </a:lnTo>
                  <a:lnTo>
                    <a:pt x="20" y="142"/>
                  </a:lnTo>
                  <a:lnTo>
                    <a:pt x="32" y="120"/>
                  </a:lnTo>
                  <a:lnTo>
                    <a:pt x="46" y="102"/>
                  </a:lnTo>
                  <a:lnTo>
                    <a:pt x="62" y="84"/>
                  </a:lnTo>
                  <a:lnTo>
                    <a:pt x="78" y="68"/>
                  </a:lnTo>
                  <a:lnTo>
                    <a:pt x="98" y="52"/>
                  </a:lnTo>
                  <a:lnTo>
                    <a:pt x="118" y="40"/>
                  </a:lnTo>
                  <a:lnTo>
                    <a:pt x="140" y="28"/>
                  </a:lnTo>
                  <a:lnTo>
                    <a:pt x="164" y="18"/>
                  </a:lnTo>
                  <a:lnTo>
                    <a:pt x="190" y="10"/>
                  </a:lnTo>
                  <a:lnTo>
                    <a:pt x="216" y="4"/>
                  </a:lnTo>
                  <a:lnTo>
                    <a:pt x="242" y="0"/>
                  </a:lnTo>
                  <a:lnTo>
                    <a:pt x="270" y="0"/>
                  </a:lnTo>
                  <a:lnTo>
                    <a:pt x="270" y="0"/>
                  </a:lnTo>
                  <a:close/>
                  <a:moveTo>
                    <a:pt x="270" y="232"/>
                  </a:moveTo>
                  <a:lnTo>
                    <a:pt x="270" y="232"/>
                  </a:lnTo>
                  <a:close/>
                  <a:moveTo>
                    <a:pt x="220" y="50"/>
                  </a:moveTo>
                  <a:lnTo>
                    <a:pt x="220" y="50"/>
                  </a:lnTo>
                  <a:lnTo>
                    <a:pt x="220" y="196"/>
                  </a:lnTo>
                  <a:lnTo>
                    <a:pt x="220" y="196"/>
                  </a:lnTo>
                  <a:lnTo>
                    <a:pt x="214" y="186"/>
                  </a:lnTo>
                  <a:lnTo>
                    <a:pt x="208" y="176"/>
                  </a:lnTo>
                  <a:lnTo>
                    <a:pt x="194" y="160"/>
                  </a:lnTo>
                  <a:lnTo>
                    <a:pt x="176" y="144"/>
                  </a:lnTo>
                  <a:lnTo>
                    <a:pt x="156" y="130"/>
                  </a:lnTo>
                  <a:lnTo>
                    <a:pt x="48" y="130"/>
                  </a:lnTo>
                  <a:lnTo>
                    <a:pt x="48" y="130"/>
                  </a:lnTo>
                  <a:lnTo>
                    <a:pt x="76" y="152"/>
                  </a:lnTo>
                  <a:lnTo>
                    <a:pt x="106" y="178"/>
                  </a:lnTo>
                  <a:lnTo>
                    <a:pt x="120" y="192"/>
                  </a:lnTo>
                  <a:lnTo>
                    <a:pt x="130" y="204"/>
                  </a:lnTo>
                  <a:lnTo>
                    <a:pt x="136" y="218"/>
                  </a:lnTo>
                  <a:lnTo>
                    <a:pt x="138" y="230"/>
                  </a:lnTo>
                  <a:lnTo>
                    <a:pt x="138" y="230"/>
                  </a:lnTo>
                  <a:lnTo>
                    <a:pt x="138" y="236"/>
                  </a:lnTo>
                  <a:lnTo>
                    <a:pt x="136" y="240"/>
                  </a:lnTo>
                  <a:lnTo>
                    <a:pt x="132" y="244"/>
                  </a:lnTo>
                  <a:lnTo>
                    <a:pt x="128" y="246"/>
                  </a:lnTo>
                  <a:lnTo>
                    <a:pt x="11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38" y="25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146" y="330"/>
                  </a:lnTo>
                  <a:lnTo>
                    <a:pt x="146" y="330"/>
                  </a:lnTo>
                  <a:lnTo>
                    <a:pt x="166" y="328"/>
                  </a:lnTo>
                  <a:lnTo>
                    <a:pt x="176" y="324"/>
                  </a:lnTo>
                  <a:lnTo>
                    <a:pt x="186" y="320"/>
                  </a:lnTo>
                  <a:lnTo>
                    <a:pt x="196" y="314"/>
                  </a:lnTo>
                  <a:lnTo>
                    <a:pt x="206" y="306"/>
                  </a:lnTo>
                  <a:lnTo>
                    <a:pt x="214" y="296"/>
                  </a:lnTo>
                  <a:lnTo>
                    <a:pt x="220" y="284"/>
                  </a:lnTo>
                  <a:lnTo>
                    <a:pt x="220" y="390"/>
                  </a:lnTo>
                  <a:lnTo>
                    <a:pt x="320" y="390"/>
                  </a:lnTo>
                  <a:lnTo>
                    <a:pt x="320" y="284"/>
                  </a:lnTo>
                  <a:lnTo>
                    <a:pt x="320" y="284"/>
                  </a:lnTo>
                  <a:lnTo>
                    <a:pt x="326" y="296"/>
                  </a:lnTo>
                  <a:lnTo>
                    <a:pt x="334" y="306"/>
                  </a:lnTo>
                  <a:lnTo>
                    <a:pt x="342" y="314"/>
                  </a:lnTo>
                  <a:lnTo>
                    <a:pt x="352" y="320"/>
                  </a:lnTo>
                  <a:lnTo>
                    <a:pt x="362" y="324"/>
                  </a:lnTo>
                  <a:lnTo>
                    <a:pt x="372" y="328"/>
                  </a:lnTo>
                  <a:lnTo>
                    <a:pt x="392" y="330"/>
                  </a:lnTo>
                  <a:lnTo>
                    <a:pt x="392" y="330"/>
                  </a:lnTo>
                  <a:lnTo>
                    <a:pt x="500" y="330"/>
                  </a:lnTo>
                  <a:lnTo>
                    <a:pt x="500" y="250"/>
                  </a:lnTo>
                  <a:lnTo>
                    <a:pt x="500" y="250"/>
                  </a:lnTo>
                  <a:lnTo>
                    <a:pt x="432" y="250"/>
                  </a:lnTo>
                  <a:lnTo>
                    <a:pt x="432" y="250"/>
                  </a:lnTo>
                  <a:lnTo>
                    <a:pt x="422" y="250"/>
                  </a:lnTo>
                  <a:lnTo>
                    <a:pt x="412" y="246"/>
                  </a:lnTo>
                  <a:lnTo>
                    <a:pt x="408" y="244"/>
                  </a:lnTo>
                  <a:lnTo>
                    <a:pt x="404" y="240"/>
                  </a:lnTo>
                  <a:lnTo>
                    <a:pt x="402" y="236"/>
                  </a:lnTo>
                  <a:lnTo>
                    <a:pt x="400" y="230"/>
                  </a:lnTo>
                  <a:lnTo>
                    <a:pt x="400" y="230"/>
                  </a:lnTo>
                  <a:lnTo>
                    <a:pt x="402" y="218"/>
                  </a:lnTo>
                  <a:lnTo>
                    <a:pt x="410" y="204"/>
                  </a:lnTo>
                  <a:lnTo>
                    <a:pt x="420" y="192"/>
                  </a:lnTo>
                  <a:lnTo>
                    <a:pt x="432" y="178"/>
                  </a:lnTo>
                  <a:lnTo>
                    <a:pt x="462" y="152"/>
                  </a:lnTo>
                  <a:lnTo>
                    <a:pt x="492" y="130"/>
                  </a:lnTo>
                  <a:lnTo>
                    <a:pt x="382" y="130"/>
                  </a:lnTo>
                  <a:lnTo>
                    <a:pt x="382" y="130"/>
                  </a:lnTo>
                  <a:lnTo>
                    <a:pt x="364" y="144"/>
                  </a:lnTo>
                  <a:lnTo>
                    <a:pt x="346" y="160"/>
                  </a:lnTo>
                  <a:lnTo>
                    <a:pt x="330" y="176"/>
                  </a:lnTo>
                  <a:lnTo>
                    <a:pt x="324" y="186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20" y="50"/>
                  </a:lnTo>
                  <a:lnTo>
                    <a:pt x="22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1314450" y="339725"/>
              <a:ext cx="5232400" cy="736600"/>
              <a:chOff x="1314450" y="339725"/>
              <a:chExt cx="5232400" cy="736600"/>
            </a:xfrm>
            <a:grpFill/>
          </p:grpSpPr>
          <p:sp>
            <p:nvSpPr>
              <p:cNvPr id="11" name="Freeform 9"/>
              <p:cNvSpPr>
                <a:spLocks/>
              </p:cNvSpPr>
              <p:nvPr/>
            </p:nvSpPr>
            <p:spPr bwMode="auto">
              <a:xfrm>
                <a:off x="1908175" y="352425"/>
                <a:ext cx="139700" cy="98425"/>
              </a:xfrm>
              <a:custGeom>
                <a:avLst/>
                <a:gdLst>
                  <a:gd name="T0" fmla="*/ 4 w 88"/>
                  <a:gd name="T1" fmla="*/ 0 h 62"/>
                  <a:gd name="T2" fmla="*/ 88 w 88"/>
                  <a:gd name="T3" fmla="*/ 0 h 62"/>
                  <a:gd name="T4" fmla="*/ 84 w 88"/>
                  <a:gd name="T5" fmla="*/ 62 h 62"/>
                  <a:gd name="T6" fmla="*/ 0 w 88"/>
                  <a:gd name="T7" fmla="*/ 62 h 62"/>
                  <a:gd name="T8" fmla="*/ 4 w 88"/>
                  <a:gd name="T9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" h="62">
                    <a:moveTo>
                      <a:pt x="4" y="0"/>
                    </a:moveTo>
                    <a:lnTo>
                      <a:pt x="88" y="0"/>
                    </a:lnTo>
                    <a:lnTo>
                      <a:pt x="84" y="62"/>
                    </a:lnTo>
                    <a:lnTo>
                      <a:pt x="0" y="6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10"/>
              <p:cNvSpPr>
                <a:spLocks noEditPoints="1"/>
              </p:cNvSpPr>
              <p:nvPr/>
            </p:nvSpPr>
            <p:spPr bwMode="auto">
              <a:xfrm>
                <a:off x="5397500" y="504825"/>
                <a:ext cx="393700" cy="393700"/>
              </a:xfrm>
              <a:custGeom>
                <a:avLst/>
                <a:gdLst>
                  <a:gd name="T0" fmla="*/ 152 w 248"/>
                  <a:gd name="T1" fmla="*/ 216 h 248"/>
                  <a:gd name="T2" fmla="*/ 138 w 248"/>
                  <a:gd name="T3" fmla="*/ 228 h 248"/>
                  <a:gd name="T4" fmla="*/ 112 w 248"/>
                  <a:gd name="T5" fmla="*/ 242 h 248"/>
                  <a:gd name="T6" fmla="*/ 92 w 248"/>
                  <a:gd name="T7" fmla="*/ 246 h 248"/>
                  <a:gd name="T8" fmla="*/ 80 w 248"/>
                  <a:gd name="T9" fmla="*/ 248 h 248"/>
                  <a:gd name="T10" fmla="*/ 44 w 248"/>
                  <a:gd name="T11" fmla="*/ 242 h 248"/>
                  <a:gd name="T12" fmla="*/ 18 w 248"/>
                  <a:gd name="T13" fmla="*/ 226 h 248"/>
                  <a:gd name="T14" fmla="*/ 4 w 248"/>
                  <a:gd name="T15" fmla="*/ 202 h 248"/>
                  <a:gd name="T16" fmla="*/ 0 w 248"/>
                  <a:gd name="T17" fmla="*/ 174 h 248"/>
                  <a:gd name="T18" fmla="*/ 2 w 248"/>
                  <a:gd name="T19" fmla="*/ 156 h 248"/>
                  <a:gd name="T20" fmla="*/ 20 w 248"/>
                  <a:gd name="T21" fmla="*/ 128 h 248"/>
                  <a:gd name="T22" fmla="*/ 54 w 248"/>
                  <a:gd name="T23" fmla="*/ 108 h 248"/>
                  <a:gd name="T24" fmla="*/ 104 w 248"/>
                  <a:gd name="T25" fmla="*/ 98 h 248"/>
                  <a:gd name="T26" fmla="*/ 162 w 248"/>
                  <a:gd name="T27" fmla="*/ 96 h 248"/>
                  <a:gd name="T28" fmla="*/ 164 w 248"/>
                  <a:gd name="T29" fmla="*/ 78 h 248"/>
                  <a:gd name="T30" fmla="*/ 162 w 248"/>
                  <a:gd name="T31" fmla="*/ 60 h 248"/>
                  <a:gd name="T32" fmla="*/ 154 w 248"/>
                  <a:gd name="T33" fmla="*/ 46 h 248"/>
                  <a:gd name="T34" fmla="*/ 136 w 248"/>
                  <a:gd name="T35" fmla="*/ 40 h 248"/>
                  <a:gd name="T36" fmla="*/ 126 w 248"/>
                  <a:gd name="T37" fmla="*/ 42 h 248"/>
                  <a:gd name="T38" fmla="*/ 114 w 248"/>
                  <a:gd name="T39" fmla="*/ 48 h 248"/>
                  <a:gd name="T40" fmla="*/ 106 w 248"/>
                  <a:gd name="T41" fmla="*/ 66 h 248"/>
                  <a:gd name="T42" fmla="*/ 22 w 248"/>
                  <a:gd name="T43" fmla="*/ 76 h 248"/>
                  <a:gd name="T44" fmla="*/ 24 w 248"/>
                  <a:gd name="T45" fmla="*/ 66 h 248"/>
                  <a:gd name="T46" fmla="*/ 28 w 248"/>
                  <a:gd name="T47" fmla="*/ 46 h 248"/>
                  <a:gd name="T48" fmla="*/ 38 w 248"/>
                  <a:gd name="T49" fmla="*/ 30 h 248"/>
                  <a:gd name="T50" fmla="*/ 54 w 248"/>
                  <a:gd name="T51" fmla="*/ 18 h 248"/>
                  <a:gd name="T52" fmla="*/ 62 w 248"/>
                  <a:gd name="T53" fmla="*/ 14 h 248"/>
                  <a:gd name="T54" fmla="*/ 102 w 248"/>
                  <a:gd name="T55" fmla="*/ 2 h 248"/>
                  <a:gd name="T56" fmla="*/ 144 w 248"/>
                  <a:gd name="T57" fmla="*/ 0 h 248"/>
                  <a:gd name="T58" fmla="*/ 164 w 248"/>
                  <a:gd name="T59" fmla="*/ 0 h 248"/>
                  <a:gd name="T60" fmla="*/ 200 w 248"/>
                  <a:gd name="T61" fmla="*/ 10 h 248"/>
                  <a:gd name="T62" fmla="*/ 230 w 248"/>
                  <a:gd name="T63" fmla="*/ 30 h 248"/>
                  <a:gd name="T64" fmla="*/ 240 w 248"/>
                  <a:gd name="T65" fmla="*/ 44 h 248"/>
                  <a:gd name="T66" fmla="*/ 246 w 248"/>
                  <a:gd name="T67" fmla="*/ 62 h 248"/>
                  <a:gd name="T68" fmla="*/ 248 w 248"/>
                  <a:gd name="T69" fmla="*/ 82 h 248"/>
                  <a:gd name="T70" fmla="*/ 242 w 248"/>
                  <a:gd name="T71" fmla="*/ 196 h 248"/>
                  <a:gd name="T72" fmla="*/ 242 w 248"/>
                  <a:gd name="T73" fmla="*/ 246 h 248"/>
                  <a:gd name="T74" fmla="*/ 152 w 248"/>
                  <a:gd name="T75" fmla="*/ 216 h 248"/>
                  <a:gd name="T76" fmla="*/ 114 w 248"/>
                  <a:gd name="T77" fmla="*/ 200 h 248"/>
                  <a:gd name="T78" fmla="*/ 138 w 248"/>
                  <a:gd name="T79" fmla="*/ 194 h 248"/>
                  <a:gd name="T80" fmla="*/ 152 w 248"/>
                  <a:gd name="T81" fmla="*/ 176 h 248"/>
                  <a:gd name="T82" fmla="*/ 158 w 248"/>
                  <a:gd name="T83" fmla="*/ 154 h 248"/>
                  <a:gd name="T84" fmla="*/ 160 w 248"/>
                  <a:gd name="T85" fmla="*/ 130 h 248"/>
                  <a:gd name="T86" fmla="*/ 122 w 248"/>
                  <a:gd name="T87" fmla="*/ 132 h 248"/>
                  <a:gd name="T88" fmla="*/ 110 w 248"/>
                  <a:gd name="T89" fmla="*/ 134 h 248"/>
                  <a:gd name="T90" fmla="*/ 94 w 248"/>
                  <a:gd name="T91" fmla="*/ 148 h 248"/>
                  <a:gd name="T92" fmla="*/ 86 w 248"/>
                  <a:gd name="T93" fmla="*/ 170 h 248"/>
                  <a:gd name="T94" fmla="*/ 86 w 248"/>
                  <a:gd name="T95" fmla="*/ 176 h 248"/>
                  <a:gd name="T96" fmla="*/ 92 w 248"/>
                  <a:gd name="T97" fmla="*/ 192 h 248"/>
                  <a:gd name="T98" fmla="*/ 102 w 248"/>
                  <a:gd name="T99" fmla="*/ 198 h 248"/>
                  <a:gd name="T100" fmla="*/ 114 w 248"/>
                  <a:gd name="T101" fmla="*/ 20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8" h="248">
                    <a:moveTo>
                      <a:pt x="152" y="216"/>
                    </a:moveTo>
                    <a:lnTo>
                      <a:pt x="152" y="216"/>
                    </a:lnTo>
                    <a:lnTo>
                      <a:pt x="152" y="216"/>
                    </a:lnTo>
                    <a:lnTo>
                      <a:pt x="138" y="228"/>
                    </a:lnTo>
                    <a:lnTo>
                      <a:pt x="122" y="238"/>
                    </a:lnTo>
                    <a:lnTo>
                      <a:pt x="112" y="242"/>
                    </a:lnTo>
                    <a:lnTo>
                      <a:pt x="102" y="246"/>
                    </a:lnTo>
                    <a:lnTo>
                      <a:pt x="92" y="246"/>
                    </a:lnTo>
                    <a:lnTo>
                      <a:pt x="80" y="248"/>
                    </a:lnTo>
                    <a:lnTo>
                      <a:pt x="80" y="248"/>
                    </a:lnTo>
                    <a:lnTo>
                      <a:pt x="60" y="246"/>
                    </a:lnTo>
                    <a:lnTo>
                      <a:pt x="44" y="242"/>
                    </a:lnTo>
                    <a:lnTo>
                      <a:pt x="30" y="234"/>
                    </a:lnTo>
                    <a:lnTo>
                      <a:pt x="18" y="226"/>
                    </a:lnTo>
                    <a:lnTo>
                      <a:pt x="10" y="216"/>
                    </a:lnTo>
                    <a:lnTo>
                      <a:pt x="4" y="202"/>
                    </a:lnTo>
                    <a:lnTo>
                      <a:pt x="0" y="188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2" y="156"/>
                    </a:lnTo>
                    <a:lnTo>
                      <a:pt x="8" y="142"/>
                    </a:lnTo>
                    <a:lnTo>
                      <a:pt x="20" y="128"/>
                    </a:lnTo>
                    <a:lnTo>
                      <a:pt x="34" y="116"/>
                    </a:lnTo>
                    <a:lnTo>
                      <a:pt x="54" y="108"/>
                    </a:lnTo>
                    <a:lnTo>
                      <a:pt x="76" y="102"/>
                    </a:lnTo>
                    <a:lnTo>
                      <a:pt x="104" y="98"/>
                    </a:lnTo>
                    <a:lnTo>
                      <a:pt x="134" y="96"/>
                    </a:lnTo>
                    <a:lnTo>
                      <a:pt x="162" y="96"/>
                    </a:lnTo>
                    <a:lnTo>
                      <a:pt x="162" y="96"/>
                    </a:lnTo>
                    <a:lnTo>
                      <a:pt x="164" y="78"/>
                    </a:lnTo>
                    <a:lnTo>
                      <a:pt x="164" y="70"/>
                    </a:lnTo>
                    <a:lnTo>
                      <a:pt x="162" y="60"/>
                    </a:lnTo>
                    <a:lnTo>
                      <a:pt x="160" y="52"/>
                    </a:lnTo>
                    <a:lnTo>
                      <a:pt x="154" y="46"/>
                    </a:lnTo>
                    <a:lnTo>
                      <a:pt x="146" y="42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26" y="42"/>
                    </a:lnTo>
                    <a:lnTo>
                      <a:pt x="120" y="44"/>
                    </a:lnTo>
                    <a:lnTo>
                      <a:pt x="114" y="48"/>
                    </a:lnTo>
                    <a:lnTo>
                      <a:pt x="110" y="54"/>
                    </a:lnTo>
                    <a:lnTo>
                      <a:pt x="106" y="66"/>
                    </a:lnTo>
                    <a:lnTo>
                      <a:pt x="104" y="76"/>
                    </a:lnTo>
                    <a:lnTo>
                      <a:pt x="22" y="76"/>
                    </a:lnTo>
                    <a:lnTo>
                      <a:pt x="22" y="76"/>
                    </a:lnTo>
                    <a:lnTo>
                      <a:pt x="24" y="66"/>
                    </a:lnTo>
                    <a:lnTo>
                      <a:pt x="26" y="54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38" y="30"/>
                    </a:lnTo>
                    <a:lnTo>
                      <a:pt x="46" y="24"/>
                    </a:lnTo>
                    <a:lnTo>
                      <a:pt x="54" y="18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2" y="6"/>
                    </a:lnTo>
                    <a:lnTo>
                      <a:pt x="102" y="2"/>
                    </a:lnTo>
                    <a:lnTo>
                      <a:pt x="124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64" y="0"/>
                    </a:lnTo>
                    <a:lnTo>
                      <a:pt x="182" y="4"/>
                    </a:lnTo>
                    <a:lnTo>
                      <a:pt x="200" y="10"/>
                    </a:lnTo>
                    <a:lnTo>
                      <a:pt x="216" y="18"/>
                    </a:lnTo>
                    <a:lnTo>
                      <a:pt x="230" y="30"/>
                    </a:lnTo>
                    <a:lnTo>
                      <a:pt x="236" y="38"/>
                    </a:lnTo>
                    <a:lnTo>
                      <a:pt x="240" y="44"/>
                    </a:lnTo>
                    <a:lnTo>
                      <a:pt x="244" y="52"/>
                    </a:lnTo>
                    <a:lnTo>
                      <a:pt x="246" y="62"/>
                    </a:lnTo>
                    <a:lnTo>
                      <a:pt x="248" y="72"/>
                    </a:lnTo>
                    <a:lnTo>
                      <a:pt x="248" y="82"/>
                    </a:lnTo>
                    <a:lnTo>
                      <a:pt x="242" y="196"/>
                    </a:lnTo>
                    <a:lnTo>
                      <a:pt x="242" y="196"/>
                    </a:lnTo>
                    <a:lnTo>
                      <a:pt x="240" y="214"/>
                    </a:lnTo>
                    <a:lnTo>
                      <a:pt x="242" y="246"/>
                    </a:lnTo>
                    <a:lnTo>
                      <a:pt x="158" y="246"/>
                    </a:lnTo>
                    <a:lnTo>
                      <a:pt x="152" y="216"/>
                    </a:lnTo>
                    <a:close/>
                    <a:moveTo>
                      <a:pt x="114" y="200"/>
                    </a:moveTo>
                    <a:lnTo>
                      <a:pt x="114" y="200"/>
                    </a:lnTo>
                    <a:lnTo>
                      <a:pt x="128" y="198"/>
                    </a:lnTo>
                    <a:lnTo>
                      <a:pt x="138" y="194"/>
                    </a:lnTo>
                    <a:lnTo>
                      <a:pt x="146" y="186"/>
                    </a:lnTo>
                    <a:lnTo>
                      <a:pt x="152" y="176"/>
                    </a:lnTo>
                    <a:lnTo>
                      <a:pt x="156" y="166"/>
                    </a:lnTo>
                    <a:lnTo>
                      <a:pt x="158" y="154"/>
                    </a:lnTo>
                    <a:lnTo>
                      <a:pt x="160" y="130"/>
                    </a:lnTo>
                    <a:lnTo>
                      <a:pt x="160" y="130"/>
                    </a:lnTo>
                    <a:lnTo>
                      <a:pt x="134" y="130"/>
                    </a:lnTo>
                    <a:lnTo>
                      <a:pt x="122" y="132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2" y="140"/>
                    </a:lnTo>
                    <a:lnTo>
                      <a:pt x="94" y="148"/>
                    </a:lnTo>
                    <a:lnTo>
                      <a:pt x="88" y="158"/>
                    </a:lnTo>
                    <a:lnTo>
                      <a:pt x="86" y="170"/>
                    </a:lnTo>
                    <a:lnTo>
                      <a:pt x="86" y="170"/>
                    </a:lnTo>
                    <a:lnTo>
                      <a:pt x="86" y="176"/>
                    </a:lnTo>
                    <a:lnTo>
                      <a:pt x="88" y="182"/>
                    </a:lnTo>
                    <a:lnTo>
                      <a:pt x="92" y="192"/>
                    </a:lnTo>
                    <a:lnTo>
                      <a:pt x="96" y="194"/>
                    </a:lnTo>
                    <a:lnTo>
                      <a:pt x="102" y="198"/>
                    </a:lnTo>
                    <a:lnTo>
                      <a:pt x="108" y="200"/>
                    </a:lnTo>
                    <a:lnTo>
                      <a:pt x="114" y="200"/>
                    </a:lnTo>
                    <a:lnTo>
                      <a:pt x="114" y="2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11"/>
              <p:cNvSpPr>
                <a:spLocks noEditPoints="1"/>
              </p:cNvSpPr>
              <p:nvPr/>
            </p:nvSpPr>
            <p:spPr bwMode="auto">
              <a:xfrm>
                <a:off x="6092825" y="352425"/>
                <a:ext cx="454025" cy="542925"/>
              </a:xfrm>
              <a:custGeom>
                <a:avLst/>
                <a:gdLst>
                  <a:gd name="T0" fmla="*/ 0 w 286"/>
                  <a:gd name="T1" fmla="*/ 342 h 342"/>
                  <a:gd name="T2" fmla="*/ 24 w 286"/>
                  <a:gd name="T3" fmla="*/ 0 h 342"/>
                  <a:gd name="T4" fmla="*/ 114 w 286"/>
                  <a:gd name="T5" fmla="*/ 0 h 342"/>
                  <a:gd name="T6" fmla="*/ 90 w 286"/>
                  <a:gd name="T7" fmla="*/ 342 h 342"/>
                  <a:gd name="T8" fmla="*/ 0 w 286"/>
                  <a:gd name="T9" fmla="*/ 342 h 342"/>
                  <a:gd name="T10" fmla="*/ 100 w 286"/>
                  <a:gd name="T11" fmla="*/ 210 h 342"/>
                  <a:gd name="T12" fmla="*/ 184 w 286"/>
                  <a:gd name="T13" fmla="*/ 104 h 342"/>
                  <a:gd name="T14" fmla="*/ 286 w 286"/>
                  <a:gd name="T15" fmla="*/ 104 h 342"/>
                  <a:gd name="T16" fmla="*/ 194 w 286"/>
                  <a:gd name="T17" fmla="*/ 204 h 342"/>
                  <a:gd name="T18" fmla="*/ 282 w 286"/>
                  <a:gd name="T19" fmla="*/ 342 h 342"/>
                  <a:gd name="T20" fmla="*/ 170 w 286"/>
                  <a:gd name="T21" fmla="*/ 342 h 342"/>
                  <a:gd name="T22" fmla="*/ 100 w 286"/>
                  <a:gd name="T23" fmla="*/ 21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6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4" y="0"/>
                    </a:lnTo>
                    <a:lnTo>
                      <a:pt x="90" y="342"/>
                    </a:lnTo>
                    <a:lnTo>
                      <a:pt x="0" y="342"/>
                    </a:lnTo>
                    <a:close/>
                    <a:moveTo>
                      <a:pt x="100" y="210"/>
                    </a:moveTo>
                    <a:lnTo>
                      <a:pt x="184" y="104"/>
                    </a:lnTo>
                    <a:lnTo>
                      <a:pt x="286" y="104"/>
                    </a:lnTo>
                    <a:lnTo>
                      <a:pt x="194" y="204"/>
                    </a:lnTo>
                    <a:lnTo>
                      <a:pt x="282" y="342"/>
                    </a:lnTo>
                    <a:lnTo>
                      <a:pt x="170" y="342"/>
                    </a:lnTo>
                    <a:lnTo>
                      <a:pt x="10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12"/>
              <p:cNvSpPr>
                <a:spLocks/>
              </p:cNvSpPr>
              <p:nvPr/>
            </p:nvSpPr>
            <p:spPr bwMode="auto">
              <a:xfrm>
                <a:off x="3606800" y="517525"/>
                <a:ext cx="292100" cy="377825"/>
              </a:xfrm>
              <a:custGeom>
                <a:avLst/>
                <a:gdLst>
                  <a:gd name="T0" fmla="*/ 104 w 184"/>
                  <a:gd name="T1" fmla="*/ 34 h 238"/>
                  <a:gd name="T2" fmla="*/ 106 w 184"/>
                  <a:gd name="T3" fmla="*/ 34 h 238"/>
                  <a:gd name="T4" fmla="*/ 106 w 184"/>
                  <a:gd name="T5" fmla="*/ 34 h 238"/>
                  <a:gd name="T6" fmla="*/ 114 w 184"/>
                  <a:gd name="T7" fmla="*/ 24 h 238"/>
                  <a:gd name="T8" fmla="*/ 124 w 184"/>
                  <a:gd name="T9" fmla="*/ 16 h 238"/>
                  <a:gd name="T10" fmla="*/ 132 w 184"/>
                  <a:gd name="T11" fmla="*/ 10 h 238"/>
                  <a:gd name="T12" fmla="*/ 142 w 184"/>
                  <a:gd name="T13" fmla="*/ 6 h 238"/>
                  <a:gd name="T14" fmla="*/ 152 w 184"/>
                  <a:gd name="T15" fmla="*/ 4 h 238"/>
                  <a:gd name="T16" fmla="*/ 162 w 184"/>
                  <a:gd name="T17" fmla="*/ 2 h 238"/>
                  <a:gd name="T18" fmla="*/ 184 w 184"/>
                  <a:gd name="T19" fmla="*/ 0 h 238"/>
                  <a:gd name="T20" fmla="*/ 178 w 184"/>
                  <a:gd name="T21" fmla="*/ 76 h 238"/>
                  <a:gd name="T22" fmla="*/ 178 w 184"/>
                  <a:gd name="T23" fmla="*/ 76 h 238"/>
                  <a:gd name="T24" fmla="*/ 160 w 184"/>
                  <a:gd name="T25" fmla="*/ 76 h 238"/>
                  <a:gd name="T26" fmla="*/ 160 w 184"/>
                  <a:gd name="T27" fmla="*/ 76 h 238"/>
                  <a:gd name="T28" fmla="*/ 140 w 184"/>
                  <a:gd name="T29" fmla="*/ 78 h 238"/>
                  <a:gd name="T30" fmla="*/ 126 w 184"/>
                  <a:gd name="T31" fmla="*/ 82 h 238"/>
                  <a:gd name="T32" fmla="*/ 116 w 184"/>
                  <a:gd name="T33" fmla="*/ 88 h 238"/>
                  <a:gd name="T34" fmla="*/ 108 w 184"/>
                  <a:gd name="T35" fmla="*/ 98 h 238"/>
                  <a:gd name="T36" fmla="*/ 102 w 184"/>
                  <a:gd name="T37" fmla="*/ 108 h 238"/>
                  <a:gd name="T38" fmla="*/ 100 w 184"/>
                  <a:gd name="T39" fmla="*/ 120 h 238"/>
                  <a:gd name="T40" fmla="*/ 98 w 184"/>
                  <a:gd name="T41" fmla="*/ 148 h 238"/>
                  <a:gd name="T42" fmla="*/ 92 w 184"/>
                  <a:gd name="T43" fmla="*/ 238 h 238"/>
                  <a:gd name="T44" fmla="*/ 0 w 184"/>
                  <a:gd name="T45" fmla="*/ 238 h 238"/>
                  <a:gd name="T46" fmla="*/ 12 w 184"/>
                  <a:gd name="T47" fmla="*/ 62 h 238"/>
                  <a:gd name="T48" fmla="*/ 12 w 184"/>
                  <a:gd name="T49" fmla="*/ 62 h 238"/>
                  <a:gd name="T50" fmla="*/ 14 w 184"/>
                  <a:gd name="T51" fmla="*/ 32 h 238"/>
                  <a:gd name="T52" fmla="*/ 14 w 184"/>
                  <a:gd name="T53" fmla="*/ 0 h 238"/>
                  <a:gd name="T54" fmla="*/ 102 w 184"/>
                  <a:gd name="T55" fmla="*/ 0 h 238"/>
                  <a:gd name="T56" fmla="*/ 104 w 184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4" h="238">
                    <a:moveTo>
                      <a:pt x="104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4" y="24"/>
                    </a:lnTo>
                    <a:lnTo>
                      <a:pt x="124" y="16"/>
                    </a:lnTo>
                    <a:lnTo>
                      <a:pt x="132" y="10"/>
                    </a:lnTo>
                    <a:lnTo>
                      <a:pt x="142" y="6"/>
                    </a:lnTo>
                    <a:lnTo>
                      <a:pt x="152" y="4"/>
                    </a:lnTo>
                    <a:lnTo>
                      <a:pt x="162" y="2"/>
                    </a:lnTo>
                    <a:lnTo>
                      <a:pt x="184" y="0"/>
                    </a:lnTo>
                    <a:lnTo>
                      <a:pt x="178" y="76"/>
                    </a:lnTo>
                    <a:lnTo>
                      <a:pt x="178" y="76"/>
                    </a:lnTo>
                    <a:lnTo>
                      <a:pt x="160" y="76"/>
                    </a:lnTo>
                    <a:lnTo>
                      <a:pt x="160" y="76"/>
                    </a:lnTo>
                    <a:lnTo>
                      <a:pt x="140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2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4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13"/>
              <p:cNvSpPr>
                <a:spLocks/>
              </p:cNvSpPr>
              <p:nvPr/>
            </p:nvSpPr>
            <p:spPr bwMode="auto">
              <a:xfrm>
                <a:off x="3889375" y="352425"/>
                <a:ext cx="174625" cy="542925"/>
              </a:xfrm>
              <a:custGeom>
                <a:avLst/>
                <a:gdLst>
                  <a:gd name="T0" fmla="*/ 0 w 110"/>
                  <a:gd name="T1" fmla="*/ 342 h 342"/>
                  <a:gd name="T2" fmla="*/ 24 w 110"/>
                  <a:gd name="T3" fmla="*/ 0 h 342"/>
                  <a:gd name="T4" fmla="*/ 110 w 110"/>
                  <a:gd name="T5" fmla="*/ 0 h 342"/>
                  <a:gd name="T6" fmla="*/ 86 w 110"/>
                  <a:gd name="T7" fmla="*/ 342 h 342"/>
                  <a:gd name="T8" fmla="*/ 0 w 110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0" y="0"/>
                    </a:lnTo>
                    <a:lnTo>
                      <a:pt x="86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14"/>
              <p:cNvSpPr>
                <a:spLocks noEditPoints="1"/>
              </p:cNvSpPr>
              <p:nvPr/>
            </p:nvSpPr>
            <p:spPr bwMode="auto">
              <a:xfrm>
                <a:off x="2740025" y="352425"/>
                <a:ext cx="438150" cy="546100"/>
              </a:xfrm>
              <a:custGeom>
                <a:avLst/>
                <a:gdLst>
                  <a:gd name="T0" fmla="*/ 112 w 276"/>
                  <a:gd name="T1" fmla="*/ 0 h 344"/>
                  <a:gd name="T2" fmla="*/ 104 w 276"/>
                  <a:gd name="T3" fmla="*/ 136 h 344"/>
                  <a:gd name="T4" fmla="*/ 120 w 276"/>
                  <a:gd name="T5" fmla="*/ 122 h 344"/>
                  <a:gd name="T6" fmla="*/ 146 w 276"/>
                  <a:gd name="T7" fmla="*/ 104 h 344"/>
                  <a:gd name="T8" fmla="*/ 168 w 276"/>
                  <a:gd name="T9" fmla="*/ 98 h 344"/>
                  <a:gd name="T10" fmla="*/ 180 w 276"/>
                  <a:gd name="T11" fmla="*/ 98 h 344"/>
                  <a:gd name="T12" fmla="*/ 206 w 276"/>
                  <a:gd name="T13" fmla="*/ 100 h 344"/>
                  <a:gd name="T14" fmla="*/ 226 w 276"/>
                  <a:gd name="T15" fmla="*/ 108 h 344"/>
                  <a:gd name="T16" fmla="*/ 244 w 276"/>
                  <a:gd name="T17" fmla="*/ 120 h 344"/>
                  <a:gd name="T18" fmla="*/ 258 w 276"/>
                  <a:gd name="T19" fmla="*/ 136 h 344"/>
                  <a:gd name="T20" fmla="*/ 274 w 276"/>
                  <a:gd name="T21" fmla="*/ 176 h 344"/>
                  <a:gd name="T22" fmla="*/ 276 w 276"/>
                  <a:gd name="T23" fmla="*/ 220 h 344"/>
                  <a:gd name="T24" fmla="*/ 274 w 276"/>
                  <a:gd name="T25" fmla="*/ 242 h 344"/>
                  <a:gd name="T26" fmla="*/ 260 w 276"/>
                  <a:gd name="T27" fmla="*/ 284 h 344"/>
                  <a:gd name="T28" fmla="*/ 240 w 276"/>
                  <a:gd name="T29" fmla="*/ 312 h 344"/>
                  <a:gd name="T30" fmla="*/ 222 w 276"/>
                  <a:gd name="T31" fmla="*/ 328 h 344"/>
                  <a:gd name="T32" fmla="*/ 202 w 276"/>
                  <a:gd name="T33" fmla="*/ 338 h 344"/>
                  <a:gd name="T34" fmla="*/ 176 w 276"/>
                  <a:gd name="T35" fmla="*/ 344 h 344"/>
                  <a:gd name="T36" fmla="*/ 160 w 276"/>
                  <a:gd name="T37" fmla="*/ 344 h 344"/>
                  <a:gd name="T38" fmla="*/ 140 w 276"/>
                  <a:gd name="T39" fmla="*/ 342 h 344"/>
                  <a:gd name="T40" fmla="*/ 106 w 276"/>
                  <a:gd name="T41" fmla="*/ 324 h 344"/>
                  <a:gd name="T42" fmla="*/ 92 w 276"/>
                  <a:gd name="T43" fmla="*/ 312 h 344"/>
                  <a:gd name="T44" fmla="*/ 0 w 276"/>
                  <a:gd name="T45" fmla="*/ 342 h 344"/>
                  <a:gd name="T46" fmla="*/ 94 w 276"/>
                  <a:gd name="T47" fmla="*/ 226 h 344"/>
                  <a:gd name="T48" fmla="*/ 96 w 276"/>
                  <a:gd name="T49" fmla="*/ 250 h 344"/>
                  <a:gd name="T50" fmla="*/ 102 w 276"/>
                  <a:gd name="T51" fmla="*/ 272 h 344"/>
                  <a:gd name="T52" fmla="*/ 114 w 276"/>
                  <a:gd name="T53" fmla="*/ 288 h 344"/>
                  <a:gd name="T54" fmla="*/ 134 w 276"/>
                  <a:gd name="T55" fmla="*/ 296 h 344"/>
                  <a:gd name="T56" fmla="*/ 148 w 276"/>
                  <a:gd name="T57" fmla="*/ 294 h 344"/>
                  <a:gd name="T58" fmla="*/ 168 w 276"/>
                  <a:gd name="T59" fmla="*/ 282 h 344"/>
                  <a:gd name="T60" fmla="*/ 180 w 276"/>
                  <a:gd name="T61" fmla="*/ 260 h 344"/>
                  <a:gd name="T62" fmla="*/ 186 w 276"/>
                  <a:gd name="T63" fmla="*/ 222 h 344"/>
                  <a:gd name="T64" fmla="*/ 186 w 276"/>
                  <a:gd name="T65" fmla="*/ 198 h 344"/>
                  <a:gd name="T66" fmla="*/ 180 w 276"/>
                  <a:gd name="T67" fmla="*/ 174 h 344"/>
                  <a:gd name="T68" fmla="*/ 168 w 276"/>
                  <a:gd name="T69" fmla="*/ 156 h 344"/>
                  <a:gd name="T70" fmla="*/ 146 w 276"/>
                  <a:gd name="T71" fmla="*/ 150 h 344"/>
                  <a:gd name="T72" fmla="*/ 132 w 276"/>
                  <a:gd name="T73" fmla="*/ 152 h 344"/>
                  <a:gd name="T74" fmla="*/ 112 w 276"/>
                  <a:gd name="T75" fmla="*/ 166 h 344"/>
                  <a:gd name="T76" fmla="*/ 100 w 276"/>
                  <a:gd name="T77" fmla="*/ 188 h 344"/>
                  <a:gd name="T78" fmla="*/ 94 w 276"/>
                  <a:gd name="T79" fmla="*/ 226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6" h="344">
                    <a:moveTo>
                      <a:pt x="24" y="0"/>
                    </a:moveTo>
                    <a:lnTo>
                      <a:pt x="112" y="0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20" y="122"/>
                    </a:lnTo>
                    <a:lnTo>
                      <a:pt x="138" y="108"/>
                    </a:lnTo>
                    <a:lnTo>
                      <a:pt x="146" y="104"/>
                    </a:lnTo>
                    <a:lnTo>
                      <a:pt x="158" y="100"/>
                    </a:lnTo>
                    <a:lnTo>
                      <a:pt x="168" y="98"/>
                    </a:lnTo>
                    <a:lnTo>
                      <a:pt x="180" y="98"/>
                    </a:lnTo>
                    <a:lnTo>
                      <a:pt x="180" y="98"/>
                    </a:lnTo>
                    <a:lnTo>
                      <a:pt x="194" y="98"/>
                    </a:lnTo>
                    <a:lnTo>
                      <a:pt x="206" y="100"/>
                    </a:lnTo>
                    <a:lnTo>
                      <a:pt x="216" y="104"/>
                    </a:lnTo>
                    <a:lnTo>
                      <a:pt x="226" y="108"/>
                    </a:lnTo>
                    <a:lnTo>
                      <a:pt x="236" y="114"/>
                    </a:lnTo>
                    <a:lnTo>
                      <a:pt x="244" y="120"/>
                    </a:lnTo>
                    <a:lnTo>
                      <a:pt x="250" y="128"/>
                    </a:lnTo>
                    <a:lnTo>
                      <a:pt x="258" y="136"/>
                    </a:lnTo>
                    <a:lnTo>
                      <a:pt x="266" y="156"/>
                    </a:lnTo>
                    <a:lnTo>
                      <a:pt x="274" y="176"/>
                    </a:lnTo>
                    <a:lnTo>
                      <a:pt x="276" y="198"/>
                    </a:lnTo>
                    <a:lnTo>
                      <a:pt x="276" y="220"/>
                    </a:lnTo>
                    <a:lnTo>
                      <a:pt x="276" y="220"/>
                    </a:lnTo>
                    <a:lnTo>
                      <a:pt x="274" y="242"/>
                    </a:lnTo>
                    <a:lnTo>
                      <a:pt x="268" y="264"/>
                    </a:lnTo>
                    <a:lnTo>
                      <a:pt x="260" y="284"/>
                    </a:lnTo>
                    <a:lnTo>
                      <a:pt x="248" y="304"/>
                    </a:lnTo>
                    <a:lnTo>
                      <a:pt x="240" y="312"/>
                    </a:lnTo>
                    <a:lnTo>
                      <a:pt x="232" y="320"/>
                    </a:lnTo>
                    <a:lnTo>
                      <a:pt x="222" y="328"/>
                    </a:lnTo>
                    <a:lnTo>
                      <a:pt x="212" y="334"/>
                    </a:lnTo>
                    <a:lnTo>
                      <a:pt x="202" y="338"/>
                    </a:lnTo>
                    <a:lnTo>
                      <a:pt x="188" y="342"/>
                    </a:lnTo>
                    <a:lnTo>
                      <a:pt x="176" y="344"/>
                    </a:lnTo>
                    <a:lnTo>
                      <a:pt x="160" y="344"/>
                    </a:lnTo>
                    <a:lnTo>
                      <a:pt x="160" y="344"/>
                    </a:lnTo>
                    <a:lnTo>
                      <a:pt x="150" y="344"/>
                    </a:lnTo>
                    <a:lnTo>
                      <a:pt x="140" y="342"/>
                    </a:lnTo>
                    <a:lnTo>
                      <a:pt x="122" y="336"/>
                    </a:lnTo>
                    <a:lnTo>
                      <a:pt x="106" y="324"/>
                    </a:lnTo>
                    <a:lnTo>
                      <a:pt x="94" y="312"/>
                    </a:lnTo>
                    <a:lnTo>
                      <a:pt x="92" y="312"/>
                    </a:lnTo>
                    <a:lnTo>
                      <a:pt x="88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  <a:moveTo>
                      <a:pt x="94" y="226"/>
                    </a:moveTo>
                    <a:lnTo>
                      <a:pt x="94" y="226"/>
                    </a:lnTo>
                    <a:lnTo>
                      <a:pt x="96" y="250"/>
                    </a:lnTo>
                    <a:lnTo>
                      <a:pt x="98" y="260"/>
                    </a:lnTo>
                    <a:lnTo>
                      <a:pt x="102" y="272"/>
                    </a:lnTo>
                    <a:lnTo>
                      <a:pt x="106" y="282"/>
                    </a:lnTo>
                    <a:lnTo>
                      <a:pt x="114" y="288"/>
                    </a:lnTo>
                    <a:lnTo>
                      <a:pt x="122" y="294"/>
                    </a:lnTo>
                    <a:lnTo>
                      <a:pt x="134" y="296"/>
                    </a:lnTo>
                    <a:lnTo>
                      <a:pt x="134" y="296"/>
                    </a:lnTo>
                    <a:lnTo>
                      <a:pt x="148" y="294"/>
                    </a:lnTo>
                    <a:lnTo>
                      <a:pt x="158" y="288"/>
                    </a:lnTo>
                    <a:lnTo>
                      <a:pt x="168" y="282"/>
                    </a:lnTo>
                    <a:lnTo>
                      <a:pt x="174" y="272"/>
                    </a:lnTo>
                    <a:lnTo>
                      <a:pt x="180" y="260"/>
                    </a:lnTo>
                    <a:lnTo>
                      <a:pt x="184" y="248"/>
                    </a:lnTo>
                    <a:lnTo>
                      <a:pt x="186" y="222"/>
                    </a:lnTo>
                    <a:lnTo>
                      <a:pt x="186" y="222"/>
                    </a:lnTo>
                    <a:lnTo>
                      <a:pt x="186" y="198"/>
                    </a:lnTo>
                    <a:lnTo>
                      <a:pt x="184" y="186"/>
                    </a:lnTo>
                    <a:lnTo>
                      <a:pt x="180" y="174"/>
                    </a:lnTo>
                    <a:lnTo>
                      <a:pt x="176" y="164"/>
                    </a:lnTo>
                    <a:lnTo>
                      <a:pt x="168" y="156"/>
                    </a:lnTo>
                    <a:lnTo>
                      <a:pt x="158" y="152"/>
                    </a:lnTo>
                    <a:lnTo>
                      <a:pt x="146" y="150"/>
                    </a:lnTo>
                    <a:lnTo>
                      <a:pt x="146" y="150"/>
                    </a:lnTo>
                    <a:lnTo>
                      <a:pt x="132" y="152"/>
                    </a:lnTo>
                    <a:lnTo>
                      <a:pt x="120" y="156"/>
                    </a:lnTo>
                    <a:lnTo>
                      <a:pt x="112" y="166"/>
                    </a:lnTo>
                    <a:lnTo>
                      <a:pt x="104" y="176"/>
                    </a:lnTo>
                    <a:lnTo>
                      <a:pt x="100" y="188"/>
                    </a:lnTo>
                    <a:lnTo>
                      <a:pt x="98" y="200"/>
                    </a:lnTo>
                    <a:lnTo>
                      <a:pt x="94" y="226"/>
                    </a:lnTo>
                    <a:lnTo>
                      <a:pt x="94" y="2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15"/>
              <p:cNvSpPr>
                <a:spLocks noEditPoints="1"/>
              </p:cNvSpPr>
              <p:nvPr/>
            </p:nvSpPr>
            <p:spPr bwMode="auto">
              <a:xfrm>
                <a:off x="3197225" y="504825"/>
                <a:ext cx="406400" cy="396875"/>
              </a:xfrm>
              <a:custGeom>
                <a:avLst/>
                <a:gdLst>
                  <a:gd name="T0" fmla="*/ 86 w 256"/>
                  <a:gd name="T1" fmla="*/ 142 h 250"/>
                  <a:gd name="T2" fmla="*/ 86 w 256"/>
                  <a:gd name="T3" fmla="*/ 166 h 250"/>
                  <a:gd name="T4" fmla="*/ 90 w 256"/>
                  <a:gd name="T5" fmla="*/ 184 h 250"/>
                  <a:gd name="T6" fmla="*/ 102 w 256"/>
                  <a:gd name="T7" fmla="*/ 196 h 250"/>
                  <a:gd name="T8" fmla="*/ 124 w 256"/>
                  <a:gd name="T9" fmla="*/ 202 h 250"/>
                  <a:gd name="T10" fmla="*/ 132 w 256"/>
                  <a:gd name="T11" fmla="*/ 200 h 250"/>
                  <a:gd name="T12" fmla="*/ 148 w 256"/>
                  <a:gd name="T13" fmla="*/ 196 h 250"/>
                  <a:gd name="T14" fmla="*/ 158 w 256"/>
                  <a:gd name="T15" fmla="*/ 186 h 250"/>
                  <a:gd name="T16" fmla="*/ 164 w 256"/>
                  <a:gd name="T17" fmla="*/ 174 h 250"/>
                  <a:gd name="T18" fmla="*/ 248 w 256"/>
                  <a:gd name="T19" fmla="*/ 170 h 250"/>
                  <a:gd name="T20" fmla="*/ 246 w 256"/>
                  <a:gd name="T21" fmla="*/ 180 h 250"/>
                  <a:gd name="T22" fmla="*/ 238 w 256"/>
                  <a:gd name="T23" fmla="*/ 198 h 250"/>
                  <a:gd name="T24" fmla="*/ 218 w 256"/>
                  <a:gd name="T25" fmla="*/ 222 h 250"/>
                  <a:gd name="T26" fmla="*/ 202 w 256"/>
                  <a:gd name="T27" fmla="*/ 234 h 250"/>
                  <a:gd name="T28" fmla="*/ 168 w 256"/>
                  <a:gd name="T29" fmla="*/ 246 h 250"/>
                  <a:gd name="T30" fmla="*/ 128 w 256"/>
                  <a:gd name="T31" fmla="*/ 250 h 250"/>
                  <a:gd name="T32" fmla="*/ 96 w 256"/>
                  <a:gd name="T33" fmla="*/ 248 h 250"/>
                  <a:gd name="T34" fmla="*/ 66 w 256"/>
                  <a:gd name="T35" fmla="*/ 242 h 250"/>
                  <a:gd name="T36" fmla="*/ 44 w 256"/>
                  <a:gd name="T37" fmla="*/ 232 h 250"/>
                  <a:gd name="T38" fmla="*/ 26 w 256"/>
                  <a:gd name="T39" fmla="*/ 218 h 250"/>
                  <a:gd name="T40" fmla="*/ 12 w 256"/>
                  <a:gd name="T41" fmla="*/ 200 h 250"/>
                  <a:gd name="T42" fmla="*/ 4 w 256"/>
                  <a:gd name="T43" fmla="*/ 178 h 250"/>
                  <a:gd name="T44" fmla="*/ 0 w 256"/>
                  <a:gd name="T45" fmla="*/ 150 h 250"/>
                  <a:gd name="T46" fmla="*/ 0 w 256"/>
                  <a:gd name="T47" fmla="*/ 118 h 250"/>
                  <a:gd name="T48" fmla="*/ 4 w 256"/>
                  <a:gd name="T49" fmla="*/ 92 h 250"/>
                  <a:gd name="T50" fmla="*/ 14 w 256"/>
                  <a:gd name="T51" fmla="*/ 68 h 250"/>
                  <a:gd name="T52" fmla="*/ 26 w 256"/>
                  <a:gd name="T53" fmla="*/ 48 h 250"/>
                  <a:gd name="T54" fmla="*/ 44 w 256"/>
                  <a:gd name="T55" fmla="*/ 32 h 250"/>
                  <a:gd name="T56" fmla="*/ 86 w 256"/>
                  <a:gd name="T57" fmla="*/ 8 h 250"/>
                  <a:gd name="T58" fmla="*/ 138 w 256"/>
                  <a:gd name="T59" fmla="*/ 0 h 250"/>
                  <a:gd name="T60" fmla="*/ 154 w 256"/>
                  <a:gd name="T61" fmla="*/ 2 h 250"/>
                  <a:gd name="T62" fmla="*/ 184 w 256"/>
                  <a:gd name="T63" fmla="*/ 6 h 250"/>
                  <a:gd name="T64" fmla="*/ 208 w 256"/>
                  <a:gd name="T65" fmla="*/ 18 h 250"/>
                  <a:gd name="T66" fmla="*/ 228 w 256"/>
                  <a:gd name="T67" fmla="*/ 32 h 250"/>
                  <a:gd name="T68" fmla="*/ 242 w 256"/>
                  <a:gd name="T69" fmla="*/ 50 h 250"/>
                  <a:gd name="T70" fmla="*/ 250 w 256"/>
                  <a:gd name="T71" fmla="*/ 72 h 250"/>
                  <a:gd name="T72" fmla="*/ 256 w 256"/>
                  <a:gd name="T73" fmla="*/ 112 h 250"/>
                  <a:gd name="T74" fmla="*/ 86 w 256"/>
                  <a:gd name="T75" fmla="*/ 142 h 250"/>
                  <a:gd name="T76" fmla="*/ 172 w 256"/>
                  <a:gd name="T77" fmla="*/ 98 h 250"/>
                  <a:gd name="T78" fmla="*/ 170 w 256"/>
                  <a:gd name="T79" fmla="*/ 78 h 250"/>
                  <a:gd name="T80" fmla="*/ 164 w 256"/>
                  <a:gd name="T81" fmla="*/ 62 h 250"/>
                  <a:gd name="T82" fmla="*/ 158 w 256"/>
                  <a:gd name="T83" fmla="*/ 56 h 250"/>
                  <a:gd name="T84" fmla="*/ 142 w 256"/>
                  <a:gd name="T85" fmla="*/ 48 h 250"/>
                  <a:gd name="T86" fmla="*/ 134 w 256"/>
                  <a:gd name="T87" fmla="*/ 46 h 250"/>
                  <a:gd name="T88" fmla="*/ 114 w 256"/>
                  <a:gd name="T89" fmla="*/ 52 h 250"/>
                  <a:gd name="T90" fmla="*/ 102 w 256"/>
                  <a:gd name="T91" fmla="*/ 62 h 250"/>
                  <a:gd name="T92" fmla="*/ 94 w 256"/>
                  <a:gd name="T93" fmla="*/ 78 h 250"/>
                  <a:gd name="T94" fmla="*/ 172 w 256"/>
                  <a:gd name="T95" fmla="*/ 98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6" h="250">
                    <a:moveTo>
                      <a:pt x="86" y="142"/>
                    </a:moveTo>
                    <a:lnTo>
                      <a:pt x="86" y="142"/>
                    </a:lnTo>
                    <a:lnTo>
                      <a:pt x="84" y="154"/>
                    </a:lnTo>
                    <a:lnTo>
                      <a:pt x="86" y="166"/>
                    </a:lnTo>
                    <a:lnTo>
                      <a:pt x="88" y="176"/>
                    </a:lnTo>
                    <a:lnTo>
                      <a:pt x="90" y="184"/>
                    </a:lnTo>
                    <a:lnTo>
                      <a:pt x="96" y="192"/>
                    </a:lnTo>
                    <a:lnTo>
                      <a:pt x="102" y="196"/>
                    </a:lnTo>
                    <a:lnTo>
                      <a:pt x="112" y="200"/>
                    </a:lnTo>
                    <a:lnTo>
                      <a:pt x="124" y="202"/>
                    </a:lnTo>
                    <a:lnTo>
                      <a:pt x="124" y="202"/>
                    </a:lnTo>
                    <a:lnTo>
                      <a:pt x="132" y="200"/>
                    </a:lnTo>
                    <a:lnTo>
                      <a:pt x="140" y="198"/>
                    </a:lnTo>
                    <a:lnTo>
                      <a:pt x="148" y="196"/>
                    </a:lnTo>
                    <a:lnTo>
                      <a:pt x="154" y="192"/>
                    </a:lnTo>
                    <a:lnTo>
                      <a:pt x="158" y="186"/>
                    </a:lnTo>
                    <a:lnTo>
                      <a:pt x="162" y="180"/>
                    </a:lnTo>
                    <a:lnTo>
                      <a:pt x="164" y="174"/>
                    </a:lnTo>
                    <a:lnTo>
                      <a:pt x="164" y="170"/>
                    </a:lnTo>
                    <a:lnTo>
                      <a:pt x="248" y="170"/>
                    </a:lnTo>
                    <a:lnTo>
                      <a:pt x="248" y="170"/>
                    </a:lnTo>
                    <a:lnTo>
                      <a:pt x="246" y="180"/>
                    </a:lnTo>
                    <a:lnTo>
                      <a:pt x="242" y="190"/>
                    </a:lnTo>
                    <a:lnTo>
                      <a:pt x="238" y="198"/>
                    </a:lnTo>
                    <a:lnTo>
                      <a:pt x="232" y="208"/>
                    </a:lnTo>
                    <a:lnTo>
                      <a:pt x="218" y="222"/>
                    </a:lnTo>
                    <a:lnTo>
                      <a:pt x="202" y="234"/>
                    </a:lnTo>
                    <a:lnTo>
                      <a:pt x="202" y="234"/>
                    </a:lnTo>
                    <a:lnTo>
                      <a:pt x="186" y="242"/>
                    </a:lnTo>
                    <a:lnTo>
                      <a:pt x="168" y="246"/>
                    </a:lnTo>
                    <a:lnTo>
                      <a:pt x="148" y="248"/>
                    </a:lnTo>
                    <a:lnTo>
                      <a:pt x="128" y="250"/>
                    </a:lnTo>
                    <a:lnTo>
                      <a:pt x="128" y="250"/>
                    </a:lnTo>
                    <a:lnTo>
                      <a:pt x="96" y="248"/>
                    </a:lnTo>
                    <a:lnTo>
                      <a:pt x="80" y="244"/>
                    </a:lnTo>
                    <a:lnTo>
                      <a:pt x="66" y="242"/>
                    </a:lnTo>
                    <a:lnTo>
                      <a:pt x="54" y="238"/>
                    </a:lnTo>
                    <a:lnTo>
                      <a:pt x="44" y="232"/>
                    </a:lnTo>
                    <a:lnTo>
                      <a:pt x="34" y="226"/>
                    </a:lnTo>
                    <a:lnTo>
                      <a:pt x="26" y="218"/>
                    </a:lnTo>
                    <a:lnTo>
                      <a:pt x="18" y="210"/>
                    </a:lnTo>
                    <a:lnTo>
                      <a:pt x="12" y="200"/>
                    </a:lnTo>
                    <a:lnTo>
                      <a:pt x="8" y="190"/>
                    </a:lnTo>
                    <a:lnTo>
                      <a:pt x="4" y="178"/>
                    </a:lnTo>
                    <a:lnTo>
                      <a:pt x="2" y="164"/>
                    </a:lnTo>
                    <a:lnTo>
                      <a:pt x="0" y="150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2" y="106"/>
                    </a:lnTo>
                    <a:lnTo>
                      <a:pt x="4" y="92"/>
                    </a:lnTo>
                    <a:lnTo>
                      <a:pt x="8" y="80"/>
                    </a:lnTo>
                    <a:lnTo>
                      <a:pt x="14" y="68"/>
                    </a:lnTo>
                    <a:lnTo>
                      <a:pt x="20" y="58"/>
                    </a:lnTo>
                    <a:lnTo>
                      <a:pt x="26" y="48"/>
                    </a:lnTo>
                    <a:lnTo>
                      <a:pt x="34" y="40"/>
                    </a:lnTo>
                    <a:lnTo>
                      <a:pt x="44" y="32"/>
                    </a:lnTo>
                    <a:lnTo>
                      <a:pt x="64" y="18"/>
                    </a:lnTo>
                    <a:lnTo>
                      <a:pt x="86" y="8"/>
                    </a:lnTo>
                    <a:lnTo>
                      <a:pt x="110" y="2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4" y="2"/>
                    </a:lnTo>
                    <a:lnTo>
                      <a:pt x="170" y="4"/>
                    </a:lnTo>
                    <a:lnTo>
                      <a:pt x="184" y="6"/>
                    </a:lnTo>
                    <a:lnTo>
                      <a:pt x="196" y="12"/>
                    </a:lnTo>
                    <a:lnTo>
                      <a:pt x="208" y="18"/>
                    </a:lnTo>
                    <a:lnTo>
                      <a:pt x="218" y="24"/>
                    </a:lnTo>
                    <a:lnTo>
                      <a:pt x="228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46" y="60"/>
                    </a:lnTo>
                    <a:lnTo>
                      <a:pt x="250" y="72"/>
                    </a:lnTo>
                    <a:lnTo>
                      <a:pt x="254" y="84"/>
                    </a:lnTo>
                    <a:lnTo>
                      <a:pt x="256" y="112"/>
                    </a:lnTo>
                    <a:lnTo>
                      <a:pt x="254" y="142"/>
                    </a:lnTo>
                    <a:lnTo>
                      <a:pt x="86" y="142"/>
                    </a:lnTo>
                    <a:close/>
                    <a:moveTo>
                      <a:pt x="172" y="98"/>
                    </a:moveTo>
                    <a:lnTo>
                      <a:pt x="172" y="98"/>
                    </a:lnTo>
                    <a:lnTo>
                      <a:pt x="172" y="88"/>
                    </a:lnTo>
                    <a:lnTo>
                      <a:pt x="170" y="78"/>
                    </a:lnTo>
                    <a:lnTo>
                      <a:pt x="168" y="70"/>
                    </a:lnTo>
                    <a:lnTo>
                      <a:pt x="164" y="62"/>
                    </a:lnTo>
                    <a:lnTo>
                      <a:pt x="164" y="62"/>
                    </a:lnTo>
                    <a:lnTo>
                      <a:pt x="158" y="56"/>
                    </a:lnTo>
                    <a:lnTo>
                      <a:pt x="150" y="50"/>
                    </a:lnTo>
                    <a:lnTo>
                      <a:pt x="142" y="48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22" y="48"/>
                    </a:lnTo>
                    <a:lnTo>
                      <a:pt x="114" y="52"/>
                    </a:lnTo>
                    <a:lnTo>
                      <a:pt x="106" y="56"/>
                    </a:lnTo>
                    <a:lnTo>
                      <a:pt x="102" y="62"/>
                    </a:lnTo>
                    <a:lnTo>
                      <a:pt x="96" y="70"/>
                    </a:lnTo>
                    <a:lnTo>
                      <a:pt x="94" y="78"/>
                    </a:lnTo>
                    <a:lnTo>
                      <a:pt x="90" y="98"/>
                    </a:lnTo>
                    <a:lnTo>
                      <a:pt x="172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16"/>
              <p:cNvSpPr>
                <a:spLocks/>
              </p:cNvSpPr>
              <p:nvPr/>
            </p:nvSpPr>
            <p:spPr bwMode="auto">
              <a:xfrm>
                <a:off x="1314450" y="352425"/>
                <a:ext cx="196850" cy="542925"/>
              </a:xfrm>
              <a:custGeom>
                <a:avLst/>
                <a:gdLst>
                  <a:gd name="T0" fmla="*/ 24 w 124"/>
                  <a:gd name="T1" fmla="*/ 0 h 342"/>
                  <a:gd name="T2" fmla="*/ 124 w 124"/>
                  <a:gd name="T3" fmla="*/ 0 h 342"/>
                  <a:gd name="T4" fmla="*/ 100 w 124"/>
                  <a:gd name="T5" fmla="*/ 342 h 342"/>
                  <a:gd name="T6" fmla="*/ 0 w 124"/>
                  <a:gd name="T7" fmla="*/ 342 h 342"/>
                  <a:gd name="T8" fmla="*/ 24 w 124"/>
                  <a:gd name="T9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342">
                    <a:moveTo>
                      <a:pt x="24" y="0"/>
                    </a:moveTo>
                    <a:lnTo>
                      <a:pt x="124" y="0"/>
                    </a:lnTo>
                    <a:lnTo>
                      <a:pt x="100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17"/>
              <p:cNvSpPr>
                <a:spLocks/>
              </p:cNvSpPr>
              <p:nvPr/>
            </p:nvSpPr>
            <p:spPr bwMode="auto">
              <a:xfrm>
                <a:off x="1498600" y="352425"/>
                <a:ext cx="368300" cy="542925"/>
              </a:xfrm>
              <a:custGeom>
                <a:avLst/>
                <a:gdLst>
                  <a:gd name="T0" fmla="*/ 120 w 232"/>
                  <a:gd name="T1" fmla="*/ 0 h 342"/>
                  <a:gd name="T2" fmla="*/ 0 w 232"/>
                  <a:gd name="T3" fmla="*/ 152 h 342"/>
                  <a:gd name="T4" fmla="*/ 106 w 232"/>
                  <a:gd name="T5" fmla="*/ 342 h 342"/>
                  <a:gd name="T6" fmla="*/ 226 w 232"/>
                  <a:gd name="T7" fmla="*/ 342 h 342"/>
                  <a:gd name="T8" fmla="*/ 106 w 232"/>
                  <a:gd name="T9" fmla="*/ 148 h 342"/>
                  <a:gd name="T10" fmla="*/ 232 w 232"/>
                  <a:gd name="T11" fmla="*/ 0 h 342"/>
                  <a:gd name="T12" fmla="*/ 120 w 232"/>
                  <a:gd name="T13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2" h="342">
                    <a:moveTo>
                      <a:pt x="120" y="0"/>
                    </a:moveTo>
                    <a:lnTo>
                      <a:pt x="0" y="152"/>
                    </a:lnTo>
                    <a:lnTo>
                      <a:pt x="106" y="342"/>
                    </a:lnTo>
                    <a:lnTo>
                      <a:pt x="226" y="342"/>
                    </a:lnTo>
                    <a:lnTo>
                      <a:pt x="106" y="148"/>
                    </a:lnTo>
                    <a:lnTo>
                      <a:pt x="232" y="0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18"/>
              <p:cNvSpPr>
                <a:spLocks/>
              </p:cNvSpPr>
              <p:nvPr/>
            </p:nvSpPr>
            <p:spPr bwMode="auto">
              <a:xfrm>
                <a:off x="1876425" y="517525"/>
                <a:ext cx="158750" cy="377825"/>
              </a:xfrm>
              <a:custGeom>
                <a:avLst/>
                <a:gdLst>
                  <a:gd name="T0" fmla="*/ 16 w 100"/>
                  <a:gd name="T1" fmla="*/ 0 h 238"/>
                  <a:gd name="T2" fmla="*/ 100 w 100"/>
                  <a:gd name="T3" fmla="*/ 0 h 238"/>
                  <a:gd name="T4" fmla="*/ 84 w 100"/>
                  <a:gd name="T5" fmla="*/ 238 h 238"/>
                  <a:gd name="T6" fmla="*/ 0 w 100"/>
                  <a:gd name="T7" fmla="*/ 238 h 238"/>
                  <a:gd name="T8" fmla="*/ 16 w 100"/>
                  <a:gd name="T9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238">
                    <a:moveTo>
                      <a:pt x="16" y="0"/>
                    </a:moveTo>
                    <a:lnTo>
                      <a:pt x="100" y="0"/>
                    </a:lnTo>
                    <a:lnTo>
                      <a:pt x="84" y="238"/>
                    </a:lnTo>
                    <a:lnTo>
                      <a:pt x="0" y="238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19"/>
              <p:cNvSpPr>
                <a:spLocks/>
              </p:cNvSpPr>
              <p:nvPr/>
            </p:nvSpPr>
            <p:spPr bwMode="auto">
              <a:xfrm>
                <a:off x="2038350" y="504825"/>
                <a:ext cx="692150" cy="390525"/>
              </a:xfrm>
              <a:custGeom>
                <a:avLst/>
                <a:gdLst>
                  <a:gd name="T0" fmla="*/ 106 w 436"/>
                  <a:gd name="T1" fmla="*/ 40 h 246"/>
                  <a:gd name="T2" fmla="*/ 106 w 436"/>
                  <a:gd name="T3" fmla="*/ 40 h 246"/>
                  <a:gd name="T4" fmla="*/ 128 w 436"/>
                  <a:gd name="T5" fmla="*/ 20 h 246"/>
                  <a:gd name="T6" fmla="*/ 150 w 436"/>
                  <a:gd name="T7" fmla="*/ 8 h 246"/>
                  <a:gd name="T8" fmla="*/ 172 w 436"/>
                  <a:gd name="T9" fmla="*/ 2 h 246"/>
                  <a:gd name="T10" fmla="*/ 192 w 436"/>
                  <a:gd name="T11" fmla="*/ 2 h 246"/>
                  <a:gd name="T12" fmla="*/ 216 w 436"/>
                  <a:gd name="T13" fmla="*/ 6 h 246"/>
                  <a:gd name="T14" fmla="*/ 238 w 436"/>
                  <a:gd name="T15" fmla="*/ 14 h 246"/>
                  <a:gd name="T16" fmla="*/ 254 w 436"/>
                  <a:gd name="T17" fmla="*/ 28 h 246"/>
                  <a:gd name="T18" fmla="*/ 264 w 436"/>
                  <a:gd name="T19" fmla="*/ 44 h 246"/>
                  <a:gd name="T20" fmla="*/ 272 w 436"/>
                  <a:gd name="T21" fmla="*/ 34 h 246"/>
                  <a:gd name="T22" fmla="*/ 290 w 436"/>
                  <a:gd name="T23" fmla="*/ 18 h 246"/>
                  <a:gd name="T24" fmla="*/ 312 w 436"/>
                  <a:gd name="T25" fmla="*/ 8 h 246"/>
                  <a:gd name="T26" fmla="*/ 338 w 436"/>
                  <a:gd name="T27" fmla="*/ 2 h 246"/>
                  <a:gd name="T28" fmla="*/ 352 w 436"/>
                  <a:gd name="T29" fmla="*/ 0 h 246"/>
                  <a:gd name="T30" fmla="*/ 386 w 436"/>
                  <a:gd name="T31" fmla="*/ 6 h 246"/>
                  <a:gd name="T32" fmla="*/ 414 w 436"/>
                  <a:gd name="T33" fmla="*/ 24 h 246"/>
                  <a:gd name="T34" fmla="*/ 432 w 436"/>
                  <a:gd name="T35" fmla="*/ 50 h 246"/>
                  <a:gd name="T36" fmla="*/ 436 w 436"/>
                  <a:gd name="T37" fmla="*/ 86 h 246"/>
                  <a:gd name="T38" fmla="*/ 332 w 436"/>
                  <a:gd name="T39" fmla="*/ 246 h 246"/>
                  <a:gd name="T40" fmla="*/ 342 w 436"/>
                  <a:gd name="T41" fmla="*/ 106 h 246"/>
                  <a:gd name="T42" fmla="*/ 342 w 436"/>
                  <a:gd name="T43" fmla="*/ 80 h 246"/>
                  <a:gd name="T44" fmla="*/ 336 w 436"/>
                  <a:gd name="T45" fmla="*/ 66 h 246"/>
                  <a:gd name="T46" fmla="*/ 322 w 436"/>
                  <a:gd name="T47" fmla="*/ 58 h 246"/>
                  <a:gd name="T48" fmla="*/ 312 w 436"/>
                  <a:gd name="T49" fmla="*/ 58 h 246"/>
                  <a:gd name="T50" fmla="*/ 288 w 436"/>
                  <a:gd name="T51" fmla="*/ 66 h 246"/>
                  <a:gd name="T52" fmla="*/ 276 w 436"/>
                  <a:gd name="T53" fmla="*/ 82 h 246"/>
                  <a:gd name="T54" fmla="*/ 270 w 436"/>
                  <a:gd name="T55" fmla="*/ 100 h 246"/>
                  <a:gd name="T56" fmla="*/ 260 w 436"/>
                  <a:gd name="T57" fmla="*/ 246 h 246"/>
                  <a:gd name="T58" fmla="*/ 180 w 436"/>
                  <a:gd name="T59" fmla="*/ 106 h 246"/>
                  <a:gd name="T60" fmla="*/ 178 w 436"/>
                  <a:gd name="T61" fmla="*/ 88 h 246"/>
                  <a:gd name="T62" fmla="*/ 174 w 436"/>
                  <a:gd name="T63" fmla="*/ 72 h 246"/>
                  <a:gd name="T64" fmla="*/ 164 w 436"/>
                  <a:gd name="T65" fmla="*/ 62 h 246"/>
                  <a:gd name="T66" fmla="*/ 148 w 436"/>
                  <a:gd name="T67" fmla="*/ 58 h 246"/>
                  <a:gd name="T68" fmla="*/ 132 w 436"/>
                  <a:gd name="T69" fmla="*/ 60 h 246"/>
                  <a:gd name="T70" fmla="*/ 114 w 436"/>
                  <a:gd name="T71" fmla="*/ 72 h 246"/>
                  <a:gd name="T72" fmla="*/ 104 w 436"/>
                  <a:gd name="T73" fmla="*/ 92 h 246"/>
                  <a:gd name="T74" fmla="*/ 102 w 436"/>
                  <a:gd name="T75" fmla="*/ 110 h 246"/>
                  <a:gd name="T76" fmla="*/ 0 w 436"/>
                  <a:gd name="T77" fmla="*/ 246 h 246"/>
                  <a:gd name="T78" fmla="*/ 106 w 436"/>
                  <a:gd name="T79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36" h="246">
                    <a:moveTo>
                      <a:pt x="106" y="8"/>
                    </a:moveTo>
                    <a:lnTo>
                      <a:pt x="106" y="40"/>
                    </a:lnTo>
                    <a:lnTo>
                      <a:pt x="106" y="40"/>
                    </a:lnTo>
                    <a:lnTo>
                      <a:pt x="106" y="40"/>
                    </a:lnTo>
                    <a:lnTo>
                      <a:pt x="118" y="28"/>
                    </a:lnTo>
                    <a:lnTo>
                      <a:pt x="128" y="20"/>
                    </a:lnTo>
                    <a:lnTo>
                      <a:pt x="140" y="12"/>
                    </a:lnTo>
                    <a:lnTo>
                      <a:pt x="150" y="8"/>
                    </a:lnTo>
                    <a:lnTo>
                      <a:pt x="162" y="4"/>
                    </a:lnTo>
                    <a:lnTo>
                      <a:pt x="172" y="2"/>
                    </a:lnTo>
                    <a:lnTo>
                      <a:pt x="192" y="2"/>
                    </a:lnTo>
                    <a:lnTo>
                      <a:pt x="192" y="2"/>
                    </a:lnTo>
                    <a:lnTo>
                      <a:pt x="204" y="2"/>
                    </a:lnTo>
                    <a:lnTo>
                      <a:pt x="216" y="6"/>
                    </a:lnTo>
                    <a:lnTo>
                      <a:pt x="228" y="8"/>
                    </a:lnTo>
                    <a:lnTo>
                      <a:pt x="238" y="14"/>
                    </a:lnTo>
                    <a:lnTo>
                      <a:pt x="246" y="20"/>
                    </a:lnTo>
                    <a:lnTo>
                      <a:pt x="254" y="28"/>
                    </a:lnTo>
                    <a:lnTo>
                      <a:pt x="260" y="36"/>
                    </a:lnTo>
                    <a:lnTo>
                      <a:pt x="264" y="44"/>
                    </a:lnTo>
                    <a:lnTo>
                      <a:pt x="264" y="44"/>
                    </a:lnTo>
                    <a:lnTo>
                      <a:pt x="272" y="34"/>
                    </a:lnTo>
                    <a:lnTo>
                      <a:pt x="280" y="26"/>
                    </a:lnTo>
                    <a:lnTo>
                      <a:pt x="290" y="18"/>
                    </a:lnTo>
                    <a:lnTo>
                      <a:pt x="302" y="12"/>
                    </a:lnTo>
                    <a:lnTo>
                      <a:pt x="312" y="8"/>
                    </a:lnTo>
                    <a:lnTo>
                      <a:pt x="326" y="4"/>
                    </a:lnTo>
                    <a:lnTo>
                      <a:pt x="338" y="2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70" y="2"/>
                    </a:lnTo>
                    <a:lnTo>
                      <a:pt x="386" y="6"/>
                    </a:lnTo>
                    <a:lnTo>
                      <a:pt x="402" y="14"/>
                    </a:lnTo>
                    <a:lnTo>
                      <a:pt x="414" y="24"/>
                    </a:lnTo>
                    <a:lnTo>
                      <a:pt x="424" y="36"/>
                    </a:lnTo>
                    <a:lnTo>
                      <a:pt x="432" y="50"/>
                    </a:lnTo>
                    <a:lnTo>
                      <a:pt x="436" y="68"/>
                    </a:lnTo>
                    <a:lnTo>
                      <a:pt x="436" y="86"/>
                    </a:lnTo>
                    <a:lnTo>
                      <a:pt x="424" y="246"/>
                    </a:lnTo>
                    <a:lnTo>
                      <a:pt x="332" y="246"/>
                    </a:lnTo>
                    <a:lnTo>
                      <a:pt x="342" y="106"/>
                    </a:lnTo>
                    <a:lnTo>
                      <a:pt x="342" y="106"/>
                    </a:lnTo>
                    <a:lnTo>
                      <a:pt x="342" y="88"/>
                    </a:lnTo>
                    <a:lnTo>
                      <a:pt x="342" y="80"/>
                    </a:lnTo>
                    <a:lnTo>
                      <a:pt x="340" y="74"/>
                    </a:lnTo>
                    <a:lnTo>
                      <a:pt x="336" y="66"/>
                    </a:lnTo>
                    <a:lnTo>
                      <a:pt x="330" y="62"/>
                    </a:lnTo>
                    <a:lnTo>
                      <a:pt x="322" y="58"/>
                    </a:lnTo>
                    <a:lnTo>
                      <a:pt x="312" y="58"/>
                    </a:lnTo>
                    <a:lnTo>
                      <a:pt x="312" y="58"/>
                    </a:lnTo>
                    <a:lnTo>
                      <a:pt x="298" y="60"/>
                    </a:lnTo>
                    <a:lnTo>
                      <a:pt x="288" y="66"/>
                    </a:lnTo>
                    <a:lnTo>
                      <a:pt x="280" y="72"/>
                    </a:lnTo>
                    <a:lnTo>
                      <a:pt x="276" y="82"/>
                    </a:lnTo>
                    <a:lnTo>
                      <a:pt x="272" y="92"/>
                    </a:lnTo>
                    <a:lnTo>
                      <a:pt x="270" y="100"/>
                    </a:lnTo>
                    <a:lnTo>
                      <a:pt x="270" y="110"/>
                    </a:lnTo>
                    <a:lnTo>
                      <a:pt x="260" y="246"/>
                    </a:lnTo>
                    <a:lnTo>
                      <a:pt x="170" y="246"/>
                    </a:lnTo>
                    <a:lnTo>
                      <a:pt x="180" y="106"/>
                    </a:lnTo>
                    <a:lnTo>
                      <a:pt x="180" y="106"/>
                    </a:lnTo>
                    <a:lnTo>
                      <a:pt x="178" y="88"/>
                    </a:lnTo>
                    <a:lnTo>
                      <a:pt x="178" y="80"/>
                    </a:lnTo>
                    <a:lnTo>
                      <a:pt x="174" y="72"/>
                    </a:lnTo>
                    <a:lnTo>
                      <a:pt x="170" y="66"/>
                    </a:lnTo>
                    <a:lnTo>
                      <a:pt x="164" y="62"/>
                    </a:lnTo>
                    <a:lnTo>
                      <a:pt x="15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32" y="60"/>
                    </a:lnTo>
                    <a:lnTo>
                      <a:pt x="122" y="66"/>
                    </a:lnTo>
                    <a:lnTo>
                      <a:pt x="114" y="72"/>
                    </a:lnTo>
                    <a:lnTo>
                      <a:pt x="108" y="82"/>
                    </a:lnTo>
                    <a:lnTo>
                      <a:pt x="104" y="92"/>
                    </a:lnTo>
                    <a:lnTo>
                      <a:pt x="104" y="100"/>
                    </a:lnTo>
                    <a:lnTo>
                      <a:pt x="102" y="110"/>
                    </a:lnTo>
                    <a:lnTo>
                      <a:pt x="94" y="246"/>
                    </a:lnTo>
                    <a:lnTo>
                      <a:pt x="0" y="246"/>
                    </a:lnTo>
                    <a:lnTo>
                      <a:pt x="16" y="8"/>
                    </a:lnTo>
                    <a:lnTo>
                      <a:pt x="106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20"/>
              <p:cNvSpPr>
                <a:spLocks/>
              </p:cNvSpPr>
              <p:nvPr/>
            </p:nvSpPr>
            <p:spPr bwMode="auto">
              <a:xfrm>
                <a:off x="4064000" y="517525"/>
                <a:ext cx="454025" cy="558800"/>
              </a:xfrm>
              <a:custGeom>
                <a:avLst/>
                <a:gdLst>
                  <a:gd name="T0" fmla="*/ 116 w 286"/>
                  <a:gd name="T1" fmla="*/ 352 h 352"/>
                  <a:gd name="T2" fmla="*/ 34 w 286"/>
                  <a:gd name="T3" fmla="*/ 352 h 352"/>
                  <a:gd name="T4" fmla="*/ 86 w 286"/>
                  <a:gd name="T5" fmla="*/ 242 h 352"/>
                  <a:gd name="T6" fmla="*/ 0 w 286"/>
                  <a:gd name="T7" fmla="*/ 0 h 352"/>
                  <a:gd name="T8" fmla="*/ 100 w 286"/>
                  <a:gd name="T9" fmla="*/ 0 h 352"/>
                  <a:gd name="T10" fmla="*/ 140 w 286"/>
                  <a:gd name="T11" fmla="*/ 148 h 352"/>
                  <a:gd name="T12" fmla="*/ 202 w 286"/>
                  <a:gd name="T13" fmla="*/ 0 h 352"/>
                  <a:gd name="T14" fmla="*/ 286 w 286"/>
                  <a:gd name="T15" fmla="*/ 0 h 352"/>
                  <a:gd name="T16" fmla="*/ 116 w 286"/>
                  <a:gd name="T17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6" h="352">
                    <a:moveTo>
                      <a:pt x="116" y="352"/>
                    </a:moveTo>
                    <a:lnTo>
                      <a:pt x="34" y="352"/>
                    </a:lnTo>
                    <a:lnTo>
                      <a:pt x="86" y="242"/>
                    </a:lnTo>
                    <a:lnTo>
                      <a:pt x="0" y="0"/>
                    </a:lnTo>
                    <a:lnTo>
                      <a:pt x="100" y="0"/>
                    </a:lnTo>
                    <a:lnTo>
                      <a:pt x="140" y="148"/>
                    </a:lnTo>
                    <a:lnTo>
                      <a:pt x="202" y="0"/>
                    </a:lnTo>
                    <a:lnTo>
                      <a:pt x="286" y="0"/>
                    </a:lnTo>
                    <a:lnTo>
                      <a:pt x="116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21"/>
              <p:cNvSpPr>
                <a:spLocks/>
              </p:cNvSpPr>
              <p:nvPr/>
            </p:nvSpPr>
            <p:spPr bwMode="auto">
              <a:xfrm>
                <a:off x="4473575" y="593725"/>
                <a:ext cx="241300" cy="117475"/>
              </a:xfrm>
              <a:custGeom>
                <a:avLst/>
                <a:gdLst>
                  <a:gd name="T0" fmla="*/ 36 w 152"/>
                  <a:gd name="T1" fmla="*/ 0 h 74"/>
                  <a:gd name="T2" fmla="*/ 152 w 152"/>
                  <a:gd name="T3" fmla="*/ 0 h 74"/>
                  <a:gd name="T4" fmla="*/ 114 w 152"/>
                  <a:gd name="T5" fmla="*/ 74 h 74"/>
                  <a:gd name="T6" fmla="*/ 0 w 152"/>
                  <a:gd name="T7" fmla="*/ 74 h 74"/>
                  <a:gd name="T8" fmla="*/ 36 w 152"/>
                  <a:gd name="T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74">
                    <a:moveTo>
                      <a:pt x="36" y="0"/>
                    </a:moveTo>
                    <a:lnTo>
                      <a:pt x="152" y="0"/>
                    </a:lnTo>
                    <a:lnTo>
                      <a:pt x="114" y="74"/>
                    </a:lnTo>
                    <a:lnTo>
                      <a:pt x="0" y="7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" name="Freeform 22"/>
              <p:cNvSpPr>
                <a:spLocks/>
              </p:cNvSpPr>
              <p:nvPr/>
            </p:nvSpPr>
            <p:spPr bwMode="auto">
              <a:xfrm>
                <a:off x="4721225" y="339725"/>
                <a:ext cx="504825" cy="558800"/>
              </a:xfrm>
              <a:custGeom>
                <a:avLst/>
                <a:gdLst>
                  <a:gd name="T0" fmla="*/ 180 w 318"/>
                  <a:gd name="T1" fmla="*/ 0 h 352"/>
                  <a:gd name="T2" fmla="*/ 232 w 318"/>
                  <a:gd name="T3" fmla="*/ 6 h 352"/>
                  <a:gd name="T4" fmla="*/ 266 w 318"/>
                  <a:gd name="T5" fmla="*/ 20 h 352"/>
                  <a:gd name="T6" fmla="*/ 286 w 318"/>
                  <a:gd name="T7" fmla="*/ 32 h 352"/>
                  <a:gd name="T8" fmla="*/ 302 w 318"/>
                  <a:gd name="T9" fmla="*/ 50 h 352"/>
                  <a:gd name="T10" fmla="*/ 312 w 318"/>
                  <a:gd name="T11" fmla="*/ 74 h 352"/>
                  <a:gd name="T12" fmla="*/ 318 w 318"/>
                  <a:gd name="T13" fmla="*/ 100 h 352"/>
                  <a:gd name="T14" fmla="*/ 222 w 318"/>
                  <a:gd name="T15" fmla="*/ 116 h 352"/>
                  <a:gd name="T16" fmla="*/ 222 w 318"/>
                  <a:gd name="T17" fmla="*/ 108 h 352"/>
                  <a:gd name="T18" fmla="*/ 216 w 318"/>
                  <a:gd name="T19" fmla="*/ 90 h 352"/>
                  <a:gd name="T20" fmla="*/ 204 w 318"/>
                  <a:gd name="T21" fmla="*/ 76 h 352"/>
                  <a:gd name="T22" fmla="*/ 188 w 318"/>
                  <a:gd name="T23" fmla="*/ 68 h 352"/>
                  <a:gd name="T24" fmla="*/ 176 w 318"/>
                  <a:gd name="T25" fmla="*/ 68 h 352"/>
                  <a:gd name="T26" fmla="*/ 150 w 318"/>
                  <a:gd name="T27" fmla="*/ 72 h 352"/>
                  <a:gd name="T28" fmla="*/ 128 w 318"/>
                  <a:gd name="T29" fmla="*/ 88 h 352"/>
                  <a:gd name="T30" fmla="*/ 108 w 318"/>
                  <a:gd name="T31" fmla="*/ 118 h 352"/>
                  <a:gd name="T32" fmla="*/ 98 w 318"/>
                  <a:gd name="T33" fmla="*/ 162 h 352"/>
                  <a:gd name="T34" fmla="*/ 96 w 318"/>
                  <a:gd name="T35" fmla="*/ 188 h 352"/>
                  <a:gd name="T36" fmla="*/ 98 w 318"/>
                  <a:gd name="T37" fmla="*/ 234 h 352"/>
                  <a:gd name="T38" fmla="*/ 112 w 318"/>
                  <a:gd name="T39" fmla="*/ 266 h 352"/>
                  <a:gd name="T40" fmla="*/ 122 w 318"/>
                  <a:gd name="T41" fmla="*/ 278 h 352"/>
                  <a:gd name="T42" fmla="*/ 138 w 318"/>
                  <a:gd name="T43" fmla="*/ 284 h 352"/>
                  <a:gd name="T44" fmla="*/ 158 w 318"/>
                  <a:gd name="T45" fmla="*/ 288 h 352"/>
                  <a:gd name="T46" fmla="*/ 174 w 318"/>
                  <a:gd name="T47" fmla="*/ 286 h 352"/>
                  <a:gd name="T48" fmla="*/ 198 w 318"/>
                  <a:gd name="T49" fmla="*/ 274 h 352"/>
                  <a:gd name="T50" fmla="*/ 212 w 318"/>
                  <a:gd name="T51" fmla="*/ 256 h 352"/>
                  <a:gd name="T52" fmla="*/ 218 w 318"/>
                  <a:gd name="T53" fmla="*/ 236 h 352"/>
                  <a:gd name="T54" fmla="*/ 314 w 318"/>
                  <a:gd name="T55" fmla="*/ 236 h 352"/>
                  <a:gd name="T56" fmla="*/ 306 w 318"/>
                  <a:gd name="T57" fmla="*/ 270 h 352"/>
                  <a:gd name="T58" fmla="*/ 290 w 318"/>
                  <a:gd name="T59" fmla="*/ 300 h 352"/>
                  <a:gd name="T60" fmla="*/ 272 w 318"/>
                  <a:gd name="T61" fmla="*/ 318 h 352"/>
                  <a:gd name="T62" fmla="*/ 248 w 318"/>
                  <a:gd name="T63" fmla="*/ 334 h 352"/>
                  <a:gd name="T64" fmla="*/ 216 w 318"/>
                  <a:gd name="T65" fmla="*/ 346 h 352"/>
                  <a:gd name="T66" fmla="*/ 176 w 318"/>
                  <a:gd name="T67" fmla="*/ 352 h 352"/>
                  <a:gd name="T68" fmla="*/ 152 w 318"/>
                  <a:gd name="T69" fmla="*/ 352 h 352"/>
                  <a:gd name="T70" fmla="*/ 106 w 318"/>
                  <a:gd name="T71" fmla="*/ 348 h 352"/>
                  <a:gd name="T72" fmla="*/ 70 w 318"/>
                  <a:gd name="T73" fmla="*/ 336 h 352"/>
                  <a:gd name="T74" fmla="*/ 42 w 318"/>
                  <a:gd name="T75" fmla="*/ 316 h 352"/>
                  <a:gd name="T76" fmla="*/ 22 w 318"/>
                  <a:gd name="T77" fmla="*/ 292 h 352"/>
                  <a:gd name="T78" fmla="*/ 8 w 318"/>
                  <a:gd name="T79" fmla="*/ 262 h 352"/>
                  <a:gd name="T80" fmla="*/ 2 w 318"/>
                  <a:gd name="T81" fmla="*/ 230 h 352"/>
                  <a:gd name="T82" fmla="*/ 0 w 318"/>
                  <a:gd name="T83" fmla="*/ 194 h 352"/>
                  <a:gd name="T84" fmla="*/ 2 w 318"/>
                  <a:gd name="T85" fmla="*/ 160 h 352"/>
                  <a:gd name="T86" fmla="*/ 18 w 318"/>
                  <a:gd name="T87" fmla="*/ 102 h 352"/>
                  <a:gd name="T88" fmla="*/ 32 w 318"/>
                  <a:gd name="T89" fmla="*/ 74 h 352"/>
                  <a:gd name="T90" fmla="*/ 52 w 318"/>
                  <a:gd name="T91" fmla="*/ 50 h 352"/>
                  <a:gd name="T92" fmla="*/ 76 w 318"/>
                  <a:gd name="T93" fmla="*/ 30 h 352"/>
                  <a:gd name="T94" fmla="*/ 106 w 318"/>
                  <a:gd name="T95" fmla="*/ 14 h 352"/>
                  <a:gd name="T96" fmla="*/ 140 w 318"/>
                  <a:gd name="T97" fmla="*/ 4 h 352"/>
                  <a:gd name="T98" fmla="*/ 180 w 318"/>
                  <a:gd name="T99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18" h="352">
                    <a:moveTo>
                      <a:pt x="180" y="0"/>
                    </a:moveTo>
                    <a:lnTo>
                      <a:pt x="180" y="0"/>
                    </a:lnTo>
                    <a:lnTo>
                      <a:pt x="206" y="0"/>
                    </a:lnTo>
                    <a:lnTo>
                      <a:pt x="232" y="6"/>
                    </a:lnTo>
                    <a:lnTo>
                      <a:pt x="256" y="14"/>
                    </a:lnTo>
                    <a:lnTo>
                      <a:pt x="266" y="20"/>
                    </a:lnTo>
                    <a:lnTo>
                      <a:pt x="276" y="26"/>
                    </a:lnTo>
                    <a:lnTo>
                      <a:pt x="286" y="32"/>
                    </a:lnTo>
                    <a:lnTo>
                      <a:pt x="294" y="42"/>
                    </a:lnTo>
                    <a:lnTo>
                      <a:pt x="302" y="50"/>
                    </a:lnTo>
                    <a:lnTo>
                      <a:pt x="308" y="62"/>
                    </a:lnTo>
                    <a:lnTo>
                      <a:pt x="312" y="74"/>
                    </a:lnTo>
                    <a:lnTo>
                      <a:pt x="316" y="86"/>
                    </a:lnTo>
                    <a:lnTo>
                      <a:pt x="318" y="100"/>
                    </a:lnTo>
                    <a:lnTo>
                      <a:pt x="318" y="116"/>
                    </a:lnTo>
                    <a:lnTo>
                      <a:pt x="222" y="116"/>
                    </a:lnTo>
                    <a:lnTo>
                      <a:pt x="222" y="116"/>
                    </a:lnTo>
                    <a:lnTo>
                      <a:pt x="222" y="108"/>
                    </a:lnTo>
                    <a:lnTo>
                      <a:pt x="220" y="98"/>
                    </a:lnTo>
                    <a:lnTo>
                      <a:pt x="216" y="90"/>
                    </a:lnTo>
                    <a:lnTo>
                      <a:pt x="212" y="84"/>
                    </a:lnTo>
                    <a:lnTo>
                      <a:pt x="204" y="76"/>
                    </a:lnTo>
                    <a:lnTo>
                      <a:pt x="198" y="72"/>
                    </a:lnTo>
                    <a:lnTo>
                      <a:pt x="188" y="68"/>
                    </a:lnTo>
                    <a:lnTo>
                      <a:pt x="176" y="68"/>
                    </a:lnTo>
                    <a:lnTo>
                      <a:pt x="176" y="68"/>
                    </a:lnTo>
                    <a:lnTo>
                      <a:pt x="164" y="68"/>
                    </a:lnTo>
                    <a:lnTo>
                      <a:pt x="150" y="72"/>
                    </a:lnTo>
                    <a:lnTo>
                      <a:pt x="138" y="80"/>
                    </a:lnTo>
                    <a:lnTo>
                      <a:pt x="128" y="88"/>
                    </a:lnTo>
                    <a:lnTo>
                      <a:pt x="118" y="102"/>
                    </a:lnTo>
                    <a:lnTo>
                      <a:pt x="108" y="118"/>
                    </a:lnTo>
                    <a:lnTo>
                      <a:pt x="102" y="138"/>
                    </a:lnTo>
                    <a:lnTo>
                      <a:pt x="98" y="162"/>
                    </a:lnTo>
                    <a:lnTo>
                      <a:pt x="98" y="162"/>
                    </a:lnTo>
                    <a:lnTo>
                      <a:pt x="96" y="188"/>
                    </a:lnTo>
                    <a:lnTo>
                      <a:pt x="96" y="212"/>
                    </a:lnTo>
                    <a:lnTo>
                      <a:pt x="98" y="234"/>
                    </a:lnTo>
                    <a:lnTo>
                      <a:pt x="104" y="252"/>
                    </a:lnTo>
                    <a:lnTo>
                      <a:pt x="112" y="266"/>
                    </a:lnTo>
                    <a:lnTo>
                      <a:pt x="116" y="272"/>
                    </a:lnTo>
                    <a:lnTo>
                      <a:pt x="122" y="278"/>
                    </a:lnTo>
                    <a:lnTo>
                      <a:pt x="130" y="282"/>
                    </a:lnTo>
                    <a:lnTo>
                      <a:pt x="138" y="284"/>
                    </a:lnTo>
                    <a:lnTo>
                      <a:pt x="148" y="286"/>
                    </a:lnTo>
                    <a:lnTo>
                      <a:pt x="158" y="288"/>
                    </a:lnTo>
                    <a:lnTo>
                      <a:pt x="158" y="288"/>
                    </a:lnTo>
                    <a:lnTo>
                      <a:pt x="174" y="286"/>
                    </a:lnTo>
                    <a:lnTo>
                      <a:pt x="188" y="280"/>
                    </a:lnTo>
                    <a:lnTo>
                      <a:pt x="198" y="274"/>
                    </a:lnTo>
                    <a:lnTo>
                      <a:pt x="206" y="264"/>
                    </a:lnTo>
                    <a:lnTo>
                      <a:pt x="212" y="256"/>
                    </a:lnTo>
                    <a:lnTo>
                      <a:pt x="214" y="248"/>
                    </a:lnTo>
                    <a:lnTo>
                      <a:pt x="218" y="236"/>
                    </a:lnTo>
                    <a:lnTo>
                      <a:pt x="314" y="236"/>
                    </a:lnTo>
                    <a:lnTo>
                      <a:pt x="314" y="236"/>
                    </a:lnTo>
                    <a:lnTo>
                      <a:pt x="312" y="252"/>
                    </a:lnTo>
                    <a:lnTo>
                      <a:pt x="306" y="270"/>
                    </a:lnTo>
                    <a:lnTo>
                      <a:pt x="296" y="290"/>
                    </a:lnTo>
                    <a:lnTo>
                      <a:pt x="290" y="300"/>
                    </a:lnTo>
                    <a:lnTo>
                      <a:pt x="282" y="308"/>
                    </a:lnTo>
                    <a:lnTo>
                      <a:pt x="272" y="318"/>
                    </a:lnTo>
                    <a:lnTo>
                      <a:pt x="260" y="326"/>
                    </a:lnTo>
                    <a:lnTo>
                      <a:pt x="248" y="334"/>
                    </a:lnTo>
                    <a:lnTo>
                      <a:pt x="232" y="340"/>
                    </a:lnTo>
                    <a:lnTo>
                      <a:pt x="216" y="346"/>
                    </a:lnTo>
                    <a:lnTo>
                      <a:pt x="196" y="350"/>
                    </a:lnTo>
                    <a:lnTo>
                      <a:pt x="176" y="352"/>
                    </a:lnTo>
                    <a:lnTo>
                      <a:pt x="152" y="352"/>
                    </a:lnTo>
                    <a:lnTo>
                      <a:pt x="152" y="352"/>
                    </a:lnTo>
                    <a:lnTo>
                      <a:pt x="128" y="352"/>
                    </a:lnTo>
                    <a:lnTo>
                      <a:pt x="106" y="348"/>
                    </a:lnTo>
                    <a:lnTo>
                      <a:pt x="86" y="342"/>
                    </a:lnTo>
                    <a:lnTo>
                      <a:pt x="70" y="336"/>
                    </a:lnTo>
                    <a:lnTo>
                      <a:pt x="54" y="326"/>
                    </a:lnTo>
                    <a:lnTo>
                      <a:pt x="42" y="316"/>
                    </a:lnTo>
                    <a:lnTo>
                      <a:pt x="30" y="304"/>
                    </a:lnTo>
                    <a:lnTo>
                      <a:pt x="22" y="292"/>
                    </a:lnTo>
                    <a:lnTo>
                      <a:pt x="14" y="276"/>
                    </a:lnTo>
                    <a:lnTo>
                      <a:pt x="8" y="262"/>
                    </a:lnTo>
                    <a:lnTo>
                      <a:pt x="4" y="246"/>
                    </a:lnTo>
                    <a:lnTo>
                      <a:pt x="2" y="230"/>
                    </a:lnTo>
                    <a:lnTo>
                      <a:pt x="0" y="212"/>
                    </a:lnTo>
                    <a:lnTo>
                      <a:pt x="0" y="194"/>
                    </a:lnTo>
                    <a:lnTo>
                      <a:pt x="2" y="160"/>
                    </a:lnTo>
                    <a:lnTo>
                      <a:pt x="2" y="160"/>
                    </a:lnTo>
                    <a:lnTo>
                      <a:pt x="8" y="130"/>
                    </a:lnTo>
                    <a:lnTo>
                      <a:pt x="18" y="102"/>
                    </a:lnTo>
                    <a:lnTo>
                      <a:pt x="24" y="88"/>
                    </a:lnTo>
                    <a:lnTo>
                      <a:pt x="32" y="74"/>
                    </a:lnTo>
                    <a:lnTo>
                      <a:pt x="42" y="62"/>
                    </a:lnTo>
                    <a:lnTo>
                      <a:pt x="52" y="50"/>
                    </a:lnTo>
                    <a:lnTo>
                      <a:pt x="64" y="40"/>
                    </a:lnTo>
                    <a:lnTo>
                      <a:pt x="76" y="30"/>
                    </a:lnTo>
                    <a:lnTo>
                      <a:pt x="90" y="20"/>
                    </a:lnTo>
                    <a:lnTo>
                      <a:pt x="106" y="14"/>
                    </a:lnTo>
                    <a:lnTo>
                      <a:pt x="122" y="8"/>
                    </a:lnTo>
                    <a:lnTo>
                      <a:pt x="140" y="4"/>
                    </a:lnTo>
                    <a:lnTo>
                      <a:pt x="160" y="0"/>
                    </a:lnTo>
                    <a:lnTo>
                      <a:pt x="180" y="0"/>
                    </a:lnTo>
                    <a:lnTo>
                      <a:pt x="18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23"/>
              <p:cNvSpPr>
                <a:spLocks/>
              </p:cNvSpPr>
              <p:nvPr/>
            </p:nvSpPr>
            <p:spPr bwMode="auto">
              <a:xfrm>
                <a:off x="5229225" y="352425"/>
                <a:ext cx="177800" cy="542925"/>
              </a:xfrm>
              <a:custGeom>
                <a:avLst/>
                <a:gdLst>
                  <a:gd name="T0" fmla="*/ 0 w 112"/>
                  <a:gd name="T1" fmla="*/ 342 h 342"/>
                  <a:gd name="T2" fmla="*/ 24 w 112"/>
                  <a:gd name="T3" fmla="*/ 0 h 342"/>
                  <a:gd name="T4" fmla="*/ 112 w 112"/>
                  <a:gd name="T5" fmla="*/ 0 h 342"/>
                  <a:gd name="T6" fmla="*/ 88 w 112"/>
                  <a:gd name="T7" fmla="*/ 342 h 342"/>
                  <a:gd name="T8" fmla="*/ 0 w 112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2" y="0"/>
                    </a:lnTo>
                    <a:lnTo>
                      <a:pt x="88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Freeform 24"/>
              <p:cNvSpPr>
                <a:spLocks/>
              </p:cNvSpPr>
              <p:nvPr/>
            </p:nvSpPr>
            <p:spPr bwMode="auto">
              <a:xfrm>
                <a:off x="5803900" y="517525"/>
                <a:ext cx="295275" cy="377825"/>
              </a:xfrm>
              <a:custGeom>
                <a:avLst/>
                <a:gdLst>
                  <a:gd name="T0" fmla="*/ 106 w 186"/>
                  <a:gd name="T1" fmla="*/ 34 h 238"/>
                  <a:gd name="T2" fmla="*/ 106 w 186"/>
                  <a:gd name="T3" fmla="*/ 34 h 238"/>
                  <a:gd name="T4" fmla="*/ 106 w 186"/>
                  <a:gd name="T5" fmla="*/ 34 h 238"/>
                  <a:gd name="T6" fmla="*/ 116 w 186"/>
                  <a:gd name="T7" fmla="*/ 24 h 238"/>
                  <a:gd name="T8" fmla="*/ 124 w 186"/>
                  <a:gd name="T9" fmla="*/ 16 h 238"/>
                  <a:gd name="T10" fmla="*/ 134 w 186"/>
                  <a:gd name="T11" fmla="*/ 10 h 238"/>
                  <a:gd name="T12" fmla="*/ 144 w 186"/>
                  <a:gd name="T13" fmla="*/ 6 h 238"/>
                  <a:gd name="T14" fmla="*/ 154 w 186"/>
                  <a:gd name="T15" fmla="*/ 4 h 238"/>
                  <a:gd name="T16" fmla="*/ 164 w 186"/>
                  <a:gd name="T17" fmla="*/ 2 h 238"/>
                  <a:gd name="T18" fmla="*/ 186 w 186"/>
                  <a:gd name="T19" fmla="*/ 0 h 238"/>
                  <a:gd name="T20" fmla="*/ 180 w 186"/>
                  <a:gd name="T21" fmla="*/ 76 h 238"/>
                  <a:gd name="T22" fmla="*/ 180 w 186"/>
                  <a:gd name="T23" fmla="*/ 76 h 238"/>
                  <a:gd name="T24" fmla="*/ 162 w 186"/>
                  <a:gd name="T25" fmla="*/ 76 h 238"/>
                  <a:gd name="T26" fmla="*/ 162 w 186"/>
                  <a:gd name="T27" fmla="*/ 76 h 238"/>
                  <a:gd name="T28" fmla="*/ 142 w 186"/>
                  <a:gd name="T29" fmla="*/ 78 h 238"/>
                  <a:gd name="T30" fmla="*/ 126 w 186"/>
                  <a:gd name="T31" fmla="*/ 82 h 238"/>
                  <a:gd name="T32" fmla="*/ 116 w 186"/>
                  <a:gd name="T33" fmla="*/ 88 h 238"/>
                  <a:gd name="T34" fmla="*/ 108 w 186"/>
                  <a:gd name="T35" fmla="*/ 98 h 238"/>
                  <a:gd name="T36" fmla="*/ 104 w 186"/>
                  <a:gd name="T37" fmla="*/ 108 h 238"/>
                  <a:gd name="T38" fmla="*/ 100 w 186"/>
                  <a:gd name="T39" fmla="*/ 120 h 238"/>
                  <a:gd name="T40" fmla="*/ 98 w 186"/>
                  <a:gd name="T41" fmla="*/ 148 h 238"/>
                  <a:gd name="T42" fmla="*/ 92 w 186"/>
                  <a:gd name="T43" fmla="*/ 238 h 238"/>
                  <a:gd name="T44" fmla="*/ 0 w 186"/>
                  <a:gd name="T45" fmla="*/ 238 h 238"/>
                  <a:gd name="T46" fmla="*/ 14 w 186"/>
                  <a:gd name="T47" fmla="*/ 62 h 238"/>
                  <a:gd name="T48" fmla="*/ 14 w 186"/>
                  <a:gd name="T49" fmla="*/ 62 h 238"/>
                  <a:gd name="T50" fmla="*/ 14 w 186"/>
                  <a:gd name="T51" fmla="*/ 32 h 238"/>
                  <a:gd name="T52" fmla="*/ 14 w 186"/>
                  <a:gd name="T53" fmla="*/ 0 h 238"/>
                  <a:gd name="T54" fmla="*/ 102 w 186"/>
                  <a:gd name="T55" fmla="*/ 0 h 238"/>
                  <a:gd name="T56" fmla="*/ 106 w 186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6" h="238">
                    <a:moveTo>
                      <a:pt x="106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6" y="24"/>
                    </a:lnTo>
                    <a:lnTo>
                      <a:pt x="124" y="16"/>
                    </a:lnTo>
                    <a:lnTo>
                      <a:pt x="134" y="10"/>
                    </a:lnTo>
                    <a:lnTo>
                      <a:pt x="144" y="6"/>
                    </a:lnTo>
                    <a:lnTo>
                      <a:pt x="154" y="4"/>
                    </a:lnTo>
                    <a:lnTo>
                      <a:pt x="164" y="2"/>
                    </a:lnTo>
                    <a:lnTo>
                      <a:pt x="186" y="0"/>
                    </a:lnTo>
                    <a:lnTo>
                      <a:pt x="180" y="76"/>
                    </a:lnTo>
                    <a:lnTo>
                      <a:pt x="180" y="76"/>
                    </a:lnTo>
                    <a:lnTo>
                      <a:pt x="162" y="76"/>
                    </a:lnTo>
                    <a:lnTo>
                      <a:pt x="162" y="76"/>
                    </a:lnTo>
                    <a:lnTo>
                      <a:pt x="142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4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6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31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53074" y="553073"/>
            <a:ext cx="3571665" cy="316888"/>
          </a:xfrm>
        </p:spPr>
        <p:txBody>
          <a:bodyPr>
            <a:noAutofit/>
          </a:bodyPr>
          <a:lstStyle>
            <a:lvl1pPr marL="0" indent="0">
              <a:buNone/>
              <a:defRPr sz="1400" b="0" u="none">
                <a:solidFill>
                  <a:schemeClr val="bg1"/>
                </a:solidFill>
              </a:defRPr>
            </a:lvl1pPr>
            <a:lvl2pPr marL="457200" indent="0">
              <a:buNone/>
              <a:defRPr b="0" u="none"/>
            </a:lvl2pPr>
            <a:lvl3pPr marL="914400" indent="0">
              <a:buNone/>
              <a:defRPr b="0" u="none"/>
            </a:lvl3pPr>
            <a:lvl4pPr marL="1371600" indent="0">
              <a:buNone/>
              <a:defRPr b="0" u="none"/>
            </a:lvl4pPr>
            <a:lvl5pPr marL="1828800" indent="0">
              <a:buNone/>
              <a:defRPr b="0" u="none"/>
            </a:lvl5pPr>
          </a:lstStyle>
          <a:p>
            <a:pPr lvl="0"/>
            <a:r>
              <a:rPr lang="en-US"/>
              <a:t>BU/Function/Region</a:t>
            </a:r>
          </a:p>
        </p:txBody>
      </p:sp>
    </p:spTree>
    <p:extLst>
      <p:ext uri="{BB962C8B-B14F-4D97-AF65-F5344CB8AC3E}">
        <p14:creationId xmlns:p14="http://schemas.microsoft.com/office/powerpoint/2010/main" val="295380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2"/>
            <a:ext cx="12195050" cy="685628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2399" y="2336800"/>
            <a:ext cx="5788152" cy="2091087"/>
          </a:xfrm>
        </p:spPr>
        <p:txBody>
          <a:bodyPr anchor="ctr">
            <a:normAutofit/>
          </a:bodyPr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2399" y="4427887"/>
            <a:ext cx="5789202" cy="1285515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3E7FBFD-78E1-42FB-85FC-D9CE5E3DEFA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70622" y="276225"/>
            <a:ext cx="2165537" cy="271230"/>
            <a:chOff x="158750" y="276225"/>
            <a:chExt cx="6388100" cy="800100"/>
          </a:xfrm>
          <a:solidFill>
            <a:schemeClr val="accent1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158750" y="276225"/>
              <a:ext cx="857250" cy="736600"/>
            </a:xfrm>
            <a:custGeom>
              <a:avLst/>
              <a:gdLst>
                <a:gd name="T0" fmla="*/ 298 w 540"/>
                <a:gd name="T1" fmla="*/ 0 h 464"/>
                <a:gd name="T2" fmla="*/ 374 w 540"/>
                <a:gd name="T3" fmla="*/ 18 h 464"/>
                <a:gd name="T4" fmla="*/ 442 w 540"/>
                <a:gd name="T5" fmla="*/ 52 h 464"/>
                <a:gd name="T6" fmla="*/ 494 w 540"/>
                <a:gd name="T7" fmla="*/ 102 h 464"/>
                <a:gd name="T8" fmla="*/ 528 w 540"/>
                <a:gd name="T9" fmla="*/ 162 h 464"/>
                <a:gd name="T10" fmla="*/ 540 w 540"/>
                <a:gd name="T11" fmla="*/ 232 h 464"/>
                <a:gd name="T12" fmla="*/ 534 w 540"/>
                <a:gd name="T13" fmla="*/ 278 h 464"/>
                <a:gd name="T14" fmla="*/ 506 w 540"/>
                <a:gd name="T15" fmla="*/ 342 h 464"/>
                <a:gd name="T16" fmla="*/ 460 w 540"/>
                <a:gd name="T17" fmla="*/ 396 h 464"/>
                <a:gd name="T18" fmla="*/ 398 w 540"/>
                <a:gd name="T19" fmla="*/ 436 h 464"/>
                <a:gd name="T20" fmla="*/ 324 w 540"/>
                <a:gd name="T21" fmla="*/ 460 h 464"/>
                <a:gd name="T22" fmla="*/ 270 w 540"/>
                <a:gd name="T23" fmla="*/ 464 h 464"/>
                <a:gd name="T24" fmla="*/ 190 w 540"/>
                <a:gd name="T25" fmla="*/ 454 h 464"/>
                <a:gd name="T26" fmla="*/ 118 w 540"/>
                <a:gd name="T27" fmla="*/ 424 h 464"/>
                <a:gd name="T28" fmla="*/ 62 w 540"/>
                <a:gd name="T29" fmla="*/ 380 h 464"/>
                <a:gd name="T30" fmla="*/ 20 w 540"/>
                <a:gd name="T31" fmla="*/ 322 h 464"/>
                <a:gd name="T32" fmla="*/ 2 w 540"/>
                <a:gd name="T33" fmla="*/ 256 h 464"/>
                <a:gd name="T34" fmla="*/ 2 w 540"/>
                <a:gd name="T35" fmla="*/ 208 h 464"/>
                <a:gd name="T36" fmla="*/ 20 w 540"/>
                <a:gd name="T37" fmla="*/ 142 h 464"/>
                <a:gd name="T38" fmla="*/ 62 w 540"/>
                <a:gd name="T39" fmla="*/ 84 h 464"/>
                <a:gd name="T40" fmla="*/ 118 w 540"/>
                <a:gd name="T41" fmla="*/ 40 h 464"/>
                <a:gd name="T42" fmla="*/ 190 w 540"/>
                <a:gd name="T43" fmla="*/ 10 h 464"/>
                <a:gd name="T44" fmla="*/ 270 w 540"/>
                <a:gd name="T45" fmla="*/ 0 h 464"/>
                <a:gd name="T46" fmla="*/ 270 w 540"/>
                <a:gd name="T47" fmla="*/ 232 h 464"/>
                <a:gd name="T48" fmla="*/ 220 w 540"/>
                <a:gd name="T49" fmla="*/ 196 h 464"/>
                <a:gd name="T50" fmla="*/ 208 w 540"/>
                <a:gd name="T51" fmla="*/ 176 h 464"/>
                <a:gd name="T52" fmla="*/ 156 w 540"/>
                <a:gd name="T53" fmla="*/ 130 h 464"/>
                <a:gd name="T54" fmla="*/ 76 w 540"/>
                <a:gd name="T55" fmla="*/ 152 h 464"/>
                <a:gd name="T56" fmla="*/ 130 w 540"/>
                <a:gd name="T57" fmla="*/ 204 h 464"/>
                <a:gd name="T58" fmla="*/ 138 w 540"/>
                <a:gd name="T59" fmla="*/ 230 h 464"/>
                <a:gd name="T60" fmla="*/ 132 w 540"/>
                <a:gd name="T61" fmla="*/ 244 h 464"/>
                <a:gd name="T62" fmla="*/ 108 w 540"/>
                <a:gd name="T63" fmla="*/ 250 h 464"/>
                <a:gd name="T64" fmla="*/ 38 w 540"/>
                <a:gd name="T65" fmla="*/ 330 h 464"/>
                <a:gd name="T66" fmla="*/ 146 w 540"/>
                <a:gd name="T67" fmla="*/ 330 h 464"/>
                <a:gd name="T68" fmla="*/ 186 w 540"/>
                <a:gd name="T69" fmla="*/ 320 h 464"/>
                <a:gd name="T70" fmla="*/ 214 w 540"/>
                <a:gd name="T71" fmla="*/ 296 h 464"/>
                <a:gd name="T72" fmla="*/ 320 w 540"/>
                <a:gd name="T73" fmla="*/ 390 h 464"/>
                <a:gd name="T74" fmla="*/ 326 w 540"/>
                <a:gd name="T75" fmla="*/ 296 h 464"/>
                <a:gd name="T76" fmla="*/ 352 w 540"/>
                <a:gd name="T77" fmla="*/ 320 h 464"/>
                <a:gd name="T78" fmla="*/ 392 w 540"/>
                <a:gd name="T79" fmla="*/ 330 h 464"/>
                <a:gd name="T80" fmla="*/ 500 w 540"/>
                <a:gd name="T81" fmla="*/ 250 h 464"/>
                <a:gd name="T82" fmla="*/ 432 w 540"/>
                <a:gd name="T83" fmla="*/ 250 h 464"/>
                <a:gd name="T84" fmla="*/ 408 w 540"/>
                <a:gd name="T85" fmla="*/ 244 h 464"/>
                <a:gd name="T86" fmla="*/ 400 w 540"/>
                <a:gd name="T87" fmla="*/ 230 h 464"/>
                <a:gd name="T88" fmla="*/ 410 w 540"/>
                <a:gd name="T89" fmla="*/ 204 h 464"/>
                <a:gd name="T90" fmla="*/ 462 w 540"/>
                <a:gd name="T91" fmla="*/ 152 h 464"/>
                <a:gd name="T92" fmla="*/ 382 w 540"/>
                <a:gd name="T93" fmla="*/ 130 h 464"/>
                <a:gd name="T94" fmla="*/ 330 w 540"/>
                <a:gd name="T95" fmla="*/ 176 h 464"/>
                <a:gd name="T96" fmla="*/ 320 w 540"/>
                <a:gd name="T97" fmla="*/ 19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40" h="464">
                  <a:moveTo>
                    <a:pt x="270" y="0"/>
                  </a:moveTo>
                  <a:lnTo>
                    <a:pt x="270" y="0"/>
                  </a:lnTo>
                  <a:lnTo>
                    <a:pt x="298" y="0"/>
                  </a:lnTo>
                  <a:lnTo>
                    <a:pt x="324" y="4"/>
                  </a:lnTo>
                  <a:lnTo>
                    <a:pt x="350" y="10"/>
                  </a:lnTo>
                  <a:lnTo>
                    <a:pt x="374" y="18"/>
                  </a:lnTo>
                  <a:lnTo>
                    <a:pt x="398" y="28"/>
                  </a:lnTo>
                  <a:lnTo>
                    <a:pt x="420" y="40"/>
                  </a:lnTo>
                  <a:lnTo>
                    <a:pt x="442" y="52"/>
                  </a:lnTo>
                  <a:lnTo>
                    <a:pt x="460" y="68"/>
                  </a:lnTo>
                  <a:lnTo>
                    <a:pt x="478" y="84"/>
                  </a:lnTo>
                  <a:lnTo>
                    <a:pt x="494" y="102"/>
                  </a:lnTo>
                  <a:lnTo>
                    <a:pt x="506" y="122"/>
                  </a:lnTo>
                  <a:lnTo>
                    <a:pt x="518" y="142"/>
                  </a:lnTo>
                  <a:lnTo>
                    <a:pt x="528" y="162"/>
                  </a:lnTo>
                  <a:lnTo>
                    <a:pt x="534" y="184"/>
                  </a:lnTo>
                  <a:lnTo>
                    <a:pt x="538" y="208"/>
                  </a:lnTo>
                  <a:lnTo>
                    <a:pt x="540" y="232"/>
                  </a:lnTo>
                  <a:lnTo>
                    <a:pt x="540" y="232"/>
                  </a:lnTo>
                  <a:lnTo>
                    <a:pt x="538" y="256"/>
                  </a:lnTo>
                  <a:lnTo>
                    <a:pt x="534" y="278"/>
                  </a:lnTo>
                  <a:lnTo>
                    <a:pt x="528" y="300"/>
                  </a:lnTo>
                  <a:lnTo>
                    <a:pt x="518" y="322"/>
                  </a:lnTo>
                  <a:lnTo>
                    <a:pt x="506" y="342"/>
                  </a:lnTo>
                  <a:lnTo>
                    <a:pt x="494" y="362"/>
                  </a:lnTo>
                  <a:lnTo>
                    <a:pt x="478" y="380"/>
                  </a:lnTo>
                  <a:lnTo>
                    <a:pt x="460" y="396"/>
                  </a:lnTo>
                  <a:lnTo>
                    <a:pt x="442" y="410"/>
                  </a:lnTo>
                  <a:lnTo>
                    <a:pt x="420" y="424"/>
                  </a:lnTo>
                  <a:lnTo>
                    <a:pt x="398" y="436"/>
                  </a:lnTo>
                  <a:lnTo>
                    <a:pt x="374" y="446"/>
                  </a:lnTo>
                  <a:lnTo>
                    <a:pt x="350" y="454"/>
                  </a:lnTo>
                  <a:lnTo>
                    <a:pt x="324" y="460"/>
                  </a:lnTo>
                  <a:lnTo>
                    <a:pt x="298" y="462"/>
                  </a:lnTo>
                  <a:lnTo>
                    <a:pt x="270" y="464"/>
                  </a:lnTo>
                  <a:lnTo>
                    <a:pt x="270" y="464"/>
                  </a:lnTo>
                  <a:lnTo>
                    <a:pt x="242" y="462"/>
                  </a:lnTo>
                  <a:lnTo>
                    <a:pt x="216" y="458"/>
                  </a:lnTo>
                  <a:lnTo>
                    <a:pt x="190" y="454"/>
                  </a:lnTo>
                  <a:lnTo>
                    <a:pt x="164" y="446"/>
                  </a:lnTo>
                  <a:lnTo>
                    <a:pt x="140" y="436"/>
                  </a:lnTo>
                  <a:lnTo>
                    <a:pt x="118" y="424"/>
                  </a:lnTo>
                  <a:lnTo>
                    <a:pt x="98" y="410"/>
                  </a:lnTo>
                  <a:lnTo>
                    <a:pt x="78" y="396"/>
                  </a:lnTo>
                  <a:lnTo>
                    <a:pt x="62" y="380"/>
                  </a:lnTo>
                  <a:lnTo>
                    <a:pt x="46" y="362"/>
                  </a:lnTo>
                  <a:lnTo>
                    <a:pt x="32" y="342"/>
                  </a:lnTo>
                  <a:lnTo>
                    <a:pt x="20" y="322"/>
                  </a:lnTo>
                  <a:lnTo>
                    <a:pt x="12" y="300"/>
                  </a:lnTo>
                  <a:lnTo>
                    <a:pt x="6" y="278"/>
                  </a:lnTo>
                  <a:lnTo>
                    <a:pt x="2" y="256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08"/>
                  </a:lnTo>
                  <a:lnTo>
                    <a:pt x="6" y="184"/>
                  </a:lnTo>
                  <a:lnTo>
                    <a:pt x="12" y="162"/>
                  </a:lnTo>
                  <a:lnTo>
                    <a:pt x="20" y="142"/>
                  </a:lnTo>
                  <a:lnTo>
                    <a:pt x="32" y="120"/>
                  </a:lnTo>
                  <a:lnTo>
                    <a:pt x="46" y="102"/>
                  </a:lnTo>
                  <a:lnTo>
                    <a:pt x="62" y="84"/>
                  </a:lnTo>
                  <a:lnTo>
                    <a:pt x="78" y="68"/>
                  </a:lnTo>
                  <a:lnTo>
                    <a:pt x="98" y="52"/>
                  </a:lnTo>
                  <a:lnTo>
                    <a:pt x="118" y="40"/>
                  </a:lnTo>
                  <a:lnTo>
                    <a:pt x="140" y="28"/>
                  </a:lnTo>
                  <a:lnTo>
                    <a:pt x="164" y="18"/>
                  </a:lnTo>
                  <a:lnTo>
                    <a:pt x="190" y="10"/>
                  </a:lnTo>
                  <a:lnTo>
                    <a:pt x="216" y="4"/>
                  </a:lnTo>
                  <a:lnTo>
                    <a:pt x="242" y="0"/>
                  </a:lnTo>
                  <a:lnTo>
                    <a:pt x="270" y="0"/>
                  </a:lnTo>
                  <a:lnTo>
                    <a:pt x="270" y="0"/>
                  </a:lnTo>
                  <a:close/>
                  <a:moveTo>
                    <a:pt x="270" y="232"/>
                  </a:moveTo>
                  <a:lnTo>
                    <a:pt x="270" y="232"/>
                  </a:lnTo>
                  <a:close/>
                  <a:moveTo>
                    <a:pt x="220" y="50"/>
                  </a:moveTo>
                  <a:lnTo>
                    <a:pt x="220" y="50"/>
                  </a:lnTo>
                  <a:lnTo>
                    <a:pt x="220" y="196"/>
                  </a:lnTo>
                  <a:lnTo>
                    <a:pt x="220" y="196"/>
                  </a:lnTo>
                  <a:lnTo>
                    <a:pt x="214" y="186"/>
                  </a:lnTo>
                  <a:lnTo>
                    <a:pt x="208" y="176"/>
                  </a:lnTo>
                  <a:lnTo>
                    <a:pt x="194" y="160"/>
                  </a:lnTo>
                  <a:lnTo>
                    <a:pt x="176" y="144"/>
                  </a:lnTo>
                  <a:lnTo>
                    <a:pt x="156" y="130"/>
                  </a:lnTo>
                  <a:lnTo>
                    <a:pt x="48" y="130"/>
                  </a:lnTo>
                  <a:lnTo>
                    <a:pt x="48" y="130"/>
                  </a:lnTo>
                  <a:lnTo>
                    <a:pt x="76" y="152"/>
                  </a:lnTo>
                  <a:lnTo>
                    <a:pt x="106" y="178"/>
                  </a:lnTo>
                  <a:lnTo>
                    <a:pt x="120" y="192"/>
                  </a:lnTo>
                  <a:lnTo>
                    <a:pt x="130" y="204"/>
                  </a:lnTo>
                  <a:lnTo>
                    <a:pt x="136" y="218"/>
                  </a:lnTo>
                  <a:lnTo>
                    <a:pt x="138" y="230"/>
                  </a:lnTo>
                  <a:lnTo>
                    <a:pt x="138" y="230"/>
                  </a:lnTo>
                  <a:lnTo>
                    <a:pt x="138" y="236"/>
                  </a:lnTo>
                  <a:lnTo>
                    <a:pt x="136" y="240"/>
                  </a:lnTo>
                  <a:lnTo>
                    <a:pt x="132" y="244"/>
                  </a:lnTo>
                  <a:lnTo>
                    <a:pt x="128" y="246"/>
                  </a:lnTo>
                  <a:lnTo>
                    <a:pt x="11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38" y="25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146" y="330"/>
                  </a:lnTo>
                  <a:lnTo>
                    <a:pt x="146" y="330"/>
                  </a:lnTo>
                  <a:lnTo>
                    <a:pt x="166" y="328"/>
                  </a:lnTo>
                  <a:lnTo>
                    <a:pt x="176" y="324"/>
                  </a:lnTo>
                  <a:lnTo>
                    <a:pt x="186" y="320"/>
                  </a:lnTo>
                  <a:lnTo>
                    <a:pt x="196" y="314"/>
                  </a:lnTo>
                  <a:lnTo>
                    <a:pt x="206" y="306"/>
                  </a:lnTo>
                  <a:lnTo>
                    <a:pt x="214" y="296"/>
                  </a:lnTo>
                  <a:lnTo>
                    <a:pt x="220" y="284"/>
                  </a:lnTo>
                  <a:lnTo>
                    <a:pt x="220" y="390"/>
                  </a:lnTo>
                  <a:lnTo>
                    <a:pt x="320" y="390"/>
                  </a:lnTo>
                  <a:lnTo>
                    <a:pt x="320" y="284"/>
                  </a:lnTo>
                  <a:lnTo>
                    <a:pt x="320" y="284"/>
                  </a:lnTo>
                  <a:lnTo>
                    <a:pt x="326" y="296"/>
                  </a:lnTo>
                  <a:lnTo>
                    <a:pt x="334" y="306"/>
                  </a:lnTo>
                  <a:lnTo>
                    <a:pt x="342" y="314"/>
                  </a:lnTo>
                  <a:lnTo>
                    <a:pt x="352" y="320"/>
                  </a:lnTo>
                  <a:lnTo>
                    <a:pt x="362" y="324"/>
                  </a:lnTo>
                  <a:lnTo>
                    <a:pt x="372" y="328"/>
                  </a:lnTo>
                  <a:lnTo>
                    <a:pt x="392" y="330"/>
                  </a:lnTo>
                  <a:lnTo>
                    <a:pt x="392" y="330"/>
                  </a:lnTo>
                  <a:lnTo>
                    <a:pt x="500" y="330"/>
                  </a:lnTo>
                  <a:lnTo>
                    <a:pt x="500" y="250"/>
                  </a:lnTo>
                  <a:lnTo>
                    <a:pt x="500" y="250"/>
                  </a:lnTo>
                  <a:lnTo>
                    <a:pt x="432" y="250"/>
                  </a:lnTo>
                  <a:lnTo>
                    <a:pt x="432" y="250"/>
                  </a:lnTo>
                  <a:lnTo>
                    <a:pt x="422" y="250"/>
                  </a:lnTo>
                  <a:lnTo>
                    <a:pt x="412" y="246"/>
                  </a:lnTo>
                  <a:lnTo>
                    <a:pt x="408" y="244"/>
                  </a:lnTo>
                  <a:lnTo>
                    <a:pt x="404" y="240"/>
                  </a:lnTo>
                  <a:lnTo>
                    <a:pt x="402" y="236"/>
                  </a:lnTo>
                  <a:lnTo>
                    <a:pt x="400" y="230"/>
                  </a:lnTo>
                  <a:lnTo>
                    <a:pt x="400" y="230"/>
                  </a:lnTo>
                  <a:lnTo>
                    <a:pt x="402" y="218"/>
                  </a:lnTo>
                  <a:lnTo>
                    <a:pt x="410" y="204"/>
                  </a:lnTo>
                  <a:lnTo>
                    <a:pt x="420" y="192"/>
                  </a:lnTo>
                  <a:lnTo>
                    <a:pt x="432" y="178"/>
                  </a:lnTo>
                  <a:lnTo>
                    <a:pt x="462" y="152"/>
                  </a:lnTo>
                  <a:lnTo>
                    <a:pt x="492" y="130"/>
                  </a:lnTo>
                  <a:lnTo>
                    <a:pt x="382" y="130"/>
                  </a:lnTo>
                  <a:lnTo>
                    <a:pt x="382" y="130"/>
                  </a:lnTo>
                  <a:lnTo>
                    <a:pt x="364" y="144"/>
                  </a:lnTo>
                  <a:lnTo>
                    <a:pt x="346" y="160"/>
                  </a:lnTo>
                  <a:lnTo>
                    <a:pt x="330" y="176"/>
                  </a:lnTo>
                  <a:lnTo>
                    <a:pt x="324" y="186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20" y="50"/>
                  </a:lnTo>
                  <a:lnTo>
                    <a:pt x="22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1314450" y="339725"/>
              <a:ext cx="5232400" cy="736600"/>
              <a:chOff x="1314450" y="339725"/>
              <a:chExt cx="5232400" cy="736600"/>
            </a:xfrm>
            <a:grpFill/>
          </p:grpSpPr>
          <p:sp>
            <p:nvSpPr>
              <p:cNvPr id="11" name="Freeform 9"/>
              <p:cNvSpPr>
                <a:spLocks/>
              </p:cNvSpPr>
              <p:nvPr/>
            </p:nvSpPr>
            <p:spPr bwMode="auto">
              <a:xfrm>
                <a:off x="1908175" y="352425"/>
                <a:ext cx="139700" cy="98425"/>
              </a:xfrm>
              <a:custGeom>
                <a:avLst/>
                <a:gdLst>
                  <a:gd name="T0" fmla="*/ 4 w 88"/>
                  <a:gd name="T1" fmla="*/ 0 h 62"/>
                  <a:gd name="T2" fmla="*/ 88 w 88"/>
                  <a:gd name="T3" fmla="*/ 0 h 62"/>
                  <a:gd name="T4" fmla="*/ 84 w 88"/>
                  <a:gd name="T5" fmla="*/ 62 h 62"/>
                  <a:gd name="T6" fmla="*/ 0 w 88"/>
                  <a:gd name="T7" fmla="*/ 62 h 62"/>
                  <a:gd name="T8" fmla="*/ 4 w 88"/>
                  <a:gd name="T9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" h="62">
                    <a:moveTo>
                      <a:pt x="4" y="0"/>
                    </a:moveTo>
                    <a:lnTo>
                      <a:pt x="88" y="0"/>
                    </a:lnTo>
                    <a:lnTo>
                      <a:pt x="84" y="62"/>
                    </a:lnTo>
                    <a:lnTo>
                      <a:pt x="0" y="6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10"/>
              <p:cNvSpPr>
                <a:spLocks noEditPoints="1"/>
              </p:cNvSpPr>
              <p:nvPr/>
            </p:nvSpPr>
            <p:spPr bwMode="auto">
              <a:xfrm>
                <a:off x="5397500" y="504825"/>
                <a:ext cx="393700" cy="393700"/>
              </a:xfrm>
              <a:custGeom>
                <a:avLst/>
                <a:gdLst>
                  <a:gd name="T0" fmla="*/ 152 w 248"/>
                  <a:gd name="T1" fmla="*/ 216 h 248"/>
                  <a:gd name="T2" fmla="*/ 138 w 248"/>
                  <a:gd name="T3" fmla="*/ 228 h 248"/>
                  <a:gd name="T4" fmla="*/ 112 w 248"/>
                  <a:gd name="T5" fmla="*/ 242 h 248"/>
                  <a:gd name="T6" fmla="*/ 92 w 248"/>
                  <a:gd name="T7" fmla="*/ 246 h 248"/>
                  <a:gd name="T8" fmla="*/ 80 w 248"/>
                  <a:gd name="T9" fmla="*/ 248 h 248"/>
                  <a:gd name="T10" fmla="*/ 44 w 248"/>
                  <a:gd name="T11" fmla="*/ 242 h 248"/>
                  <a:gd name="T12" fmla="*/ 18 w 248"/>
                  <a:gd name="T13" fmla="*/ 226 h 248"/>
                  <a:gd name="T14" fmla="*/ 4 w 248"/>
                  <a:gd name="T15" fmla="*/ 202 h 248"/>
                  <a:gd name="T16" fmla="*/ 0 w 248"/>
                  <a:gd name="T17" fmla="*/ 174 h 248"/>
                  <a:gd name="T18" fmla="*/ 2 w 248"/>
                  <a:gd name="T19" fmla="*/ 156 h 248"/>
                  <a:gd name="T20" fmla="*/ 20 w 248"/>
                  <a:gd name="T21" fmla="*/ 128 h 248"/>
                  <a:gd name="T22" fmla="*/ 54 w 248"/>
                  <a:gd name="T23" fmla="*/ 108 h 248"/>
                  <a:gd name="T24" fmla="*/ 104 w 248"/>
                  <a:gd name="T25" fmla="*/ 98 h 248"/>
                  <a:gd name="T26" fmla="*/ 162 w 248"/>
                  <a:gd name="T27" fmla="*/ 96 h 248"/>
                  <a:gd name="T28" fmla="*/ 164 w 248"/>
                  <a:gd name="T29" fmla="*/ 78 h 248"/>
                  <a:gd name="T30" fmla="*/ 162 w 248"/>
                  <a:gd name="T31" fmla="*/ 60 h 248"/>
                  <a:gd name="T32" fmla="*/ 154 w 248"/>
                  <a:gd name="T33" fmla="*/ 46 h 248"/>
                  <a:gd name="T34" fmla="*/ 136 w 248"/>
                  <a:gd name="T35" fmla="*/ 40 h 248"/>
                  <a:gd name="T36" fmla="*/ 126 w 248"/>
                  <a:gd name="T37" fmla="*/ 42 h 248"/>
                  <a:gd name="T38" fmla="*/ 114 w 248"/>
                  <a:gd name="T39" fmla="*/ 48 h 248"/>
                  <a:gd name="T40" fmla="*/ 106 w 248"/>
                  <a:gd name="T41" fmla="*/ 66 h 248"/>
                  <a:gd name="T42" fmla="*/ 22 w 248"/>
                  <a:gd name="T43" fmla="*/ 76 h 248"/>
                  <a:gd name="T44" fmla="*/ 24 w 248"/>
                  <a:gd name="T45" fmla="*/ 66 h 248"/>
                  <a:gd name="T46" fmla="*/ 28 w 248"/>
                  <a:gd name="T47" fmla="*/ 46 h 248"/>
                  <a:gd name="T48" fmla="*/ 38 w 248"/>
                  <a:gd name="T49" fmla="*/ 30 h 248"/>
                  <a:gd name="T50" fmla="*/ 54 w 248"/>
                  <a:gd name="T51" fmla="*/ 18 h 248"/>
                  <a:gd name="T52" fmla="*/ 62 w 248"/>
                  <a:gd name="T53" fmla="*/ 14 h 248"/>
                  <a:gd name="T54" fmla="*/ 102 w 248"/>
                  <a:gd name="T55" fmla="*/ 2 h 248"/>
                  <a:gd name="T56" fmla="*/ 144 w 248"/>
                  <a:gd name="T57" fmla="*/ 0 h 248"/>
                  <a:gd name="T58" fmla="*/ 164 w 248"/>
                  <a:gd name="T59" fmla="*/ 0 h 248"/>
                  <a:gd name="T60" fmla="*/ 200 w 248"/>
                  <a:gd name="T61" fmla="*/ 10 h 248"/>
                  <a:gd name="T62" fmla="*/ 230 w 248"/>
                  <a:gd name="T63" fmla="*/ 30 h 248"/>
                  <a:gd name="T64" fmla="*/ 240 w 248"/>
                  <a:gd name="T65" fmla="*/ 44 h 248"/>
                  <a:gd name="T66" fmla="*/ 246 w 248"/>
                  <a:gd name="T67" fmla="*/ 62 h 248"/>
                  <a:gd name="T68" fmla="*/ 248 w 248"/>
                  <a:gd name="T69" fmla="*/ 82 h 248"/>
                  <a:gd name="T70" fmla="*/ 242 w 248"/>
                  <a:gd name="T71" fmla="*/ 196 h 248"/>
                  <a:gd name="T72" fmla="*/ 242 w 248"/>
                  <a:gd name="T73" fmla="*/ 246 h 248"/>
                  <a:gd name="T74" fmla="*/ 152 w 248"/>
                  <a:gd name="T75" fmla="*/ 216 h 248"/>
                  <a:gd name="T76" fmla="*/ 114 w 248"/>
                  <a:gd name="T77" fmla="*/ 200 h 248"/>
                  <a:gd name="T78" fmla="*/ 138 w 248"/>
                  <a:gd name="T79" fmla="*/ 194 h 248"/>
                  <a:gd name="T80" fmla="*/ 152 w 248"/>
                  <a:gd name="T81" fmla="*/ 176 h 248"/>
                  <a:gd name="T82" fmla="*/ 158 w 248"/>
                  <a:gd name="T83" fmla="*/ 154 h 248"/>
                  <a:gd name="T84" fmla="*/ 160 w 248"/>
                  <a:gd name="T85" fmla="*/ 130 h 248"/>
                  <a:gd name="T86" fmla="*/ 122 w 248"/>
                  <a:gd name="T87" fmla="*/ 132 h 248"/>
                  <a:gd name="T88" fmla="*/ 110 w 248"/>
                  <a:gd name="T89" fmla="*/ 134 h 248"/>
                  <a:gd name="T90" fmla="*/ 94 w 248"/>
                  <a:gd name="T91" fmla="*/ 148 h 248"/>
                  <a:gd name="T92" fmla="*/ 86 w 248"/>
                  <a:gd name="T93" fmla="*/ 170 h 248"/>
                  <a:gd name="T94" fmla="*/ 86 w 248"/>
                  <a:gd name="T95" fmla="*/ 176 h 248"/>
                  <a:gd name="T96" fmla="*/ 92 w 248"/>
                  <a:gd name="T97" fmla="*/ 192 h 248"/>
                  <a:gd name="T98" fmla="*/ 102 w 248"/>
                  <a:gd name="T99" fmla="*/ 198 h 248"/>
                  <a:gd name="T100" fmla="*/ 114 w 248"/>
                  <a:gd name="T101" fmla="*/ 20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8" h="248">
                    <a:moveTo>
                      <a:pt x="152" y="216"/>
                    </a:moveTo>
                    <a:lnTo>
                      <a:pt x="152" y="216"/>
                    </a:lnTo>
                    <a:lnTo>
                      <a:pt x="152" y="216"/>
                    </a:lnTo>
                    <a:lnTo>
                      <a:pt x="138" y="228"/>
                    </a:lnTo>
                    <a:lnTo>
                      <a:pt x="122" y="238"/>
                    </a:lnTo>
                    <a:lnTo>
                      <a:pt x="112" y="242"/>
                    </a:lnTo>
                    <a:lnTo>
                      <a:pt x="102" y="246"/>
                    </a:lnTo>
                    <a:lnTo>
                      <a:pt x="92" y="246"/>
                    </a:lnTo>
                    <a:lnTo>
                      <a:pt x="80" y="248"/>
                    </a:lnTo>
                    <a:lnTo>
                      <a:pt x="80" y="248"/>
                    </a:lnTo>
                    <a:lnTo>
                      <a:pt x="60" y="246"/>
                    </a:lnTo>
                    <a:lnTo>
                      <a:pt x="44" y="242"/>
                    </a:lnTo>
                    <a:lnTo>
                      <a:pt x="30" y="234"/>
                    </a:lnTo>
                    <a:lnTo>
                      <a:pt x="18" y="226"/>
                    </a:lnTo>
                    <a:lnTo>
                      <a:pt x="10" y="216"/>
                    </a:lnTo>
                    <a:lnTo>
                      <a:pt x="4" y="202"/>
                    </a:lnTo>
                    <a:lnTo>
                      <a:pt x="0" y="188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2" y="156"/>
                    </a:lnTo>
                    <a:lnTo>
                      <a:pt x="8" y="142"/>
                    </a:lnTo>
                    <a:lnTo>
                      <a:pt x="20" y="128"/>
                    </a:lnTo>
                    <a:lnTo>
                      <a:pt x="34" y="116"/>
                    </a:lnTo>
                    <a:lnTo>
                      <a:pt x="54" y="108"/>
                    </a:lnTo>
                    <a:lnTo>
                      <a:pt x="76" y="102"/>
                    </a:lnTo>
                    <a:lnTo>
                      <a:pt x="104" y="98"/>
                    </a:lnTo>
                    <a:lnTo>
                      <a:pt x="134" y="96"/>
                    </a:lnTo>
                    <a:lnTo>
                      <a:pt x="162" y="96"/>
                    </a:lnTo>
                    <a:lnTo>
                      <a:pt x="162" y="96"/>
                    </a:lnTo>
                    <a:lnTo>
                      <a:pt x="164" y="78"/>
                    </a:lnTo>
                    <a:lnTo>
                      <a:pt x="164" y="70"/>
                    </a:lnTo>
                    <a:lnTo>
                      <a:pt x="162" y="60"/>
                    </a:lnTo>
                    <a:lnTo>
                      <a:pt x="160" y="52"/>
                    </a:lnTo>
                    <a:lnTo>
                      <a:pt x="154" y="46"/>
                    </a:lnTo>
                    <a:lnTo>
                      <a:pt x="146" y="42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26" y="42"/>
                    </a:lnTo>
                    <a:lnTo>
                      <a:pt x="120" y="44"/>
                    </a:lnTo>
                    <a:lnTo>
                      <a:pt x="114" y="48"/>
                    </a:lnTo>
                    <a:lnTo>
                      <a:pt x="110" y="54"/>
                    </a:lnTo>
                    <a:lnTo>
                      <a:pt x="106" y="66"/>
                    </a:lnTo>
                    <a:lnTo>
                      <a:pt x="104" y="76"/>
                    </a:lnTo>
                    <a:lnTo>
                      <a:pt x="22" y="76"/>
                    </a:lnTo>
                    <a:lnTo>
                      <a:pt x="22" y="76"/>
                    </a:lnTo>
                    <a:lnTo>
                      <a:pt x="24" y="66"/>
                    </a:lnTo>
                    <a:lnTo>
                      <a:pt x="26" y="54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38" y="30"/>
                    </a:lnTo>
                    <a:lnTo>
                      <a:pt x="46" y="24"/>
                    </a:lnTo>
                    <a:lnTo>
                      <a:pt x="54" y="18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2" y="6"/>
                    </a:lnTo>
                    <a:lnTo>
                      <a:pt x="102" y="2"/>
                    </a:lnTo>
                    <a:lnTo>
                      <a:pt x="124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64" y="0"/>
                    </a:lnTo>
                    <a:lnTo>
                      <a:pt x="182" y="4"/>
                    </a:lnTo>
                    <a:lnTo>
                      <a:pt x="200" y="10"/>
                    </a:lnTo>
                    <a:lnTo>
                      <a:pt x="216" y="18"/>
                    </a:lnTo>
                    <a:lnTo>
                      <a:pt x="230" y="30"/>
                    </a:lnTo>
                    <a:lnTo>
                      <a:pt x="236" y="38"/>
                    </a:lnTo>
                    <a:lnTo>
                      <a:pt x="240" y="44"/>
                    </a:lnTo>
                    <a:lnTo>
                      <a:pt x="244" y="52"/>
                    </a:lnTo>
                    <a:lnTo>
                      <a:pt x="246" y="62"/>
                    </a:lnTo>
                    <a:lnTo>
                      <a:pt x="248" y="72"/>
                    </a:lnTo>
                    <a:lnTo>
                      <a:pt x="248" y="82"/>
                    </a:lnTo>
                    <a:lnTo>
                      <a:pt x="242" y="196"/>
                    </a:lnTo>
                    <a:lnTo>
                      <a:pt x="242" y="196"/>
                    </a:lnTo>
                    <a:lnTo>
                      <a:pt x="240" y="214"/>
                    </a:lnTo>
                    <a:lnTo>
                      <a:pt x="242" y="246"/>
                    </a:lnTo>
                    <a:lnTo>
                      <a:pt x="158" y="246"/>
                    </a:lnTo>
                    <a:lnTo>
                      <a:pt x="152" y="216"/>
                    </a:lnTo>
                    <a:close/>
                    <a:moveTo>
                      <a:pt x="114" y="200"/>
                    </a:moveTo>
                    <a:lnTo>
                      <a:pt x="114" y="200"/>
                    </a:lnTo>
                    <a:lnTo>
                      <a:pt x="128" y="198"/>
                    </a:lnTo>
                    <a:lnTo>
                      <a:pt x="138" y="194"/>
                    </a:lnTo>
                    <a:lnTo>
                      <a:pt x="146" y="186"/>
                    </a:lnTo>
                    <a:lnTo>
                      <a:pt x="152" y="176"/>
                    </a:lnTo>
                    <a:lnTo>
                      <a:pt x="156" y="166"/>
                    </a:lnTo>
                    <a:lnTo>
                      <a:pt x="158" y="154"/>
                    </a:lnTo>
                    <a:lnTo>
                      <a:pt x="160" y="130"/>
                    </a:lnTo>
                    <a:lnTo>
                      <a:pt x="160" y="130"/>
                    </a:lnTo>
                    <a:lnTo>
                      <a:pt x="134" y="130"/>
                    </a:lnTo>
                    <a:lnTo>
                      <a:pt x="122" y="132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2" y="140"/>
                    </a:lnTo>
                    <a:lnTo>
                      <a:pt x="94" y="148"/>
                    </a:lnTo>
                    <a:lnTo>
                      <a:pt x="88" y="158"/>
                    </a:lnTo>
                    <a:lnTo>
                      <a:pt x="86" y="170"/>
                    </a:lnTo>
                    <a:lnTo>
                      <a:pt x="86" y="170"/>
                    </a:lnTo>
                    <a:lnTo>
                      <a:pt x="86" y="176"/>
                    </a:lnTo>
                    <a:lnTo>
                      <a:pt x="88" y="182"/>
                    </a:lnTo>
                    <a:lnTo>
                      <a:pt x="92" y="192"/>
                    </a:lnTo>
                    <a:lnTo>
                      <a:pt x="96" y="194"/>
                    </a:lnTo>
                    <a:lnTo>
                      <a:pt x="102" y="198"/>
                    </a:lnTo>
                    <a:lnTo>
                      <a:pt x="108" y="200"/>
                    </a:lnTo>
                    <a:lnTo>
                      <a:pt x="114" y="200"/>
                    </a:lnTo>
                    <a:lnTo>
                      <a:pt x="114" y="2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11"/>
              <p:cNvSpPr>
                <a:spLocks noEditPoints="1"/>
              </p:cNvSpPr>
              <p:nvPr/>
            </p:nvSpPr>
            <p:spPr bwMode="auto">
              <a:xfrm>
                <a:off x="6092825" y="352425"/>
                <a:ext cx="454025" cy="542925"/>
              </a:xfrm>
              <a:custGeom>
                <a:avLst/>
                <a:gdLst>
                  <a:gd name="T0" fmla="*/ 0 w 286"/>
                  <a:gd name="T1" fmla="*/ 342 h 342"/>
                  <a:gd name="T2" fmla="*/ 24 w 286"/>
                  <a:gd name="T3" fmla="*/ 0 h 342"/>
                  <a:gd name="T4" fmla="*/ 114 w 286"/>
                  <a:gd name="T5" fmla="*/ 0 h 342"/>
                  <a:gd name="T6" fmla="*/ 90 w 286"/>
                  <a:gd name="T7" fmla="*/ 342 h 342"/>
                  <a:gd name="T8" fmla="*/ 0 w 286"/>
                  <a:gd name="T9" fmla="*/ 342 h 342"/>
                  <a:gd name="T10" fmla="*/ 100 w 286"/>
                  <a:gd name="T11" fmla="*/ 210 h 342"/>
                  <a:gd name="T12" fmla="*/ 184 w 286"/>
                  <a:gd name="T13" fmla="*/ 104 h 342"/>
                  <a:gd name="T14" fmla="*/ 286 w 286"/>
                  <a:gd name="T15" fmla="*/ 104 h 342"/>
                  <a:gd name="T16" fmla="*/ 194 w 286"/>
                  <a:gd name="T17" fmla="*/ 204 h 342"/>
                  <a:gd name="T18" fmla="*/ 282 w 286"/>
                  <a:gd name="T19" fmla="*/ 342 h 342"/>
                  <a:gd name="T20" fmla="*/ 170 w 286"/>
                  <a:gd name="T21" fmla="*/ 342 h 342"/>
                  <a:gd name="T22" fmla="*/ 100 w 286"/>
                  <a:gd name="T23" fmla="*/ 21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6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4" y="0"/>
                    </a:lnTo>
                    <a:lnTo>
                      <a:pt x="90" y="342"/>
                    </a:lnTo>
                    <a:lnTo>
                      <a:pt x="0" y="342"/>
                    </a:lnTo>
                    <a:close/>
                    <a:moveTo>
                      <a:pt x="100" y="210"/>
                    </a:moveTo>
                    <a:lnTo>
                      <a:pt x="184" y="104"/>
                    </a:lnTo>
                    <a:lnTo>
                      <a:pt x="286" y="104"/>
                    </a:lnTo>
                    <a:lnTo>
                      <a:pt x="194" y="204"/>
                    </a:lnTo>
                    <a:lnTo>
                      <a:pt x="282" y="342"/>
                    </a:lnTo>
                    <a:lnTo>
                      <a:pt x="170" y="342"/>
                    </a:lnTo>
                    <a:lnTo>
                      <a:pt x="10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12"/>
              <p:cNvSpPr>
                <a:spLocks/>
              </p:cNvSpPr>
              <p:nvPr/>
            </p:nvSpPr>
            <p:spPr bwMode="auto">
              <a:xfrm>
                <a:off x="3606800" y="517525"/>
                <a:ext cx="292100" cy="377825"/>
              </a:xfrm>
              <a:custGeom>
                <a:avLst/>
                <a:gdLst>
                  <a:gd name="T0" fmla="*/ 104 w 184"/>
                  <a:gd name="T1" fmla="*/ 34 h 238"/>
                  <a:gd name="T2" fmla="*/ 106 w 184"/>
                  <a:gd name="T3" fmla="*/ 34 h 238"/>
                  <a:gd name="T4" fmla="*/ 106 w 184"/>
                  <a:gd name="T5" fmla="*/ 34 h 238"/>
                  <a:gd name="T6" fmla="*/ 114 w 184"/>
                  <a:gd name="T7" fmla="*/ 24 h 238"/>
                  <a:gd name="T8" fmla="*/ 124 w 184"/>
                  <a:gd name="T9" fmla="*/ 16 h 238"/>
                  <a:gd name="T10" fmla="*/ 132 w 184"/>
                  <a:gd name="T11" fmla="*/ 10 h 238"/>
                  <a:gd name="T12" fmla="*/ 142 w 184"/>
                  <a:gd name="T13" fmla="*/ 6 h 238"/>
                  <a:gd name="T14" fmla="*/ 152 w 184"/>
                  <a:gd name="T15" fmla="*/ 4 h 238"/>
                  <a:gd name="T16" fmla="*/ 162 w 184"/>
                  <a:gd name="T17" fmla="*/ 2 h 238"/>
                  <a:gd name="T18" fmla="*/ 184 w 184"/>
                  <a:gd name="T19" fmla="*/ 0 h 238"/>
                  <a:gd name="T20" fmla="*/ 178 w 184"/>
                  <a:gd name="T21" fmla="*/ 76 h 238"/>
                  <a:gd name="T22" fmla="*/ 178 w 184"/>
                  <a:gd name="T23" fmla="*/ 76 h 238"/>
                  <a:gd name="T24" fmla="*/ 160 w 184"/>
                  <a:gd name="T25" fmla="*/ 76 h 238"/>
                  <a:gd name="T26" fmla="*/ 160 w 184"/>
                  <a:gd name="T27" fmla="*/ 76 h 238"/>
                  <a:gd name="T28" fmla="*/ 140 w 184"/>
                  <a:gd name="T29" fmla="*/ 78 h 238"/>
                  <a:gd name="T30" fmla="*/ 126 w 184"/>
                  <a:gd name="T31" fmla="*/ 82 h 238"/>
                  <a:gd name="T32" fmla="*/ 116 w 184"/>
                  <a:gd name="T33" fmla="*/ 88 h 238"/>
                  <a:gd name="T34" fmla="*/ 108 w 184"/>
                  <a:gd name="T35" fmla="*/ 98 h 238"/>
                  <a:gd name="T36" fmla="*/ 102 w 184"/>
                  <a:gd name="T37" fmla="*/ 108 h 238"/>
                  <a:gd name="T38" fmla="*/ 100 w 184"/>
                  <a:gd name="T39" fmla="*/ 120 h 238"/>
                  <a:gd name="T40" fmla="*/ 98 w 184"/>
                  <a:gd name="T41" fmla="*/ 148 h 238"/>
                  <a:gd name="T42" fmla="*/ 92 w 184"/>
                  <a:gd name="T43" fmla="*/ 238 h 238"/>
                  <a:gd name="T44" fmla="*/ 0 w 184"/>
                  <a:gd name="T45" fmla="*/ 238 h 238"/>
                  <a:gd name="T46" fmla="*/ 12 w 184"/>
                  <a:gd name="T47" fmla="*/ 62 h 238"/>
                  <a:gd name="T48" fmla="*/ 12 w 184"/>
                  <a:gd name="T49" fmla="*/ 62 h 238"/>
                  <a:gd name="T50" fmla="*/ 14 w 184"/>
                  <a:gd name="T51" fmla="*/ 32 h 238"/>
                  <a:gd name="T52" fmla="*/ 14 w 184"/>
                  <a:gd name="T53" fmla="*/ 0 h 238"/>
                  <a:gd name="T54" fmla="*/ 102 w 184"/>
                  <a:gd name="T55" fmla="*/ 0 h 238"/>
                  <a:gd name="T56" fmla="*/ 104 w 184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4" h="238">
                    <a:moveTo>
                      <a:pt x="104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4" y="24"/>
                    </a:lnTo>
                    <a:lnTo>
                      <a:pt x="124" y="16"/>
                    </a:lnTo>
                    <a:lnTo>
                      <a:pt x="132" y="10"/>
                    </a:lnTo>
                    <a:lnTo>
                      <a:pt x="142" y="6"/>
                    </a:lnTo>
                    <a:lnTo>
                      <a:pt x="152" y="4"/>
                    </a:lnTo>
                    <a:lnTo>
                      <a:pt x="162" y="2"/>
                    </a:lnTo>
                    <a:lnTo>
                      <a:pt x="184" y="0"/>
                    </a:lnTo>
                    <a:lnTo>
                      <a:pt x="178" y="76"/>
                    </a:lnTo>
                    <a:lnTo>
                      <a:pt x="178" y="76"/>
                    </a:lnTo>
                    <a:lnTo>
                      <a:pt x="160" y="76"/>
                    </a:lnTo>
                    <a:lnTo>
                      <a:pt x="160" y="76"/>
                    </a:lnTo>
                    <a:lnTo>
                      <a:pt x="140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2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4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13"/>
              <p:cNvSpPr>
                <a:spLocks/>
              </p:cNvSpPr>
              <p:nvPr/>
            </p:nvSpPr>
            <p:spPr bwMode="auto">
              <a:xfrm>
                <a:off x="3889375" y="352425"/>
                <a:ext cx="174625" cy="542925"/>
              </a:xfrm>
              <a:custGeom>
                <a:avLst/>
                <a:gdLst>
                  <a:gd name="T0" fmla="*/ 0 w 110"/>
                  <a:gd name="T1" fmla="*/ 342 h 342"/>
                  <a:gd name="T2" fmla="*/ 24 w 110"/>
                  <a:gd name="T3" fmla="*/ 0 h 342"/>
                  <a:gd name="T4" fmla="*/ 110 w 110"/>
                  <a:gd name="T5" fmla="*/ 0 h 342"/>
                  <a:gd name="T6" fmla="*/ 86 w 110"/>
                  <a:gd name="T7" fmla="*/ 342 h 342"/>
                  <a:gd name="T8" fmla="*/ 0 w 110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0" y="0"/>
                    </a:lnTo>
                    <a:lnTo>
                      <a:pt x="86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14"/>
              <p:cNvSpPr>
                <a:spLocks noEditPoints="1"/>
              </p:cNvSpPr>
              <p:nvPr/>
            </p:nvSpPr>
            <p:spPr bwMode="auto">
              <a:xfrm>
                <a:off x="2740025" y="352425"/>
                <a:ext cx="438150" cy="546100"/>
              </a:xfrm>
              <a:custGeom>
                <a:avLst/>
                <a:gdLst>
                  <a:gd name="T0" fmla="*/ 112 w 276"/>
                  <a:gd name="T1" fmla="*/ 0 h 344"/>
                  <a:gd name="T2" fmla="*/ 104 w 276"/>
                  <a:gd name="T3" fmla="*/ 136 h 344"/>
                  <a:gd name="T4" fmla="*/ 120 w 276"/>
                  <a:gd name="T5" fmla="*/ 122 h 344"/>
                  <a:gd name="T6" fmla="*/ 146 w 276"/>
                  <a:gd name="T7" fmla="*/ 104 h 344"/>
                  <a:gd name="T8" fmla="*/ 168 w 276"/>
                  <a:gd name="T9" fmla="*/ 98 h 344"/>
                  <a:gd name="T10" fmla="*/ 180 w 276"/>
                  <a:gd name="T11" fmla="*/ 98 h 344"/>
                  <a:gd name="T12" fmla="*/ 206 w 276"/>
                  <a:gd name="T13" fmla="*/ 100 h 344"/>
                  <a:gd name="T14" fmla="*/ 226 w 276"/>
                  <a:gd name="T15" fmla="*/ 108 h 344"/>
                  <a:gd name="T16" fmla="*/ 244 w 276"/>
                  <a:gd name="T17" fmla="*/ 120 h 344"/>
                  <a:gd name="T18" fmla="*/ 258 w 276"/>
                  <a:gd name="T19" fmla="*/ 136 h 344"/>
                  <a:gd name="T20" fmla="*/ 274 w 276"/>
                  <a:gd name="T21" fmla="*/ 176 h 344"/>
                  <a:gd name="T22" fmla="*/ 276 w 276"/>
                  <a:gd name="T23" fmla="*/ 220 h 344"/>
                  <a:gd name="T24" fmla="*/ 274 w 276"/>
                  <a:gd name="T25" fmla="*/ 242 h 344"/>
                  <a:gd name="T26" fmla="*/ 260 w 276"/>
                  <a:gd name="T27" fmla="*/ 284 h 344"/>
                  <a:gd name="T28" fmla="*/ 240 w 276"/>
                  <a:gd name="T29" fmla="*/ 312 h 344"/>
                  <a:gd name="T30" fmla="*/ 222 w 276"/>
                  <a:gd name="T31" fmla="*/ 328 h 344"/>
                  <a:gd name="T32" fmla="*/ 202 w 276"/>
                  <a:gd name="T33" fmla="*/ 338 h 344"/>
                  <a:gd name="T34" fmla="*/ 176 w 276"/>
                  <a:gd name="T35" fmla="*/ 344 h 344"/>
                  <a:gd name="T36" fmla="*/ 160 w 276"/>
                  <a:gd name="T37" fmla="*/ 344 h 344"/>
                  <a:gd name="T38" fmla="*/ 140 w 276"/>
                  <a:gd name="T39" fmla="*/ 342 h 344"/>
                  <a:gd name="T40" fmla="*/ 106 w 276"/>
                  <a:gd name="T41" fmla="*/ 324 h 344"/>
                  <a:gd name="T42" fmla="*/ 92 w 276"/>
                  <a:gd name="T43" fmla="*/ 312 h 344"/>
                  <a:gd name="T44" fmla="*/ 0 w 276"/>
                  <a:gd name="T45" fmla="*/ 342 h 344"/>
                  <a:gd name="T46" fmla="*/ 94 w 276"/>
                  <a:gd name="T47" fmla="*/ 226 h 344"/>
                  <a:gd name="T48" fmla="*/ 96 w 276"/>
                  <a:gd name="T49" fmla="*/ 250 h 344"/>
                  <a:gd name="T50" fmla="*/ 102 w 276"/>
                  <a:gd name="T51" fmla="*/ 272 h 344"/>
                  <a:gd name="T52" fmla="*/ 114 w 276"/>
                  <a:gd name="T53" fmla="*/ 288 h 344"/>
                  <a:gd name="T54" fmla="*/ 134 w 276"/>
                  <a:gd name="T55" fmla="*/ 296 h 344"/>
                  <a:gd name="T56" fmla="*/ 148 w 276"/>
                  <a:gd name="T57" fmla="*/ 294 h 344"/>
                  <a:gd name="T58" fmla="*/ 168 w 276"/>
                  <a:gd name="T59" fmla="*/ 282 h 344"/>
                  <a:gd name="T60" fmla="*/ 180 w 276"/>
                  <a:gd name="T61" fmla="*/ 260 h 344"/>
                  <a:gd name="T62" fmla="*/ 186 w 276"/>
                  <a:gd name="T63" fmla="*/ 222 h 344"/>
                  <a:gd name="T64" fmla="*/ 186 w 276"/>
                  <a:gd name="T65" fmla="*/ 198 h 344"/>
                  <a:gd name="T66" fmla="*/ 180 w 276"/>
                  <a:gd name="T67" fmla="*/ 174 h 344"/>
                  <a:gd name="T68" fmla="*/ 168 w 276"/>
                  <a:gd name="T69" fmla="*/ 156 h 344"/>
                  <a:gd name="T70" fmla="*/ 146 w 276"/>
                  <a:gd name="T71" fmla="*/ 150 h 344"/>
                  <a:gd name="T72" fmla="*/ 132 w 276"/>
                  <a:gd name="T73" fmla="*/ 152 h 344"/>
                  <a:gd name="T74" fmla="*/ 112 w 276"/>
                  <a:gd name="T75" fmla="*/ 166 h 344"/>
                  <a:gd name="T76" fmla="*/ 100 w 276"/>
                  <a:gd name="T77" fmla="*/ 188 h 344"/>
                  <a:gd name="T78" fmla="*/ 94 w 276"/>
                  <a:gd name="T79" fmla="*/ 226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6" h="344">
                    <a:moveTo>
                      <a:pt x="24" y="0"/>
                    </a:moveTo>
                    <a:lnTo>
                      <a:pt x="112" y="0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20" y="122"/>
                    </a:lnTo>
                    <a:lnTo>
                      <a:pt x="138" y="108"/>
                    </a:lnTo>
                    <a:lnTo>
                      <a:pt x="146" y="104"/>
                    </a:lnTo>
                    <a:lnTo>
                      <a:pt x="158" y="100"/>
                    </a:lnTo>
                    <a:lnTo>
                      <a:pt x="168" y="98"/>
                    </a:lnTo>
                    <a:lnTo>
                      <a:pt x="180" y="98"/>
                    </a:lnTo>
                    <a:lnTo>
                      <a:pt x="180" y="98"/>
                    </a:lnTo>
                    <a:lnTo>
                      <a:pt x="194" y="98"/>
                    </a:lnTo>
                    <a:lnTo>
                      <a:pt x="206" y="100"/>
                    </a:lnTo>
                    <a:lnTo>
                      <a:pt x="216" y="104"/>
                    </a:lnTo>
                    <a:lnTo>
                      <a:pt x="226" y="108"/>
                    </a:lnTo>
                    <a:lnTo>
                      <a:pt x="236" y="114"/>
                    </a:lnTo>
                    <a:lnTo>
                      <a:pt x="244" y="120"/>
                    </a:lnTo>
                    <a:lnTo>
                      <a:pt x="250" y="128"/>
                    </a:lnTo>
                    <a:lnTo>
                      <a:pt x="258" y="136"/>
                    </a:lnTo>
                    <a:lnTo>
                      <a:pt x="266" y="156"/>
                    </a:lnTo>
                    <a:lnTo>
                      <a:pt x="274" y="176"/>
                    </a:lnTo>
                    <a:lnTo>
                      <a:pt x="276" y="198"/>
                    </a:lnTo>
                    <a:lnTo>
                      <a:pt x="276" y="220"/>
                    </a:lnTo>
                    <a:lnTo>
                      <a:pt x="276" y="220"/>
                    </a:lnTo>
                    <a:lnTo>
                      <a:pt x="274" y="242"/>
                    </a:lnTo>
                    <a:lnTo>
                      <a:pt x="268" y="264"/>
                    </a:lnTo>
                    <a:lnTo>
                      <a:pt x="260" y="284"/>
                    </a:lnTo>
                    <a:lnTo>
                      <a:pt x="248" y="304"/>
                    </a:lnTo>
                    <a:lnTo>
                      <a:pt x="240" y="312"/>
                    </a:lnTo>
                    <a:lnTo>
                      <a:pt x="232" y="320"/>
                    </a:lnTo>
                    <a:lnTo>
                      <a:pt x="222" y="328"/>
                    </a:lnTo>
                    <a:lnTo>
                      <a:pt x="212" y="334"/>
                    </a:lnTo>
                    <a:lnTo>
                      <a:pt x="202" y="338"/>
                    </a:lnTo>
                    <a:lnTo>
                      <a:pt x="188" y="342"/>
                    </a:lnTo>
                    <a:lnTo>
                      <a:pt x="176" y="344"/>
                    </a:lnTo>
                    <a:lnTo>
                      <a:pt x="160" y="344"/>
                    </a:lnTo>
                    <a:lnTo>
                      <a:pt x="160" y="344"/>
                    </a:lnTo>
                    <a:lnTo>
                      <a:pt x="150" y="344"/>
                    </a:lnTo>
                    <a:lnTo>
                      <a:pt x="140" y="342"/>
                    </a:lnTo>
                    <a:lnTo>
                      <a:pt x="122" y="336"/>
                    </a:lnTo>
                    <a:lnTo>
                      <a:pt x="106" y="324"/>
                    </a:lnTo>
                    <a:lnTo>
                      <a:pt x="94" y="312"/>
                    </a:lnTo>
                    <a:lnTo>
                      <a:pt x="92" y="312"/>
                    </a:lnTo>
                    <a:lnTo>
                      <a:pt x="88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  <a:moveTo>
                      <a:pt x="94" y="226"/>
                    </a:moveTo>
                    <a:lnTo>
                      <a:pt x="94" y="226"/>
                    </a:lnTo>
                    <a:lnTo>
                      <a:pt x="96" y="250"/>
                    </a:lnTo>
                    <a:lnTo>
                      <a:pt x="98" y="260"/>
                    </a:lnTo>
                    <a:lnTo>
                      <a:pt x="102" y="272"/>
                    </a:lnTo>
                    <a:lnTo>
                      <a:pt x="106" y="282"/>
                    </a:lnTo>
                    <a:lnTo>
                      <a:pt x="114" y="288"/>
                    </a:lnTo>
                    <a:lnTo>
                      <a:pt x="122" y="294"/>
                    </a:lnTo>
                    <a:lnTo>
                      <a:pt x="134" y="296"/>
                    </a:lnTo>
                    <a:lnTo>
                      <a:pt x="134" y="296"/>
                    </a:lnTo>
                    <a:lnTo>
                      <a:pt x="148" y="294"/>
                    </a:lnTo>
                    <a:lnTo>
                      <a:pt x="158" y="288"/>
                    </a:lnTo>
                    <a:lnTo>
                      <a:pt x="168" y="282"/>
                    </a:lnTo>
                    <a:lnTo>
                      <a:pt x="174" y="272"/>
                    </a:lnTo>
                    <a:lnTo>
                      <a:pt x="180" y="260"/>
                    </a:lnTo>
                    <a:lnTo>
                      <a:pt x="184" y="248"/>
                    </a:lnTo>
                    <a:lnTo>
                      <a:pt x="186" y="222"/>
                    </a:lnTo>
                    <a:lnTo>
                      <a:pt x="186" y="222"/>
                    </a:lnTo>
                    <a:lnTo>
                      <a:pt x="186" y="198"/>
                    </a:lnTo>
                    <a:lnTo>
                      <a:pt x="184" y="186"/>
                    </a:lnTo>
                    <a:lnTo>
                      <a:pt x="180" y="174"/>
                    </a:lnTo>
                    <a:lnTo>
                      <a:pt x="176" y="164"/>
                    </a:lnTo>
                    <a:lnTo>
                      <a:pt x="168" y="156"/>
                    </a:lnTo>
                    <a:lnTo>
                      <a:pt x="158" y="152"/>
                    </a:lnTo>
                    <a:lnTo>
                      <a:pt x="146" y="150"/>
                    </a:lnTo>
                    <a:lnTo>
                      <a:pt x="146" y="150"/>
                    </a:lnTo>
                    <a:lnTo>
                      <a:pt x="132" y="152"/>
                    </a:lnTo>
                    <a:lnTo>
                      <a:pt x="120" y="156"/>
                    </a:lnTo>
                    <a:lnTo>
                      <a:pt x="112" y="166"/>
                    </a:lnTo>
                    <a:lnTo>
                      <a:pt x="104" y="176"/>
                    </a:lnTo>
                    <a:lnTo>
                      <a:pt x="100" y="188"/>
                    </a:lnTo>
                    <a:lnTo>
                      <a:pt x="98" y="200"/>
                    </a:lnTo>
                    <a:lnTo>
                      <a:pt x="94" y="226"/>
                    </a:lnTo>
                    <a:lnTo>
                      <a:pt x="94" y="2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15"/>
              <p:cNvSpPr>
                <a:spLocks noEditPoints="1"/>
              </p:cNvSpPr>
              <p:nvPr/>
            </p:nvSpPr>
            <p:spPr bwMode="auto">
              <a:xfrm>
                <a:off x="3197225" y="504825"/>
                <a:ext cx="406400" cy="396875"/>
              </a:xfrm>
              <a:custGeom>
                <a:avLst/>
                <a:gdLst>
                  <a:gd name="T0" fmla="*/ 86 w 256"/>
                  <a:gd name="T1" fmla="*/ 142 h 250"/>
                  <a:gd name="T2" fmla="*/ 86 w 256"/>
                  <a:gd name="T3" fmla="*/ 166 h 250"/>
                  <a:gd name="T4" fmla="*/ 90 w 256"/>
                  <a:gd name="T5" fmla="*/ 184 h 250"/>
                  <a:gd name="T6" fmla="*/ 102 w 256"/>
                  <a:gd name="T7" fmla="*/ 196 h 250"/>
                  <a:gd name="T8" fmla="*/ 124 w 256"/>
                  <a:gd name="T9" fmla="*/ 202 h 250"/>
                  <a:gd name="T10" fmla="*/ 132 w 256"/>
                  <a:gd name="T11" fmla="*/ 200 h 250"/>
                  <a:gd name="T12" fmla="*/ 148 w 256"/>
                  <a:gd name="T13" fmla="*/ 196 h 250"/>
                  <a:gd name="T14" fmla="*/ 158 w 256"/>
                  <a:gd name="T15" fmla="*/ 186 h 250"/>
                  <a:gd name="T16" fmla="*/ 164 w 256"/>
                  <a:gd name="T17" fmla="*/ 174 h 250"/>
                  <a:gd name="T18" fmla="*/ 248 w 256"/>
                  <a:gd name="T19" fmla="*/ 170 h 250"/>
                  <a:gd name="T20" fmla="*/ 246 w 256"/>
                  <a:gd name="T21" fmla="*/ 180 h 250"/>
                  <a:gd name="T22" fmla="*/ 238 w 256"/>
                  <a:gd name="T23" fmla="*/ 198 h 250"/>
                  <a:gd name="T24" fmla="*/ 218 w 256"/>
                  <a:gd name="T25" fmla="*/ 222 h 250"/>
                  <a:gd name="T26" fmla="*/ 202 w 256"/>
                  <a:gd name="T27" fmla="*/ 234 h 250"/>
                  <a:gd name="T28" fmla="*/ 168 w 256"/>
                  <a:gd name="T29" fmla="*/ 246 h 250"/>
                  <a:gd name="T30" fmla="*/ 128 w 256"/>
                  <a:gd name="T31" fmla="*/ 250 h 250"/>
                  <a:gd name="T32" fmla="*/ 96 w 256"/>
                  <a:gd name="T33" fmla="*/ 248 h 250"/>
                  <a:gd name="T34" fmla="*/ 66 w 256"/>
                  <a:gd name="T35" fmla="*/ 242 h 250"/>
                  <a:gd name="T36" fmla="*/ 44 w 256"/>
                  <a:gd name="T37" fmla="*/ 232 h 250"/>
                  <a:gd name="T38" fmla="*/ 26 w 256"/>
                  <a:gd name="T39" fmla="*/ 218 h 250"/>
                  <a:gd name="T40" fmla="*/ 12 w 256"/>
                  <a:gd name="T41" fmla="*/ 200 h 250"/>
                  <a:gd name="T42" fmla="*/ 4 w 256"/>
                  <a:gd name="T43" fmla="*/ 178 h 250"/>
                  <a:gd name="T44" fmla="*/ 0 w 256"/>
                  <a:gd name="T45" fmla="*/ 150 h 250"/>
                  <a:gd name="T46" fmla="*/ 0 w 256"/>
                  <a:gd name="T47" fmla="*/ 118 h 250"/>
                  <a:gd name="T48" fmla="*/ 4 w 256"/>
                  <a:gd name="T49" fmla="*/ 92 h 250"/>
                  <a:gd name="T50" fmla="*/ 14 w 256"/>
                  <a:gd name="T51" fmla="*/ 68 h 250"/>
                  <a:gd name="T52" fmla="*/ 26 w 256"/>
                  <a:gd name="T53" fmla="*/ 48 h 250"/>
                  <a:gd name="T54" fmla="*/ 44 w 256"/>
                  <a:gd name="T55" fmla="*/ 32 h 250"/>
                  <a:gd name="T56" fmla="*/ 86 w 256"/>
                  <a:gd name="T57" fmla="*/ 8 h 250"/>
                  <a:gd name="T58" fmla="*/ 138 w 256"/>
                  <a:gd name="T59" fmla="*/ 0 h 250"/>
                  <a:gd name="T60" fmla="*/ 154 w 256"/>
                  <a:gd name="T61" fmla="*/ 2 h 250"/>
                  <a:gd name="T62" fmla="*/ 184 w 256"/>
                  <a:gd name="T63" fmla="*/ 6 h 250"/>
                  <a:gd name="T64" fmla="*/ 208 w 256"/>
                  <a:gd name="T65" fmla="*/ 18 h 250"/>
                  <a:gd name="T66" fmla="*/ 228 w 256"/>
                  <a:gd name="T67" fmla="*/ 32 h 250"/>
                  <a:gd name="T68" fmla="*/ 242 w 256"/>
                  <a:gd name="T69" fmla="*/ 50 h 250"/>
                  <a:gd name="T70" fmla="*/ 250 w 256"/>
                  <a:gd name="T71" fmla="*/ 72 h 250"/>
                  <a:gd name="T72" fmla="*/ 256 w 256"/>
                  <a:gd name="T73" fmla="*/ 112 h 250"/>
                  <a:gd name="T74" fmla="*/ 86 w 256"/>
                  <a:gd name="T75" fmla="*/ 142 h 250"/>
                  <a:gd name="T76" fmla="*/ 172 w 256"/>
                  <a:gd name="T77" fmla="*/ 98 h 250"/>
                  <a:gd name="T78" fmla="*/ 170 w 256"/>
                  <a:gd name="T79" fmla="*/ 78 h 250"/>
                  <a:gd name="T80" fmla="*/ 164 w 256"/>
                  <a:gd name="T81" fmla="*/ 62 h 250"/>
                  <a:gd name="T82" fmla="*/ 158 w 256"/>
                  <a:gd name="T83" fmla="*/ 56 h 250"/>
                  <a:gd name="T84" fmla="*/ 142 w 256"/>
                  <a:gd name="T85" fmla="*/ 48 h 250"/>
                  <a:gd name="T86" fmla="*/ 134 w 256"/>
                  <a:gd name="T87" fmla="*/ 46 h 250"/>
                  <a:gd name="T88" fmla="*/ 114 w 256"/>
                  <a:gd name="T89" fmla="*/ 52 h 250"/>
                  <a:gd name="T90" fmla="*/ 102 w 256"/>
                  <a:gd name="T91" fmla="*/ 62 h 250"/>
                  <a:gd name="T92" fmla="*/ 94 w 256"/>
                  <a:gd name="T93" fmla="*/ 78 h 250"/>
                  <a:gd name="T94" fmla="*/ 172 w 256"/>
                  <a:gd name="T95" fmla="*/ 98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6" h="250">
                    <a:moveTo>
                      <a:pt x="86" y="142"/>
                    </a:moveTo>
                    <a:lnTo>
                      <a:pt x="86" y="142"/>
                    </a:lnTo>
                    <a:lnTo>
                      <a:pt x="84" y="154"/>
                    </a:lnTo>
                    <a:lnTo>
                      <a:pt x="86" y="166"/>
                    </a:lnTo>
                    <a:lnTo>
                      <a:pt x="88" y="176"/>
                    </a:lnTo>
                    <a:lnTo>
                      <a:pt x="90" y="184"/>
                    </a:lnTo>
                    <a:lnTo>
                      <a:pt x="96" y="192"/>
                    </a:lnTo>
                    <a:lnTo>
                      <a:pt x="102" y="196"/>
                    </a:lnTo>
                    <a:lnTo>
                      <a:pt x="112" y="200"/>
                    </a:lnTo>
                    <a:lnTo>
                      <a:pt x="124" y="202"/>
                    </a:lnTo>
                    <a:lnTo>
                      <a:pt x="124" y="202"/>
                    </a:lnTo>
                    <a:lnTo>
                      <a:pt x="132" y="200"/>
                    </a:lnTo>
                    <a:lnTo>
                      <a:pt x="140" y="198"/>
                    </a:lnTo>
                    <a:lnTo>
                      <a:pt x="148" y="196"/>
                    </a:lnTo>
                    <a:lnTo>
                      <a:pt x="154" y="192"/>
                    </a:lnTo>
                    <a:lnTo>
                      <a:pt x="158" y="186"/>
                    </a:lnTo>
                    <a:lnTo>
                      <a:pt x="162" y="180"/>
                    </a:lnTo>
                    <a:lnTo>
                      <a:pt x="164" y="174"/>
                    </a:lnTo>
                    <a:lnTo>
                      <a:pt x="164" y="170"/>
                    </a:lnTo>
                    <a:lnTo>
                      <a:pt x="248" y="170"/>
                    </a:lnTo>
                    <a:lnTo>
                      <a:pt x="248" y="170"/>
                    </a:lnTo>
                    <a:lnTo>
                      <a:pt x="246" y="180"/>
                    </a:lnTo>
                    <a:lnTo>
                      <a:pt x="242" y="190"/>
                    </a:lnTo>
                    <a:lnTo>
                      <a:pt x="238" y="198"/>
                    </a:lnTo>
                    <a:lnTo>
                      <a:pt x="232" y="208"/>
                    </a:lnTo>
                    <a:lnTo>
                      <a:pt x="218" y="222"/>
                    </a:lnTo>
                    <a:lnTo>
                      <a:pt x="202" y="234"/>
                    </a:lnTo>
                    <a:lnTo>
                      <a:pt x="202" y="234"/>
                    </a:lnTo>
                    <a:lnTo>
                      <a:pt x="186" y="242"/>
                    </a:lnTo>
                    <a:lnTo>
                      <a:pt x="168" y="246"/>
                    </a:lnTo>
                    <a:lnTo>
                      <a:pt x="148" y="248"/>
                    </a:lnTo>
                    <a:lnTo>
                      <a:pt x="128" y="250"/>
                    </a:lnTo>
                    <a:lnTo>
                      <a:pt x="128" y="250"/>
                    </a:lnTo>
                    <a:lnTo>
                      <a:pt x="96" y="248"/>
                    </a:lnTo>
                    <a:lnTo>
                      <a:pt x="80" y="244"/>
                    </a:lnTo>
                    <a:lnTo>
                      <a:pt x="66" y="242"/>
                    </a:lnTo>
                    <a:lnTo>
                      <a:pt x="54" y="238"/>
                    </a:lnTo>
                    <a:lnTo>
                      <a:pt x="44" y="232"/>
                    </a:lnTo>
                    <a:lnTo>
                      <a:pt x="34" y="226"/>
                    </a:lnTo>
                    <a:lnTo>
                      <a:pt x="26" y="218"/>
                    </a:lnTo>
                    <a:lnTo>
                      <a:pt x="18" y="210"/>
                    </a:lnTo>
                    <a:lnTo>
                      <a:pt x="12" y="200"/>
                    </a:lnTo>
                    <a:lnTo>
                      <a:pt x="8" y="190"/>
                    </a:lnTo>
                    <a:lnTo>
                      <a:pt x="4" y="178"/>
                    </a:lnTo>
                    <a:lnTo>
                      <a:pt x="2" y="164"/>
                    </a:lnTo>
                    <a:lnTo>
                      <a:pt x="0" y="150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2" y="106"/>
                    </a:lnTo>
                    <a:lnTo>
                      <a:pt x="4" y="92"/>
                    </a:lnTo>
                    <a:lnTo>
                      <a:pt x="8" y="80"/>
                    </a:lnTo>
                    <a:lnTo>
                      <a:pt x="14" y="68"/>
                    </a:lnTo>
                    <a:lnTo>
                      <a:pt x="20" y="58"/>
                    </a:lnTo>
                    <a:lnTo>
                      <a:pt x="26" y="48"/>
                    </a:lnTo>
                    <a:lnTo>
                      <a:pt x="34" y="40"/>
                    </a:lnTo>
                    <a:lnTo>
                      <a:pt x="44" y="32"/>
                    </a:lnTo>
                    <a:lnTo>
                      <a:pt x="64" y="18"/>
                    </a:lnTo>
                    <a:lnTo>
                      <a:pt x="86" y="8"/>
                    </a:lnTo>
                    <a:lnTo>
                      <a:pt x="110" y="2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4" y="2"/>
                    </a:lnTo>
                    <a:lnTo>
                      <a:pt x="170" y="4"/>
                    </a:lnTo>
                    <a:lnTo>
                      <a:pt x="184" y="6"/>
                    </a:lnTo>
                    <a:lnTo>
                      <a:pt x="196" y="12"/>
                    </a:lnTo>
                    <a:lnTo>
                      <a:pt x="208" y="18"/>
                    </a:lnTo>
                    <a:lnTo>
                      <a:pt x="218" y="24"/>
                    </a:lnTo>
                    <a:lnTo>
                      <a:pt x="228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46" y="60"/>
                    </a:lnTo>
                    <a:lnTo>
                      <a:pt x="250" y="72"/>
                    </a:lnTo>
                    <a:lnTo>
                      <a:pt x="254" y="84"/>
                    </a:lnTo>
                    <a:lnTo>
                      <a:pt x="256" y="112"/>
                    </a:lnTo>
                    <a:lnTo>
                      <a:pt x="254" y="142"/>
                    </a:lnTo>
                    <a:lnTo>
                      <a:pt x="86" y="142"/>
                    </a:lnTo>
                    <a:close/>
                    <a:moveTo>
                      <a:pt x="172" y="98"/>
                    </a:moveTo>
                    <a:lnTo>
                      <a:pt x="172" y="98"/>
                    </a:lnTo>
                    <a:lnTo>
                      <a:pt x="172" y="88"/>
                    </a:lnTo>
                    <a:lnTo>
                      <a:pt x="170" y="78"/>
                    </a:lnTo>
                    <a:lnTo>
                      <a:pt x="168" y="70"/>
                    </a:lnTo>
                    <a:lnTo>
                      <a:pt x="164" y="62"/>
                    </a:lnTo>
                    <a:lnTo>
                      <a:pt x="164" y="62"/>
                    </a:lnTo>
                    <a:lnTo>
                      <a:pt x="158" y="56"/>
                    </a:lnTo>
                    <a:lnTo>
                      <a:pt x="150" y="50"/>
                    </a:lnTo>
                    <a:lnTo>
                      <a:pt x="142" y="48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22" y="48"/>
                    </a:lnTo>
                    <a:lnTo>
                      <a:pt x="114" y="52"/>
                    </a:lnTo>
                    <a:lnTo>
                      <a:pt x="106" y="56"/>
                    </a:lnTo>
                    <a:lnTo>
                      <a:pt x="102" y="62"/>
                    </a:lnTo>
                    <a:lnTo>
                      <a:pt x="96" y="70"/>
                    </a:lnTo>
                    <a:lnTo>
                      <a:pt x="94" y="78"/>
                    </a:lnTo>
                    <a:lnTo>
                      <a:pt x="90" y="98"/>
                    </a:lnTo>
                    <a:lnTo>
                      <a:pt x="172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16"/>
              <p:cNvSpPr>
                <a:spLocks/>
              </p:cNvSpPr>
              <p:nvPr/>
            </p:nvSpPr>
            <p:spPr bwMode="auto">
              <a:xfrm>
                <a:off x="1314450" y="352425"/>
                <a:ext cx="196850" cy="542925"/>
              </a:xfrm>
              <a:custGeom>
                <a:avLst/>
                <a:gdLst>
                  <a:gd name="T0" fmla="*/ 24 w 124"/>
                  <a:gd name="T1" fmla="*/ 0 h 342"/>
                  <a:gd name="T2" fmla="*/ 124 w 124"/>
                  <a:gd name="T3" fmla="*/ 0 h 342"/>
                  <a:gd name="T4" fmla="*/ 100 w 124"/>
                  <a:gd name="T5" fmla="*/ 342 h 342"/>
                  <a:gd name="T6" fmla="*/ 0 w 124"/>
                  <a:gd name="T7" fmla="*/ 342 h 342"/>
                  <a:gd name="T8" fmla="*/ 24 w 124"/>
                  <a:gd name="T9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342">
                    <a:moveTo>
                      <a:pt x="24" y="0"/>
                    </a:moveTo>
                    <a:lnTo>
                      <a:pt x="124" y="0"/>
                    </a:lnTo>
                    <a:lnTo>
                      <a:pt x="100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17"/>
              <p:cNvSpPr>
                <a:spLocks/>
              </p:cNvSpPr>
              <p:nvPr/>
            </p:nvSpPr>
            <p:spPr bwMode="auto">
              <a:xfrm>
                <a:off x="1498600" y="352425"/>
                <a:ext cx="368300" cy="542925"/>
              </a:xfrm>
              <a:custGeom>
                <a:avLst/>
                <a:gdLst>
                  <a:gd name="T0" fmla="*/ 120 w 232"/>
                  <a:gd name="T1" fmla="*/ 0 h 342"/>
                  <a:gd name="T2" fmla="*/ 0 w 232"/>
                  <a:gd name="T3" fmla="*/ 152 h 342"/>
                  <a:gd name="T4" fmla="*/ 106 w 232"/>
                  <a:gd name="T5" fmla="*/ 342 h 342"/>
                  <a:gd name="T6" fmla="*/ 226 w 232"/>
                  <a:gd name="T7" fmla="*/ 342 h 342"/>
                  <a:gd name="T8" fmla="*/ 106 w 232"/>
                  <a:gd name="T9" fmla="*/ 148 h 342"/>
                  <a:gd name="T10" fmla="*/ 232 w 232"/>
                  <a:gd name="T11" fmla="*/ 0 h 342"/>
                  <a:gd name="T12" fmla="*/ 120 w 232"/>
                  <a:gd name="T13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2" h="342">
                    <a:moveTo>
                      <a:pt x="120" y="0"/>
                    </a:moveTo>
                    <a:lnTo>
                      <a:pt x="0" y="152"/>
                    </a:lnTo>
                    <a:lnTo>
                      <a:pt x="106" y="342"/>
                    </a:lnTo>
                    <a:lnTo>
                      <a:pt x="226" y="342"/>
                    </a:lnTo>
                    <a:lnTo>
                      <a:pt x="106" y="148"/>
                    </a:lnTo>
                    <a:lnTo>
                      <a:pt x="232" y="0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18"/>
              <p:cNvSpPr>
                <a:spLocks/>
              </p:cNvSpPr>
              <p:nvPr/>
            </p:nvSpPr>
            <p:spPr bwMode="auto">
              <a:xfrm>
                <a:off x="1876425" y="517525"/>
                <a:ext cx="158750" cy="377825"/>
              </a:xfrm>
              <a:custGeom>
                <a:avLst/>
                <a:gdLst>
                  <a:gd name="T0" fmla="*/ 16 w 100"/>
                  <a:gd name="T1" fmla="*/ 0 h 238"/>
                  <a:gd name="T2" fmla="*/ 100 w 100"/>
                  <a:gd name="T3" fmla="*/ 0 h 238"/>
                  <a:gd name="T4" fmla="*/ 84 w 100"/>
                  <a:gd name="T5" fmla="*/ 238 h 238"/>
                  <a:gd name="T6" fmla="*/ 0 w 100"/>
                  <a:gd name="T7" fmla="*/ 238 h 238"/>
                  <a:gd name="T8" fmla="*/ 16 w 100"/>
                  <a:gd name="T9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238">
                    <a:moveTo>
                      <a:pt x="16" y="0"/>
                    </a:moveTo>
                    <a:lnTo>
                      <a:pt x="100" y="0"/>
                    </a:lnTo>
                    <a:lnTo>
                      <a:pt x="84" y="238"/>
                    </a:lnTo>
                    <a:lnTo>
                      <a:pt x="0" y="238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19"/>
              <p:cNvSpPr>
                <a:spLocks/>
              </p:cNvSpPr>
              <p:nvPr/>
            </p:nvSpPr>
            <p:spPr bwMode="auto">
              <a:xfrm>
                <a:off x="2038350" y="504825"/>
                <a:ext cx="692150" cy="390525"/>
              </a:xfrm>
              <a:custGeom>
                <a:avLst/>
                <a:gdLst>
                  <a:gd name="T0" fmla="*/ 106 w 436"/>
                  <a:gd name="T1" fmla="*/ 40 h 246"/>
                  <a:gd name="T2" fmla="*/ 106 w 436"/>
                  <a:gd name="T3" fmla="*/ 40 h 246"/>
                  <a:gd name="T4" fmla="*/ 128 w 436"/>
                  <a:gd name="T5" fmla="*/ 20 h 246"/>
                  <a:gd name="T6" fmla="*/ 150 w 436"/>
                  <a:gd name="T7" fmla="*/ 8 h 246"/>
                  <a:gd name="T8" fmla="*/ 172 w 436"/>
                  <a:gd name="T9" fmla="*/ 2 h 246"/>
                  <a:gd name="T10" fmla="*/ 192 w 436"/>
                  <a:gd name="T11" fmla="*/ 2 h 246"/>
                  <a:gd name="T12" fmla="*/ 216 w 436"/>
                  <a:gd name="T13" fmla="*/ 6 h 246"/>
                  <a:gd name="T14" fmla="*/ 238 w 436"/>
                  <a:gd name="T15" fmla="*/ 14 h 246"/>
                  <a:gd name="T16" fmla="*/ 254 w 436"/>
                  <a:gd name="T17" fmla="*/ 28 h 246"/>
                  <a:gd name="T18" fmla="*/ 264 w 436"/>
                  <a:gd name="T19" fmla="*/ 44 h 246"/>
                  <a:gd name="T20" fmla="*/ 272 w 436"/>
                  <a:gd name="T21" fmla="*/ 34 h 246"/>
                  <a:gd name="T22" fmla="*/ 290 w 436"/>
                  <a:gd name="T23" fmla="*/ 18 h 246"/>
                  <a:gd name="T24" fmla="*/ 312 w 436"/>
                  <a:gd name="T25" fmla="*/ 8 h 246"/>
                  <a:gd name="T26" fmla="*/ 338 w 436"/>
                  <a:gd name="T27" fmla="*/ 2 h 246"/>
                  <a:gd name="T28" fmla="*/ 352 w 436"/>
                  <a:gd name="T29" fmla="*/ 0 h 246"/>
                  <a:gd name="T30" fmla="*/ 386 w 436"/>
                  <a:gd name="T31" fmla="*/ 6 h 246"/>
                  <a:gd name="T32" fmla="*/ 414 w 436"/>
                  <a:gd name="T33" fmla="*/ 24 h 246"/>
                  <a:gd name="T34" fmla="*/ 432 w 436"/>
                  <a:gd name="T35" fmla="*/ 50 h 246"/>
                  <a:gd name="T36" fmla="*/ 436 w 436"/>
                  <a:gd name="T37" fmla="*/ 86 h 246"/>
                  <a:gd name="T38" fmla="*/ 332 w 436"/>
                  <a:gd name="T39" fmla="*/ 246 h 246"/>
                  <a:gd name="T40" fmla="*/ 342 w 436"/>
                  <a:gd name="T41" fmla="*/ 106 h 246"/>
                  <a:gd name="T42" fmla="*/ 342 w 436"/>
                  <a:gd name="T43" fmla="*/ 80 h 246"/>
                  <a:gd name="T44" fmla="*/ 336 w 436"/>
                  <a:gd name="T45" fmla="*/ 66 h 246"/>
                  <a:gd name="T46" fmla="*/ 322 w 436"/>
                  <a:gd name="T47" fmla="*/ 58 h 246"/>
                  <a:gd name="T48" fmla="*/ 312 w 436"/>
                  <a:gd name="T49" fmla="*/ 58 h 246"/>
                  <a:gd name="T50" fmla="*/ 288 w 436"/>
                  <a:gd name="T51" fmla="*/ 66 h 246"/>
                  <a:gd name="T52" fmla="*/ 276 w 436"/>
                  <a:gd name="T53" fmla="*/ 82 h 246"/>
                  <a:gd name="T54" fmla="*/ 270 w 436"/>
                  <a:gd name="T55" fmla="*/ 100 h 246"/>
                  <a:gd name="T56" fmla="*/ 260 w 436"/>
                  <a:gd name="T57" fmla="*/ 246 h 246"/>
                  <a:gd name="T58" fmla="*/ 180 w 436"/>
                  <a:gd name="T59" fmla="*/ 106 h 246"/>
                  <a:gd name="T60" fmla="*/ 178 w 436"/>
                  <a:gd name="T61" fmla="*/ 88 h 246"/>
                  <a:gd name="T62" fmla="*/ 174 w 436"/>
                  <a:gd name="T63" fmla="*/ 72 h 246"/>
                  <a:gd name="T64" fmla="*/ 164 w 436"/>
                  <a:gd name="T65" fmla="*/ 62 h 246"/>
                  <a:gd name="T66" fmla="*/ 148 w 436"/>
                  <a:gd name="T67" fmla="*/ 58 h 246"/>
                  <a:gd name="T68" fmla="*/ 132 w 436"/>
                  <a:gd name="T69" fmla="*/ 60 h 246"/>
                  <a:gd name="T70" fmla="*/ 114 w 436"/>
                  <a:gd name="T71" fmla="*/ 72 h 246"/>
                  <a:gd name="T72" fmla="*/ 104 w 436"/>
                  <a:gd name="T73" fmla="*/ 92 h 246"/>
                  <a:gd name="T74" fmla="*/ 102 w 436"/>
                  <a:gd name="T75" fmla="*/ 110 h 246"/>
                  <a:gd name="T76" fmla="*/ 0 w 436"/>
                  <a:gd name="T77" fmla="*/ 246 h 246"/>
                  <a:gd name="T78" fmla="*/ 106 w 436"/>
                  <a:gd name="T79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36" h="246">
                    <a:moveTo>
                      <a:pt x="106" y="8"/>
                    </a:moveTo>
                    <a:lnTo>
                      <a:pt x="106" y="40"/>
                    </a:lnTo>
                    <a:lnTo>
                      <a:pt x="106" y="40"/>
                    </a:lnTo>
                    <a:lnTo>
                      <a:pt x="106" y="40"/>
                    </a:lnTo>
                    <a:lnTo>
                      <a:pt x="118" y="28"/>
                    </a:lnTo>
                    <a:lnTo>
                      <a:pt x="128" y="20"/>
                    </a:lnTo>
                    <a:lnTo>
                      <a:pt x="140" y="12"/>
                    </a:lnTo>
                    <a:lnTo>
                      <a:pt x="150" y="8"/>
                    </a:lnTo>
                    <a:lnTo>
                      <a:pt x="162" y="4"/>
                    </a:lnTo>
                    <a:lnTo>
                      <a:pt x="172" y="2"/>
                    </a:lnTo>
                    <a:lnTo>
                      <a:pt x="192" y="2"/>
                    </a:lnTo>
                    <a:lnTo>
                      <a:pt x="192" y="2"/>
                    </a:lnTo>
                    <a:lnTo>
                      <a:pt x="204" y="2"/>
                    </a:lnTo>
                    <a:lnTo>
                      <a:pt x="216" y="6"/>
                    </a:lnTo>
                    <a:lnTo>
                      <a:pt x="228" y="8"/>
                    </a:lnTo>
                    <a:lnTo>
                      <a:pt x="238" y="14"/>
                    </a:lnTo>
                    <a:lnTo>
                      <a:pt x="246" y="20"/>
                    </a:lnTo>
                    <a:lnTo>
                      <a:pt x="254" y="28"/>
                    </a:lnTo>
                    <a:lnTo>
                      <a:pt x="260" y="36"/>
                    </a:lnTo>
                    <a:lnTo>
                      <a:pt x="264" y="44"/>
                    </a:lnTo>
                    <a:lnTo>
                      <a:pt x="264" y="44"/>
                    </a:lnTo>
                    <a:lnTo>
                      <a:pt x="272" y="34"/>
                    </a:lnTo>
                    <a:lnTo>
                      <a:pt x="280" y="26"/>
                    </a:lnTo>
                    <a:lnTo>
                      <a:pt x="290" y="18"/>
                    </a:lnTo>
                    <a:lnTo>
                      <a:pt x="302" y="12"/>
                    </a:lnTo>
                    <a:lnTo>
                      <a:pt x="312" y="8"/>
                    </a:lnTo>
                    <a:lnTo>
                      <a:pt x="326" y="4"/>
                    </a:lnTo>
                    <a:lnTo>
                      <a:pt x="338" y="2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70" y="2"/>
                    </a:lnTo>
                    <a:lnTo>
                      <a:pt x="386" y="6"/>
                    </a:lnTo>
                    <a:lnTo>
                      <a:pt x="402" y="14"/>
                    </a:lnTo>
                    <a:lnTo>
                      <a:pt x="414" y="24"/>
                    </a:lnTo>
                    <a:lnTo>
                      <a:pt x="424" y="36"/>
                    </a:lnTo>
                    <a:lnTo>
                      <a:pt x="432" y="50"/>
                    </a:lnTo>
                    <a:lnTo>
                      <a:pt x="436" y="68"/>
                    </a:lnTo>
                    <a:lnTo>
                      <a:pt x="436" y="86"/>
                    </a:lnTo>
                    <a:lnTo>
                      <a:pt x="424" y="246"/>
                    </a:lnTo>
                    <a:lnTo>
                      <a:pt x="332" y="246"/>
                    </a:lnTo>
                    <a:lnTo>
                      <a:pt x="342" y="106"/>
                    </a:lnTo>
                    <a:lnTo>
                      <a:pt x="342" y="106"/>
                    </a:lnTo>
                    <a:lnTo>
                      <a:pt x="342" y="88"/>
                    </a:lnTo>
                    <a:lnTo>
                      <a:pt x="342" y="80"/>
                    </a:lnTo>
                    <a:lnTo>
                      <a:pt x="340" y="74"/>
                    </a:lnTo>
                    <a:lnTo>
                      <a:pt x="336" y="66"/>
                    </a:lnTo>
                    <a:lnTo>
                      <a:pt x="330" y="62"/>
                    </a:lnTo>
                    <a:lnTo>
                      <a:pt x="322" y="58"/>
                    </a:lnTo>
                    <a:lnTo>
                      <a:pt x="312" y="58"/>
                    </a:lnTo>
                    <a:lnTo>
                      <a:pt x="312" y="58"/>
                    </a:lnTo>
                    <a:lnTo>
                      <a:pt x="298" y="60"/>
                    </a:lnTo>
                    <a:lnTo>
                      <a:pt x="288" y="66"/>
                    </a:lnTo>
                    <a:lnTo>
                      <a:pt x="280" y="72"/>
                    </a:lnTo>
                    <a:lnTo>
                      <a:pt x="276" y="82"/>
                    </a:lnTo>
                    <a:lnTo>
                      <a:pt x="272" y="92"/>
                    </a:lnTo>
                    <a:lnTo>
                      <a:pt x="270" y="100"/>
                    </a:lnTo>
                    <a:lnTo>
                      <a:pt x="270" y="110"/>
                    </a:lnTo>
                    <a:lnTo>
                      <a:pt x="260" y="246"/>
                    </a:lnTo>
                    <a:lnTo>
                      <a:pt x="170" y="246"/>
                    </a:lnTo>
                    <a:lnTo>
                      <a:pt x="180" y="106"/>
                    </a:lnTo>
                    <a:lnTo>
                      <a:pt x="180" y="106"/>
                    </a:lnTo>
                    <a:lnTo>
                      <a:pt x="178" y="88"/>
                    </a:lnTo>
                    <a:lnTo>
                      <a:pt x="178" y="80"/>
                    </a:lnTo>
                    <a:lnTo>
                      <a:pt x="174" y="72"/>
                    </a:lnTo>
                    <a:lnTo>
                      <a:pt x="170" y="66"/>
                    </a:lnTo>
                    <a:lnTo>
                      <a:pt x="164" y="62"/>
                    </a:lnTo>
                    <a:lnTo>
                      <a:pt x="15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32" y="60"/>
                    </a:lnTo>
                    <a:lnTo>
                      <a:pt x="122" y="66"/>
                    </a:lnTo>
                    <a:lnTo>
                      <a:pt x="114" y="72"/>
                    </a:lnTo>
                    <a:lnTo>
                      <a:pt x="108" y="82"/>
                    </a:lnTo>
                    <a:lnTo>
                      <a:pt x="104" y="92"/>
                    </a:lnTo>
                    <a:lnTo>
                      <a:pt x="104" y="100"/>
                    </a:lnTo>
                    <a:lnTo>
                      <a:pt x="102" y="110"/>
                    </a:lnTo>
                    <a:lnTo>
                      <a:pt x="94" y="246"/>
                    </a:lnTo>
                    <a:lnTo>
                      <a:pt x="0" y="246"/>
                    </a:lnTo>
                    <a:lnTo>
                      <a:pt x="16" y="8"/>
                    </a:lnTo>
                    <a:lnTo>
                      <a:pt x="106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20"/>
              <p:cNvSpPr>
                <a:spLocks/>
              </p:cNvSpPr>
              <p:nvPr/>
            </p:nvSpPr>
            <p:spPr bwMode="auto">
              <a:xfrm>
                <a:off x="4064000" y="517525"/>
                <a:ext cx="454025" cy="558800"/>
              </a:xfrm>
              <a:custGeom>
                <a:avLst/>
                <a:gdLst>
                  <a:gd name="T0" fmla="*/ 116 w 286"/>
                  <a:gd name="T1" fmla="*/ 352 h 352"/>
                  <a:gd name="T2" fmla="*/ 34 w 286"/>
                  <a:gd name="T3" fmla="*/ 352 h 352"/>
                  <a:gd name="T4" fmla="*/ 86 w 286"/>
                  <a:gd name="T5" fmla="*/ 242 h 352"/>
                  <a:gd name="T6" fmla="*/ 0 w 286"/>
                  <a:gd name="T7" fmla="*/ 0 h 352"/>
                  <a:gd name="T8" fmla="*/ 100 w 286"/>
                  <a:gd name="T9" fmla="*/ 0 h 352"/>
                  <a:gd name="T10" fmla="*/ 140 w 286"/>
                  <a:gd name="T11" fmla="*/ 148 h 352"/>
                  <a:gd name="T12" fmla="*/ 202 w 286"/>
                  <a:gd name="T13" fmla="*/ 0 h 352"/>
                  <a:gd name="T14" fmla="*/ 286 w 286"/>
                  <a:gd name="T15" fmla="*/ 0 h 352"/>
                  <a:gd name="T16" fmla="*/ 116 w 286"/>
                  <a:gd name="T17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6" h="352">
                    <a:moveTo>
                      <a:pt x="116" y="352"/>
                    </a:moveTo>
                    <a:lnTo>
                      <a:pt x="34" y="352"/>
                    </a:lnTo>
                    <a:lnTo>
                      <a:pt x="86" y="242"/>
                    </a:lnTo>
                    <a:lnTo>
                      <a:pt x="0" y="0"/>
                    </a:lnTo>
                    <a:lnTo>
                      <a:pt x="100" y="0"/>
                    </a:lnTo>
                    <a:lnTo>
                      <a:pt x="140" y="148"/>
                    </a:lnTo>
                    <a:lnTo>
                      <a:pt x="202" y="0"/>
                    </a:lnTo>
                    <a:lnTo>
                      <a:pt x="286" y="0"/>
                    </a:lnTo>
                    <a:lnTo>
                      <a:pt x="116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21"/>
              <p:cNvSpPr>
                <a:spLocks/>
              </p:cNvSpPr>
              <p:nvPr/>
            </p:nvSpPr>
            <p:spPr bwMode="auto">
              <a:xfrm>
                <a:off x="4473575" y="593725"/>
                <a:ext cx="241300" cy="117475"/>
              </a:xfrm>
              <a:custGeom>
                <a:avLst/>
                <a:gdLst>
                  <a:gd name="T0" fmla="*/ 36 w 152"/>
                  <a:gd name="T1" fmla="*/ 0 h 74"/>
                  <a:gd name="T2" fmla="*/ 152 w 152"/>
                  <a:gd name="T3" fmla="*/ 0 h 74"/>
                  <a:gd name="T4" fmla="*/ 114 w 152"/>
                  <a:gd name="T5" fmla="*/ 74 h 74"/>
                  <a:gd name="T6" fmla="*/ 0 w 152"/>
                  <a:gd name="T7" fmla="*/ 74 h 74"/>
                  <a:gd name="T8" fmla="*/ 36 w 152"/>
                  <a:gd name="T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74">
                    <a:moveTo>
                      <a:pt x="36" y="0"/>
                    </a:moveTo>
                    <a:lnTo>
                      <a:pt x="152" y="0"/>
                    </a:lnTo>
                    <a:lnTo>
                      <a:pt x="114" y="74"/>
                    </a:lnTo>
                    <a:lnTo>
                      <a:pt x="0" y="7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" name="Freeform 22"/>
              <p:cNvSpPr>
                <a:spLocks/>
              </p:cNvSpPr>
              <p:nvPr/>
            </p:nvSpPr>
            <p:spPr bwMode="auto">
              <a:xfrm>
                <a:off x="4721225" y="339725"/>
                <a:ext cx="504825" cy="558800"/>
              </a:xfrm>
              <a:custGeom>
                <a:avLst/>
                <a:gdLst>
                  <a:gd name="T0" fmla="*/ 180 w 318"/>
                  <a:gd name="T1" fmla="*/ 0 h 352"/>
                  <a:gd name="T2" fmla="*/ 232 w 318"/>
                  <a:gd name="T3" fmla="*/ 6 h 352"/>
                  <a:gd name="T4" fmla="*/ 266 w 318"/>
                  <a:gd name="T5" fmla="*/ 20 h 352"/>
                  <a:gd name="T6" fmla="*/ 286 w 318"/>
                  <a:gd name="T7" fmla="*/ 32 h 352"/>
                  <a:gd name="T8" fmla="*/ 302 w 318"/>
                  <a:gd name="T9" fmla="*/ 50 h 352"/>
                  <a:gd name="T10" fmla="*/ 312 w 318"/>
                  <a:gd name="T11" fmla="*/ 74 h 352"/>
                  <a:gd name="T12" fmla="*/ 318 w 318"/>
                  <a:gd name="T13" fmla="*/ 100 h 352"/>
                  <a:gd name="T14" fmla="*/ 222 w 318"/>
                  <a:gd name="T15" fmla="*/ 116 h 352"/>
                  <a:gd name="T16" fmla="*/ 222 w 318"/>
                  <a:gd name="T17" fmla="*/ 108 h 352"/>
                  <a:gd name="T18" fmla="*/ 216 w 318"/>
                  <a:gd name="T19" fmla="*/ 90 h 352"/>
                  <a:gd name="T20" fmla="*/ 204 w 318"/>
                  <a:gd name="T21" fmla="*/ 76 h 352"/>
                  <a:gd name="T22" fmla="*/ 188 w 318"/>
                  <a:gd name="T23" fmla="*/ 68 h 352"/>
                  <a:gd name="T24" fmla="*/ 176 w 318"/>
                  <a:gd name="T25" fmla="*/ 68 h 352"/>
                  <a:gd name="T26" fmla="*/ 150 w 318"/>
                  <a:gd name="T27" fmla="*/ 72 h 352"/>
                  <a:gd name="T28" fmla="*/ 128 w 318"/>
                  <a:gd name="T29" fmla="*/ 88 h 352"/>
                  <a:gd name="T30" fmla="*/ 108 w 318"/>
                  <a:gd name="T31" fmla="*/ 118 h 352"/>
                  <a:gd name="T32" fmla="*/ 98 w 318"/>
                  <a:gd name="T33" fmla="*/ 162 h 352"/>
                  <a:gd name="T34" fmla="*/ 96 w 318"/>
                  <a:gd name="T35" fmla="*/ 188 h 352"/>
                  <a:gd name="T36" fmla="*/ 98 w 318"/>
                  <a:gd name="T37" fmla="*/ 234 h 352"/>
                  <a:gd name="T38" fmla="*/ 112 w 318"/>
                  <a:gd name="T39" fmla="*/ 266 h 352"/>
                  <a:gd name="T40" fmla="*/ 122 w 318"/>
                  <a:gd name="T41" fmla="*/ 278 h 352"/>
                  <a:gd name="T42" fmla="*/ 138 w 318"/>
                  <a:gd name="T43" fmla="*/ 284 h 352"/>
                  <a:gd name="T44" fmla="*/ 158 w 318"/>
                  <a:gd name="T45" fmla="*/ 288 h 352"/>
                  <a:gd name="T46" fmla="*/ 174 w 318"/>
                  <a:gd name="T47" fmla="*/ 286 h 352"/>
                  <a:gd name="T48" fmla="*/ 198 w 318"/>
                  <a:gd name="T49" fmla="*/ 274 h 352"/>
                  <a:gd name="T50" fmla="*/ 212 w 318"/>
                  <a:gd name="T51" fmla="*/ 256 h 352"/>
                  <a:gd name="T52" fmla="*/ 218 w 318"/>
                  <a:gd name="T53" fmla="*/ 236 h 352"/>
                  <a:gd name="T54" fmla="*/ 314 w 318"/>
                  <a:gd name="T55" fmla="*/ 236 h 352"/>
                  <a:gd name="T56" fmla="*/ 306 w 318"/>
                  <a:gd name="T57" fmla="*/ 270 h 352"/>
                  <a:gd name="T58" fmla="*/ 290 w 318"/>
                  <a:gd name="T59" fmla="*/ 300 h 352"/>
                  <a:gd name="T60" fmla="*/ 272 w 318"/>
                  <a:gd name="T61" fmla="*/ 318 h 352"/>
                  <a:gd name="T62" fmla="*/ 248 w 318"/>
                  <a:gd name="T63" fmla="*/ 334 h 352"/>
                  <a:gd name="T64" fmla="*/ 216 w 318"/>
                  <a:gd name="T65" fmla="*/ 346 h 352"/>
                  <a:gd name="T66" fmla="*/ 176 w 318"/>
                  <a:gd name="T67" fmla="*/ 352 h 352"/>
                  <a:gd name="T68" fmla="*/ 152 w 318"/>
                  <a:gd name="T69" fmla="*/ 352 h 352"/>
                  <a:gd name="T70" fmla="*/ 106 w 318"/>
                  <a:gd name="T71" fmla="*/ 348 h 352"/>
                  <a:gd name="T72" fmla="*/ 70 w 318"/>
                  <a:gd name="T73" fmla="*/ 336 h 352"/>
                  <a:gd name="T74" fmla="*/ 42 w 318"/>
                  <a:gd name="T75" fmla="*/ 316 h 352"/>
                  <a:gd name="T76" fmla="*/ 22 w 318"/>
                  <a:gd name="T77" fmla="*/ 292 h 352"/>
                  <a:gd name="T78" fmla="*/ 8 w 318"/>
                  <a:gd name="T79" fmla="*/ 262 h 352"/>
                  <a:gd name="T80" fmla="*/ 2 w 318"/>
                  <a:gd name="T81" fmla="*/ 230 h 352"/>
                  <a:gd name="T82" fmla="*/ 0 w 318"/>
                  <a:gd name="T83" fmla="*/ 194 h 352"/>
                  <a:gd name="T84" fmla="*/ 2 w 318"/>
                  <a:gd name="T85" fmla="*/ 160 h 352"/>
                  <a:gd name="T86" fmla="*/ 18 w 318"/>
                  <a:gd name="T87" fmla="*/ 102 h 352"/>
                  <a:gd name="T88" fmla="*/ 32 w 318"/>
                  <a:gd name="T89" fmla="*/ 74 h 352"/>
                  <a:gd name="T90" fmla="*/ 52 w 318"/>
                  <a:gd name="T91" fmla="*/ 50 h 352"/>
                  <a:gd name="T92" fmla="*/ 76 w 318"/>
                  <a:gd name="T93" fmla="*/ 30 h 352"/>
                  <a:gd name="T94" fmla="*/ 106 w 318"/>
                  <a:gd name="T95" fmla="*/ 14 h 352"/>
                  <a:gd name="T96" fmla="*/ 140 w 318"/>
                  <a:gd name="T97" fmla="*/ 4 h 352"/>
                  <a:gd name="T98" fmla="*/ 180 w 318"/>
                  <a:gd name="T99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18" h="352">
                    <a:moveTo>
                      <a:pt x="180" y="0"/>
                    </a:moveTo>
                    <a:lnTo>
                      <a:pt x="180" y="0"/>
                    </a:lnTo>
                    <a:lnTo>
                      <a:pt x="206" y="0"/>
                    </a:lnTo>
                    <a:lnTo>
                      <a:pt x="232" y="6"/>
                    </a:lnTo>
                    <a:lnTo>
                      <a:pt x="256" y="14"/>
                    </a:lnTo>
                    <a:lnTo>
                      <a:pt x="266" y="20"/>
                    </a:lnTo>
                    <a:lnTo>
                      <a:pt x="276" y="26"/>
                    </a:lnTo>
                    <a:lnTo>
                      <a:pt x="286" y="32"/>
                    </a:lnTo>
                    <a:lnTo>
                      <a:pt x="294" y="42"/>
                    </a:lnTo>
                    <a:lnTo>
                      <a:pt x="302" y="50"/>
                    </a:lnTo>
                    <a:lnTo>
                      <a:pt x="308" y="62"/>
                    </a:lnTo>
                    <a:lnTo>
                      <a:pt x="312" y="74"/>
                    </a:lnTo>
                    <a:lnTo>
                      <a:pt x="316" y="86"/>
                    </a:lnTo>
                    <a:lnTo>
                      <a:pt x="318" y="100"/>
                    </a:lnTo>
                    <a:lnTo>
                      <a:pt x="318" y="116"/>
                    </a:lnTo>
                    <a:lnTo>
                      <a:pt x="222" y="116"/>
                    </a:lnTo>
                    <a:lnTo>
                      <a:pt x="222" y="116"/>
                    </a:lnTo>
                    <a:lnTo>
                      <a:pt x="222" y="108"/>
                    </a:lnTo>
                    <a:lnTo>
                      <a:pt x="220" y="98"/>
                    </a:lnTo>
                    <a:lnTo>
                      <a:pt x="216" y="90"/>
                    </a:lnTo>
                    <a:lnTo>
                      <a:pt x="212" y="84"/>
                    </a:lnTo>
                    <a:lnTo>
                      <a:pt x="204" y="76"/>
                    </a:lnTo>
                    <a:lnTo>
                      <a:pt x="198" y="72"/>
                    </a:lnTo>
                    <a:lnTo>
                      <a:pt x="188" y="68"/>
                    </a:lnTo>
                    <a:lnTo>
                      <a:pt x="176" y="68"/>
                    </a:lnTo>
                    <a:lnTo>
                      <a:pt x="176" y="68"/>
                    </a:lnTo>
                    <a:lnTo>
                      <a:pt x="164" y="68"/>
                    </a:lnTo>
                    <a:lnTo>
                      <a:pt x="150" y="72"/>
                    </a:lnTo>
                    <a:lnTo>
                      <a:pt x="138" y="80"/>
                    </a:lnTo>
                    <a:lnTo>
                      <a:pt x="128" y="88"/>
                    </a:lnTo>
                    <a:lnTo>
                      <a:pt x="118" y="102"/>
                    </a:lnTo>
                    <a:lnTo>
                      <a:pt x="108" y="118"/>
                    </a:lnTo>
                    <a:lnTo>
                      <a:pt x="102" y="138"/>
                    </a:lnTo>
                    <a:lnTo>
                      <a:pt x="98" y="162"/>
                    </a:lnTo>
                    <a:lnTo>
                      <a:pt x="98" y="162"/>
                    </a:lnTo>
                    <a:lnTo>
                      <a:pt x="96" y="188"/>
                    </a:lnTo>
                    <a:lnTo>
                      <a:pt x="96" y="212"/>
                    </a:lnTo>
                    <a:lnTo>
                      <a:pt x="98" y="234"/>
                    </a:lnTo>
                    <a:lnTo>
                      <a:pt x="104" y="252"/>
                    </a:lnTo>
                    <a:lnTo>
                      <a:pt x="112" y="266"/>
                    </a:lnTo>
                    <a:lnTo>
                      <a:pt x="116" y="272"/>
                    </a:lnTo>
                    <a:lnTo>
                      <a:pt x="122" y="278"/>
                    </a:lnTo>
                    <a:lnTo>
                      <a:pt x="130" y="282"/>
                    </a:lnTo>
                    <a:lnTo>
                      <a:pt x="138" y="284"/>
                    </a:lnTo>
                    <a:lnTo>
                      <a:pt x="148" y="286"/>
                    </a:lnTo>
                    <a:lnTo>
                      <a:pt x="158" y="288"/>
                    </a:lnTo>
                    <a:lnTo>
                      <a:pt x="158" y="288"/>
                    </a:lnTo>
                    <a:lnTo>
                      <a:pt x="174" y="286"/>
                    </a:lnTo>
                    <a:lnTo>
                      <a:pt x="188" y="280"/>
                    </a:lnTo>
                    <a:lnTo>
                      <a:pt x="198" y="274"/>
                    </a:lnTo>
                    <a:lnTo>
                      <a:pt x="206" y="264"/>
                    </a:lnTo>
                    <a:lnTo>
                      <a:pt x="212" y="256"/>
                    </a:lnTo>
                    <a:lnTo>
                      <a:pt x="214" y="248"/>
                    </a:lnTo>
                    <a:lnTo>
                      <a:pt x="218" y="236"/>
                    </a:lnTo>
                    <a:lnTo>
                      <a:pt x="314" y="236"/>
                    </a:lnTo>
                    <a:lnTo>
                      <a:pt x="314" y="236"/>
                    </a:lnTo>
                    <a:lnTo>
                      <a:pt x="312" y="252"/>
                    </a:lnTo>
                    <a:lnTo>
                      <a:pt x="306" y="270"/>
                    </a:lnTo>
                    <a:lnTo>
                      <a:pt x="296" y="290"/>
                    </a:lnTo>
                    <a:lnTo>
                      <a:pt x="290" y="300"/>
                    </a:lnTo>
                    <a:lnTo>
                      <a:pt x="282" y="308"/>
                    </a:lnTo>
                    <a:lnTo>
                      <a:pt x="272" y="318"/>
                    </a:lnTo>
                    <a:lnTo>
                      <a:pt x="260" y="326"/>
                    </a:lnTo>
                    <a:lnTo>
                      <a:pt x="248" y="334"/>
                    </a:lnTo>
                    <a:lnTo>
                      <a:pt x="232" y="340"/>
                    </a:lnTo>
                    <a:lnTo>
                      <a:pt x="216" y="346"/>
                    </a:lnTo>
                    <a:lnTo>
                      <a:pt x="196" y="350"/>
                    </a:lnTo>
                    <a:lnTo>
                      <a:pt x="176" y="352"/>
                    </a:lnTo>
                    <a:lnTo>
                      <a:pt x="152" y="352"/>
                    </a:lnTo>
                    <a:lnTo>
                      <a:pt x="152" y="352"/>
                    </a:lnTo>
                    <a:lnTo>
                      <a:pt x="128" y="352"/>
                    </a:lnTo>
                    <a:lnTo>
                      <a:pt x="106" y="348"/>
                    </a:lnTo>
                    <a:lnTo>
                      <a:pt x="86" y="342"/>
                    </a:lnTo>
                    <a:lnTo>
                      <a:pt x="70" y="336"/>
                    </a:lnTo>
                    <a:lnTo>
                      <a:pt x="54" y="326"/>
                    </a:lnTo>
                    <a:lnTo>
                      <a:pt x="42" y="316"/>
                    </a:lnTo>
                    <a:lnTo>
                      <a:pt x="30" y="304"/>
                    </a:lnTo>
                    <a:lnTo>
                      <a:pt x="22" y="292"/>
                    </a:lnTo>
                    <a:lnTo>
                      <a:pt x="14" y="276"/>
                    </a:lnTo>
                    <a:lnTo>
                      <a:pt x="8" y="262"/>
                    </a:lnTo>
                    <a:lnTo>
                      <a:pt x="4" y="246"/>
                    </a:lnTo>
                    <a:lnTo>
                      <a:pt x="2" y="230"/>
                    </a:lnTo>
                    <a:lnTo>
                      <a:pt x="0" y="212"/>
                    </a:lnTo>
                    <a:lnTo>
                      <a:pt x="0" y="194"/>
                    </a:lnTo>
                    <a:lnTo>
                      <a:pt x="2" y="160"/>
                    </a:lnTo>
                    <a:lnTo>
                      <a:pt x="2" y="160"/>
                    </a:lnTo>
                    <a:lnTo>
                      <a:pt x="8" y="130"/>
                    </a:lnTo>
                    <a:lnTo>
                      <a:pt x="18" y="102"/>
                    </a:lnTo>
                    <a:lnTo>
                      <a:pt x="24" y="88"/>
                    </a:lnTo>
                    <a:lnTo>
                      <a:pt x="32" y="74"/>
                    </a:lnTo>
                    <a:lnTo>
                      <a:pt x="42" y="62"/>
                    </a:lnTo>
                    <a:lnTo>
                      <a:pt x="52" y="50"/>
                    </a:lnTo>
                    <a:lnTo>
                      <a:pt x="64" y="40"/>
                    </a:lnTo>
                    <a:lnTo>
                      <a:pt x="76" y="30"/>
                    </a:lnTo>
                    <a:lnTo>
                      <a:pt x="90" y="20"/>
                    </a:lnTo>
                    <a:lnTo>
                      <a:pt x="106" y="14"/>
                    </a:lnTo>
                    <a:lnTo>
                      <a:pt x="122" y="8"/>
                    </a:lnTo>
                    <a:lnTo>
                      <a:pt x="140" y="4"/>
                    </a:lnTo>
                    <a:lnTo>
                      <a:pt x="160" y="0"/>
                    </a:lnTo>
                    <a:lnTo>
                      <a:pt x="180" y="0"/>
                    </a:lnTo>
                    <a:lnTo>
                      <a:pt x="18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23"/>
              <p:cNvSpPr>
                <a:spLocks/>
              </p:cNvSpPr>
              <p:nvPr/>
            </p:nvSpPr>
            <p:spPr bwMode="auto">
              <a:xfrm>
                <a:off x="5229225" y="352425"/>
                <a:ext cx="177800" cy="542925"/>
              </a:xfrm>
              <a:custGeom>
                <a:avLst/>
                <a:gdLst>
                  <a:gd name="T0" fmla="*/ 0 w 112"/>
                  <a:gd name="T1" fmla="*/ 342 h 342"/>
                  <a:gd name="T2" fmla="*/ 24 w 112"/>
                  <a:gd name="T3" fmla="*/ 0 h 342"/>
                  <a:gd name="T4" fmla="*/ 112 w 112"/>
                  <a:gd name="T5" fmla="*/ 0 h 342"/>
                  <a:gd name="T6" fmla="*/ 88 w 112"/>
                  <a:gd name="T7" fmla="*/ 342 h 342"/>
                  <a:gd name="T8" fmla="*/ 0 w 112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2" y="0"/>
                    </a:lnTo>
                    <a:lnTo>
                      <a:pt x="88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Freeform 24"/>
              <p:cNvSpPr>
                <a:spLocks/>
              </p:cNvSpPr>
              <p:nvPr/>
            </p:nvSpPr>
            <p:spPr bwMode="auto">
              <a:xfrm>
                <a:off x="5803900" y="517525"/>
                <a:ext cx="295275" cy="377825"/>
              </a:xfrm>
              <a:custGeom>
                <a:avLst/>
                <a:gdLst>
                  <a:gd name="T0" fmla="*/ 106 w 186"/>
                  <a:gd name="T1" fmla="*/ 34 h 238"/>
                  <a:gd name="T2" fmla="*/ 106 w 186"/>
                  <a:gd name="T3" fmla="*/ 34 h 238"/>
                  <a:gd name="T4" fmla="*/ 106 w 186"/>
                  <a:gd name="T5" fmla="*/ 34 h 238"/>
                  <a:gd name="T6" fmla="*/ 116 w 186"/>
                  <a:gd name="T7" fmla="*/ 24 h 238"/>
                  <a:gd name="T8" fmla="*/ 124 w 186"/>
                  <a:gd name="T9" fmla="*/ 16 h 238"/>
                  <a:gd name="T10" fmla="*/ 134 w 186"/>
                  <a:gd name="T11" fmla="*/ 10 h 238"/>
                  <a:gd name="T12" fmla="*/ 144 w 186"/>
                  <a:gd name="T13" fmla="*/ 6 h 238"/>
                  <a:gd name="T14" fmla="*/ 154 w 186"/>
                  <a:gd name="T15" fmla="*/ 4 h 238"/>
                  <a:gd name="T16" fmla="*/ 164 w 186"/>
                  <a:gd name="T17" fmla="*/ 2 h 238"/>
                  <a:gd name="T18" fmla="*/ 186 w 186"/>
                  <a:gd name="T19" fmla="*/ 0 h 238"/>
                  <a:gd name="T20" fmla="*/ 180 w 186"/>
                  <a:gd name="T21" fmla="*/ 76 h 238"/>
                  <a:gd name="T22" fmla="*/ 180 w 186"/>
                  <a:gd name="T23" fmla="*/ 76 h 238"/>
                  <a:gd name="T24" fmla="*/ 162 w 186"/>
                  <a:gd name="T25" fmla="*/ 76 h 238"/>
                  <a:gd name="T26" fmla="*/ 162 w 186"/>
                  <a:gd name="T27" fmla="*/ 76 h 238"/>
                  <a:gd name="T28" fmla="*/ 142 w 186"/>
                  <a:gd name="T29" fmla="*/ 78 h 238"/>
                  <a:gd name="T30" fmla="*/ 126 w 186"/>
                  <a:gd name="T31" fmla="*/ 82 h 238"/>
                  <a:gd name="T32" fmla="*/ 116 w 186"/>
                  <a:gd name="T33" fmla="*/ 88 h 238"/>
                  <a:gd name="T34" fmla="*/ 108 w 186"/>
                  <a:gd name="T35" fmla="*/ 98 h 238"/>
                  <a:gd name="T36" fmla="*/ 104 w 186"/>
                  <a:gd name="T37" fmla="*/ 108 h 238"/>
                  <a:gd name="T38" fmla="*/ 100 w 186"/>
                  <a:gd name="T39" fmla="*/ 120 h 238"/>
                  <a:gd name="T40" fmla="*/ 98 w 186"/>
                  <a:gd name="T41" fmla="*/ 148 h 238"/>
                  <a:gd name="T42" fmla="*/ 92 w 186"/>
                  <a:gd name="T43" fmla="*/ 238 h 238"/>
                  <a:gd name="T44" fmla="*/ 0 w 186"/>
                  <a:gd name="T45" fmla="*/ 238 h 238"/>
                  <a:gd name="T46" fmla="*/ 14 w 186"/>
                  <a:gd name="T47" fmla="*/ 62 h 238"/>
                  <a:gd name="T48" fmla="*/ 14 w 186"/>
                  <a:gd name="T49" fmla="*/ 62 h 238"/>
                  <a:gd name="T50" fmla="*/ 14 w 186"/>
                  <a:gd name="T51" fmla="*/ 32 h 238"/>
                  <a:gd name="T52" fmla="*/ 14 w 186"/>
                  <a:gd name="T53" fmla="*/ 0 h 238"/>
                  <a:gd name="T54" fmla="*/ 102 w 186"/>
                  <a:gd name="T55" fmla="*/ 0 h 238"/>
                  <a:gd name="T56" fmla="*/ 106 w 186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6" h="238">
                    <a:moveTo>
                      <a:pt x="106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6" y="24"/>
                    </a:lnTo>
                    <a:lnTo>
                      <a:pt x="124" y="16"/>
                    </a:lnTo>
                    <a:lnTo>
                      <a:pt x="134" y="10"/>
                    </a:lnTo>
                    <a:lnTo>
                      <a:pt x="144" y="6"/>
                    </a:lnTo>
                    <a:lnTo>
                      <a:pt x="154" y="4"/>
                    </a:lnTo>
                    <a:lnTo>
                      <a:pt x="164" y="2"/>
                    </a:lnTo>
                    <a:lnTo>
                      <a:pt x="186" y="0"/>
                    </a:lnTo>
                    <a:lnTo>
                      <a:pt x="180" y="76"/>
                    </a:lnTo>
                    <a:lnTo>
                      <a:pt x="180" y="76"/>
                    </a:lnTo>
                    <a:lnTo>
                      <a:pt x="162" y="76"/>
                    </a:lnTo>
                    <a:lnTo>
                      <a:pt x="162" y="76"/>
                    </a:lnTo>
                    <a:lnTo>
                      <a:pt x="142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4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6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31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53074" y="553073"/>
            <a:ext cx="3571665" cy="316888"/>
          </a:xfrm>
        </p:spPr>
        <p:txBody>
          <a:bodyPr>
            <a:noAutofit/>
          </a:bodyPr>
          <a:lstStyle>
            <a:lvl1pPr marL="0" indent="0">
              <a:buNone/>
              <a:defRPr sz="1400" b="0" u="none">
                <a:solidFill>
                  <a:schemeClr val="accent1"/>
                </a:solidFill>
              </a:defRPr>
            </a:lvl1pPr>
            <a:lvl2pPr marL="457200" indent="0">
              <a:buNone/>
              <a:defRPr b="0" u="none"/>
            </a:lvl2pPr>
            <a:lvl3pPr marL="914400" indent="0">
              <a:buNone/>
              <a:defRPr b="0" u="none"/>
            </a:lvl3pPr>
            <a:lvl4pPr marL="1371600" indent="0">
              <a:buNone/>
              <a:defRPr b="0" u="none"/>
            </a:lvl4pPr>
            <a:lvl5pPr marL="1828800" indent="0">
              <a:buNone/>
              <a:defRPr b="0" u="none"/>
            </a:lvl5pPr>
          </a:lstStyle>
          <a:p>
            <a:pPr lvl="0"/>
            <a:r>
              <a:rPr lang="en-US"/>
              <a:t>BU/Function/Region</a:t>
            </a:r>
          </a:p>
        </p:txBody>
      </p:sp>
    </p:spTree>
    <p:extLst>
      <p:ext uri="{BB962C8B-B14F-4D97-AF65-F5344CB8AC3E}">
        <p14:creationId xmlns:p14="http://schemas.microsoft.com/office/powerpoint/2010/main" val="3619684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5988" y="2374112"/>
            <a:ext cx="9144000" cy="1708150"/>
          </a:xfrm>
        </p:spPr>
        <p:txBody>
          <a:bodyPr anchor="ctr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5988" y="4174338"/>
            <a:ext cx="9144000" cy="7413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3E7FBFD-78E1-42FB-85FC-D9CE5E3DEFA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70622" y="276225"/>
            <a:ext cx="2165537" cy="271230"/>
            <a:chOff x="158750" y="276225"/>
            <a:chExt cx="6388100" cy="800100"/>
          </a:xfrm>
          <a:solidFill>
            <a:schemeClr val="bg1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158750" y="276225"/>
              <a:ext cx="857250" cy="736600"/>
            </a:xfrm>
            <a:custGeom>
              <a:avLst/>
              <a:gdLst>
                <a:gd name="T0" fmla="*/ 298 w 540"/>
                <a:gd name="T1" fmla="*/ 0 h 464"/>
                <a:gd name="T2" fmla="*/ 374 w 540"/>
                <a:gd name="T3" fmla="*/ 18 h 464"/>
                <a:gd name="T4" fmla="*/ 442 w 540"/>
                <a:gd name="T5" fmla="*/ 52 h 464"/>
                <a:gd name="T6" fmla="*/ 494 w 540"/>
                <a:gd name="T7" fmla="*/ 102 h 464"/>
                <a:gd name="T8" fmla="*/ 528 w 540"/>
                <a:gd name="T9" fmla="*/ 162 h 464"/>
                <a:gd name="T10" fmla="*/ 540 w 540"/>
                <a:gd name="T11" fmla="*/ 232 h 464"/>
                <a:gd name="T12" fmla="*/ 534 w 540"/>
                <a:gd name="T13" fmla="*/ 278 h 464"/>
                <a:gd name="T14" fmla="*/ 506 w 540"/>
                <a:gd name="T15" fmla="*/ 342 h 464"/>
                <a:gd name="T16" fmla="*/ 460 w 540"/>
                <a:gd name="T17" fmla="*/ 396 h 464"/>
                <a:gd name="T18" fmla="*/ 398 w 540"/>
                <a:gd name="T19" fmla="*/ 436 h 464"/>
                <a:gd name="T20" fmla="*/ 324 w 540"/>
                <a:gd name="T21" fmla="*/ 460 h 464"/>
                <a:gd name="T22" fmla="*/ 270 w 540"/>
                <a:gd name="T23" fmla="*/ 464 h 464"/>
                <a:gd name="T24" fmla="*/ 190 w 540"/>
                <a:gd name="T25" fmla="*/ 454 h 464"/>
                <a:gd name="T26" fmla="*/ 118 w 540"/>
                <a:gd name="T27" fmla="*/ 424 h 464"/>
                <a:gd name="T28" fmla="*/ 62 w 540"/>
                <a:gd name="T29" fmla="*/ 380 h 464"/>
                <a:gd name="T30" fmla="*/ 20 w 540"/>
                <a:gd name="T31" fmla="*/ 322 h 464"/>
                <a:gd name="T32" fmla="*/ 2 w 540"/>
                <a:gd name="T33" fmla="*/ 256 h 464"/>
                <a:gd name="T34" fmla="*/ 2 w 540"/>
                <a:gd name="T35" fmla="*/ 208 h 464"/>
                <a:gd name="T36" fmla="*/ 20 w 540"/>
                <a:gd name="T37" fmla="*/ 142 h 464"/>
                <a:gd name="T38" fmla="*/ 62 w 540"/>
                <a:gd name="T39" fmla="*/ 84 h 464"/>
                <a:gd name="T40" fmla="*/ 118 w 540"/>
                <a:gd name="T41" fmla="*/ 40 h 464"/>
                <a:gd name="T42" fmla="*/ 190 w 540"/>
                <a:gd name="T43" fmla="*/ 10 h 464"/>
                <a:gd name="T44" fmla="*/ 270 w 540"/>
                <a:gd name="T45" fmla="*/ 0 h 464"/>
                <a:gd name="T46" fmla="*/ 270 w 540"/>
                <a:gd name="T47" fmla="*/ 232 h 464"/>
                <a:gd name="T48" fmla="*/ 220 w 540"/>
                <a:gd name="T49" fmla="*/ 196 h 464"/>
                <a:gd name="T50" fmla="*/ 208 w 540"/>
                <a:gd name="T51" fmla="*/ 176 h 464"/>
                <a:gd name="T52" fmla="*/ 156 w 540"/>
                <a:gd name="T53" fmla="*/ 130 h 464"/>
                <a:gd name="T54" fmla="*/ 76 w 540"/>
                <a:gd name="T55" fmla="*/ 152 h 464"/>
                <a:gd name="T56" fmla="*/ 130 w 540"/>
                <a:gd name="T57" fmla="*/ 204 h 464"/>
                <a:gd name="T58" fmla="*/ 138 w 540"/>
                <a:gd name="T59" fmla="*/ 230 h 464"/>
                <a:gd name="T60" fmla="*/ 132 w 540"/>
                <a:gd name="T61" fmla="*/ 244 h 464"/>
                <a:gd name="T62" fmla="*/ 108 w 540"/>
                <a:gd name="T63" fmla="*/ 250 h 464"/>
                <a:gd name="T64" fmla="*/ 38 w 540"/>
                <a:gd name="T65" fmla="*/ 330 h 464"/>
                <a:gd name="T66" fmla="*/ 146 w 540"/>
                <a:gd name="T67" fmla="*/ 330 h 464"/>
                <a:gd name="T68" fmla="*/ 186 w 540"/>
                <a:gd name="T69" fmla="*/ 320 h 464"/>
                <a:gd name="T70" fmla="*/ 214 w 540"/>
                <a:gd name="T71" fmla="*/ 296 h 464"/>
                <a:gd name="T72" fmla="*/ 320 w 540"/>
                <a:gd name="T73" fmla="*/ 390 h 464"/>
                <a:gd name="T74" fmla="*/ 326 w 540"/>
                <a:gd name="T75" fmla="*/ 296 h 464"/>
                <a:gd name="T76" fmla="*/ 352 w 540"/>
                <a:gd name="T77" fmla="*/ 320 h 464"/>
                <a:gd name="T78" fmla="*/ 392 w 540"/>
                <a:gd name="T79" fmla="*/ 330 h 464"/>
                <a:gd name="T80" fmla="*/ 500 w 540"/>
                <a:gd name="T81" fmla="*/ 250 h 464"/>
                <a:gd name="T82" fmla="*/ 432 w 540"/>
                <a:gd name="T83" fmla="*/ 250 h 464"/>
                <a:gd name="T84" fmla="*/ 408 w 540"/>
                <a:gd name="T85" fmla="*/ 244 h 464"/>
                <a:gd name="T86" fmla="*/ 400 w 540"/>
                <a:gd name="T87" fmla="*/ 230 h 464"/>
                <a:gd name="T88" fmla="*/ 410 w 540"/>
                <a:gd name="T89" fmla="*/ 204 h 464"/>
                <a:gd name="T90" fmla="*/ 462 w 540"/>
                <a:gd name="T91" fmla="*/ 152 h 464"/>
                <a:gd name="T92" fmla="*/ 382 w 540"/>
                <a:gd name="T93" fmla="*/ 130 h 464"/>
                <a:gd name="T94" fmla="*/ 330 w 540"/>
                <a:gd name="T95" fmla="*/ 176 h 464"/>
                <a:gd name="T96" fmla="*/ 320 w 540"/>
                <a:gd name="T97" fmla="*/ 19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40" h="464">
                  <a:moveTo>
                    <a:pt x="270" y="0"/>
                  </a:moveTo>
                  <a:lnTo>
                    <a:pt x="270" y="0"/>
                  </a:lnTo>
                  <a:lnTo>
                    <a:pt x="298" y="0"/>
                  </a:lnTo>
                  <a:lnTo>
                    <a:pt x="324" y="4"/>
                  </a:lnTo>
                  <a:lnTo>
                    <a:pt x="350" y="10"/>
                  </a:lnTo>
                  <a:lnTo>
                    <a:pt x="374" y="18"/>
                  </a:lnTo>
                  <a:lnTo>
                    <a:pt x="398" y="28"/>
                  </a:lnTo>
                  <a:lnTo>
                    <a:pt x="420" y="40"/>
                  </a:lnTo>
                  <a:lnTo>
                    <a:pt x="442" y="52"/>
                  </a:lnTo>
                  <a:lnTo>
                    <a:pt x="460" y="68"/>
                  </a:lnTo>
                  <a:lnTo>
                    <a:pt x="478" y="84"/>
                  </a:lnTo>
                  <a:lnTo>
                    <a:pt x="494" y="102"/>
                  </a:lnTo>
                  <a:lnTo>
                    <a:pt x="506" y="122"/>
                  </a:lnTo>
                  <a:lnTo>
                    <a:pt x="518" y="142"/>
                  </a:lnTo>
                  <a:lnTo>
                    <a:pt x="528" y="162"/>
                  </a:lnTo>
                  <a:lnTo>
                    <a:pt x="534" y="184"/>
                  </a:lnTo>
                  <a:lnTo>
                    <a:pt x="538" y="208"/>
                  </a:lnTo>
                  <a:lnTo>
                    <a:pt x="540" y="232"/>
                  </a:lnTo>
                  <a:lnTo>
                    <a:pt x="540" y="232"/>
                  </a:lnTo>
                  <a:lnTo>
                    <a:pt x="538" y="256"/>
                  </a:lnTo>
                  <a:lnTo>
                    <a:pt x="534" y="278"/>
                  </a:lnTo>
                  <a:lnTo>
                    <a:pt x="528" y="300"/>
                  </a:lnTo>
                  <a:lnTo>
                    <a:pt x="518" y="322"/>
                  </a:lnTo>
                  <a:lnTo>
                    <a:pt x="506" y="342"/>
                  </a:lnTo>
                  <a:lnTo>
                    <a:pt x="494" y="362"/>
                  </a:lnTo>
                  <a:lnTo>
                    <a:pt x="478" y="380"/>
                  </a:lnTo>
                  <a:lnTo>
                    <a:pt x="460" y="396"/>
                  </a:lnTo>
                  <a:lnTo>
                    <a:pt x="442" y="410"/>
                  </a:lnTo>
                  <a:lnTo>
                    <a:pt x="420" y="424"/>
                  </a:lnTo>
                  <a:lnTo>
                    <a:pt x="398" y="436"/>
                  </a:lnTo>
                  <a:lnTo>
                    <a:pt x="374" y="446"/>
                  </a:lnTo>
                  <a:lnTo>
                    <a:pt x="350" y="454"/>
                  </a:lnTo>
                  <a:lnTo>
                    <a:pt x="324" y="460"/>
                  </a:lnTo>
                  <a:lnTo>
                    <a:pt x="298" y="462"/>
                  </a:lnTo>
                  <a:lnTo>
                    <a:pt x="270" y="464"/>
                  </a:lnTo>
                  <a:lnTo>
                    <a:pt x="270" y="464"/>
                  </a:lnTo>
                  <a:lnTo>
                    <a:pt x="242" y="462"/>
                  </a:lnTo>
                  <a:lnTo>
                    <a:pt x="216" y="458"/>
                  </a:lnTo>
                  <a:lnTo>
                    <a:pt x="190" y="454"/>
                  </a:lnTo>
                  <a:lnTo>
                    <a:pt x="164" y="446"/>
                  </a:lnTo>
                  <a:lnTo>
                    <a:pt x="140" y="436"/>
                  </a:lnTo>
                  <a:lnTo>
                    <a:pt x="118" y="424"/>
                  </a:lnTo>
                  <a:lnTo>
                    <a:pt x="98" y="410"/>
                  </a:lnTo>
                  <a:lnTo>
                    <a:pt x="78" y="396"/>
                  </a:lnTo>
                  <a:lnTo>
                    <a:pt x="62" y="380"/>
                  </a:lnTo>
                  <a:lnTo>
                    <a:pt x="46" y="362"/>
                  </a:lnTo>
                  <a:lnTo>
                    <a:pt x="32" y="342"/>
                  </a:lnTo>
                  <a:lnTo>
                    <a:pt x="20" y="322"/>
                  </a:lnTo>
                  <a:lnTo>
                    <a:pt x="12" y="300"/>
                  </a:lnTo>
                  <a:lnTo>
                    <a:pt x="6" y="278"/>
                  </a:lnTo>
                  <a:lnTo>
                    <a:pt x="2" y="256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08"/>
                  </a:lnTo>
                  <a:lnTo>
                    <a:pt x="6" y="184"/>
                  </a:lnTo>
                  <a:lnTo>
                    <a:pt x="12" y="162"/>
                  </a:lnTo>
                  <a:lnTo>
                    <a:pt x="20" y="142"/>
                  </a:lnTo>
                  <a:lnTo>
                    <a:pt x="32" y="120"/>
                  </a:lnTo>
                  <a:lnTo>
                    <a:pt x="46" y="102"/>
                  </a:lnTo>
                  <a:lnTo>
                    <a:pt x="62" y="84"/>
                  </a:lnTo>
                  <a:lnTo>
                    <a:pt x="78" y="68"/>
                  </a:lnTo>
                  <a:lnTo>
                    <a:pt x="98" y="52"/>
                  </a:lnTo>
                  <a:lnTo>
                    <a:pt x="118" y="40"/>
                  </a:lnTo>
                  <a:lnTo>
                    <a:pt x="140" y="28"/>
                  </a:lnTo>
                  <a:lnTo>
                    <a:pt x="164" y="18"/>
                  </a:lnTo>
                  <a:lnTo>
                    <a:pt x="190" y="10"/>
                  </a:lnTo>
                  <a:lnTo>
                    <a:pt x="216" y="4"/>
                  </a:lnTo>
                  <a:lnTo>
                    <a:pt x="242" y="0"/>
                  </a:lnTo>
                  <a:lnTo>
                    <a:pt x="270" y="0"/>
                  </a:lnTo>
                  <a:lnTo>
                    <a:pt x="270" y="0"/>
                  </a:lnTo>
                  <a:close/>
                  <a:moveTo>
                    <a:pt x="270" y="232"/>
                  </a:moveTo>
                  <a:lnTo>
                    <a:pt x="270" y="232"/>
                  </a:lnTo>
                  <a:close/>
                  <a:moveTo>
                    <a:pt x="220" y="50"/>
                  </a:moveTo>
                  <a:lnTo>
                    <a:pt x="220" y="50"/>
                  </a:lnTo>
                  <a:lnTo>
                    <a:pt x="220" y="196"/>
                  </a:lnTo>
                  <a:lnTo>
                    <a:pt x="220" y="196"/>
                  </a:lnTo>
                  <a:lnTo>
                    <a:pt x="214" y="186"/>
                  </a:lnTo>
                  <a:lnTo>
                    <a:pt x="208" y="176"/>
                  </a:lnTo>
                  <a:lnTo>
                    <a:pt x="194" y="160"/>
                  </a:lnTo>
                  <a:lnTo>
                    <a:pt x="176" y="144"/>
                  </a:lnTo>
                  <a:lnTo>
                    <a:pt x="156" y="130"/>
                  </a:lnTo>
                  <a:lnTo>
                    <a:pt x="48" y="130"/>
                  </a:lnTo>
                  <a:lnTo>
                    <a:pt x="48" y="130"/>
                  </a:lnTo>
                  <a:lnTo>
                    <a:pt x="76" y="152"/>
                  </a:lnTo>
                  <a:lnTo>
                    <a:pt x="106" y="178"/>
                  </a:lnTo>
                  <a:lnTo>
                    <a:pt x="120" y="192"/>
                  </a:lnTo>
                  <a:lnTo>
                    <a:pt x="130" y="204"/>
                  </a:lnTo>
                  <a:lnTo>
                    <a:pt x="136" y="218"/>
                  </a:lnTo>
                  <a:lnTo>
                    <a:pt x="138" y="230"/>
                  </a:lnTo>
                  <a:lnTo>
                    <a:pt x="138" y="230"/>
                  </a:lnTo>
                  <a:lnTo>
                    <a:pt x="138" y="236"/>
                  </a:lnTo>
                  <a:lnTo>
                    <a:pt x="136" y="240"/>
                  </a:lnTo>
                  <a:lnTo>
                    <a:pt x="132" y="244"/>
                  </a:lnTo>
                  <a:lnTo>
                    <a:pt x="128" y="246"/>
                  </a:lnTo>
                  <a:lnTo>
                    <a:pt x="11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38" y="25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146" y="330"/>
                  </a:lnTo>
                  <a:lnTo>
                    <a:pt x="146" y="330"/>
                  </a:lnTo>
                  <a:lnTo>
                    <a:pt x="166" y="328"/>
                  </a:lnTo>
                  <a:lnTo>
                    <a:pt x="176" y="324"/>
                  </a:lnTo>
                  <a:lnTo>
                    <a:pt x="186" y="320"/>
                  </a:lnTo>
                  <a:lnTo>
                    <a:pt x="196" y="314"/>
                  </a:lnTo>
                  <a:lnTo>
                    <a:pt x="206" y="306"/>
                  </a:lnTo>
                  <a:lnTo>
                    <a:pt x="214" y="296"/>
                  </a:lnTo>
                  <a:lnTo>
                    <a:pt x="220" y="284"/>
                  </a:lnTo>
                  <a:lnTo>
                    <a:pt x="220" y="390"/>
                  </a:lnTo>
                  <a:lnTo>
                    <a:pt x="320" y="390"/>
                  </a:lnTo>
                  <a:lnTo>
                    <a:pt x="320" y="284"/>
                  </a:lnTo>
                  <a:lnTo>
                    <a:pt x="320" y="284"/>
                  </a:lnTo>
                  <a:lnTo>
                    <a:pt x="326" y="296"/>
                  </a:lnTo>
                  <a:lnTo>
                    <a:pt x="334" y="306"/>
                  </a:lnTo>
                  <a:lnTo>
                    <a:pt x="342" y="314"/>
                  </a:lnTo>
                  <a:lnTo>
                    <a:pt x="352" y="320"/>
                  </a:lnTo>
                  <a:lnTo>
                    <a:pt x="362" y="324"/>
                  </a:lnTo>
                  <a:lnTo>
                    <a:pt x="372" y="328"/>
                  </a:lnTo>
                  <a:lnTo>
                    <a:pt x="392" y="330"/>
                  </a:lnTo>
                  <a:lnTo>
                    <a:pt x="392" y="330"/>
                  </a:lnTo>
                  <a:lnTo>
                    <a:pt x="500" y="330"/>
                  </a:lnTo>
                  <a:lnTo>
                    <a:pt x="500" y="250"/>
                  </a:lnTo>
                  <a:lnTo>
                    <a:pt x="500" y="250"/>
                  </a:lnTo>
                  <a:lnTo>
                    <a:pt x="432" y="250"/>
                  </a:lnTo>
                  <a:lnTo>
                    <a:pt x="432" y="250"/>
                  </a:lnTo>
                  <a:lnTo>
                    <a:pt x="422" y="250"/>
                  </a:lnTo>
                  <a:lnTo>
                    <a:pt x="412" y="246"/>
                  </a:lnTo>
                  <a:lnTo>
                    <a:pt x="408" y="244"/>
                  </a:lnTo>
                  <a:lnTo>
                    <a:pt x="404" y="240"/>
                  </a:lnTo>
                  <a:lnTo>
                    <a:pt x="402" y="236"/>
                  </a:lnTo>
                  <a:lnTo>
                    <a:pt x="400" y="230"/>
                  </a:lnTo>
                  <a:lnTo>
                    <a:pt x="400" y="230"/>
                  </a:lnTo>
                  <a:lnTo>
                    <a:pt x="402" y="218"/>
                  </a:lnTo>
                  <a:lnTo>
                    <a:pt x="410" y="204"/>
                  </a:lnTo>
                  <a:lnTo>
                    <a:pt x="420" y="192"/>
                  </a:lnTo>
                  <a:lnTo>
                    <a:pt x="432" y="178"/>
                  </a:lnTo>
                  <a:lnTo>
                    <a:pt x="462" y="152"/>
                  </a:lnTo>
                  <a:lnTo>
                    <a:pt x="492" y="130"/>
                  </a:lnTo>
                  <a:lnTo>
                    <a:pt x="382" y="130"/>
                  </a:lnTo>
                  <a:lnTo>
                    <a:pt x="382" y="130"/>
                  </a:lnTo>
                  <a:lnTo>
                    <a:pt x="364" y="144"/>
                  </a:lnTo>
                  <a:lnTo>
                    <a:pt x="346" y="160"/>
                  </a:lnTo>
                  <a:lnTo>
                    <a:pt x="330" y="176"/>
                  </a:lnTo>
                  <a:lnTo>
                    <a:pt x="324" y="186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20" y="50"/>
                  </a:lnTo>
                  <a:lnTo>
                    <a:pt x="22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1314450" y="339725"/>
              <a:ext cx="5232400" cy="736600"/>
              <a:chOff x="1314450" y="339725"/>
              <a:chExt cx="5232400" cy="736600"/>
            </a:xfrm>
            <a:grpFill/>
          </p:grpSpPr>
          <p:sp>
            <p:nvSpPr>
              <p:cNvPr id="11" name="Freeform 9"/>
              <p:cNvSpPr>
                <a:spLocks/>
              </p:cNvSpPr>
              <p:nvPr/>
            </p:nvSpPr>
            <p:spPr bwMode="auto">
              <a:xfrm>
                <a:off x="1908175" y="352425"/>
                <a:ext cx="139700" cy="98425"/>
              </a:xfrm>
              <a:custGeom>
                <a:avLst/>
                <a:gdLst>
                  <a:gd name="T0" fmla="*/ 4 w 88"/>
                  <a:gd name="T1" fmla="*/ 0 h 62"/>
                  <a:gd name="T2" fmla="*/ 88 w 88"/>
                  <a:gd name="T3" fmla="*/ 0 h 62"/>
                  <a:gd name="T4" fmla="*/ 84 w 88"/>
                  <a:gd name="T5" fmla="*/ 62 h 62"/>
                  <a:gd name="T6" fmla="*/ 0 w 88"/>
                  <a:gd name="T7" fmla="*/ 62 h 62"/>
                  <a:gd name="T8" fmla="*/ 4 w 88"/>
                  <a:gd name="T9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" h="62">
                    <a:moveTo>
                      <a:pt x="4" y="0"/>
                    </a:moveTo>
                    <a:lnTo>
                      <a:pt x="88" y="0"/>
                    </a:lnTo>
                    <a:lnTo>
                      <a:pt x="84" y="62"/>
                    </a:lnTo>
                    <a:lnTo>
                      <a:pt x="0" y="6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10"/>
              <p:cNvSpPr>
                <a:spLocks noEditPoints="1"/>
              </p:cNvSpPr>
              <p:nvPr/>
            </p:nvSpPr>
            <p:spPr bwMode="auto">
              <a:xfrm>
                <a:off x="5397500" y="504825"/>
                <a:ext cx="393700" cy="393700"/>
              </a:xfrm>
              <a:custGeom>
                <a:avLst/>
                <a:gdLst>
                  <a:gd name="T0" fmla="*/ 152 w 248"/>
                  <a:gd name="T1" fmla="*/ 216 h 248"/>
                  <a:gd name="T2" fmla="*/ 138 w 248"/>
                  <a:gd name="T3" fmla="*/ 228 h 248"/>
                  <a:gd name="T4" fmla="*/ 112 w 248"/>
                  <a:gd name="T5" fmla="*/ 242 h 248"/>
                  <a:gd name="T6" fmla="*/ 92 w 248"/>
                  <a:gd name="T7" fmla="*/ 246 h 248"/>
                  <a:gd name="T8" fmla="*/ 80 w 248"/>
                  <a:gd name="T9" fmla="*/ 248 h 248"/>
                  <a:gd name="T10" fmla="*/ 44 w 248"/>
                  <a:gd name="T11" fmla="*/ 242 h 248"/>
                  <a:gd name="T12" fmla="*/ 18 w 248"/>
                  <a:gd name="T13" fmla="*/ 226 h 248"/>
                  <a:gd name="T14" fmla="*/ 4 w 248"/>
                  <a:gd name="T15" fmla="*/ 202 h 248"/>
                  <a:gd name="T16" fmla="*/ 0 w 248"/>
                  <a:gd name="T17" fmla="*/ 174 h 248"/>
                  <a:gd name="T18" fmla="*/ 2 w 248"/>
                  <a:gd name="T19" fmla="*/ 156 h 248"/>
                  <a:gd name="T20" fmla="*/ 20 w 248"/>
                  <a:gd name="T21" fmla="*/ 128 h 248"/>
                  <a:gd name="T22" fmla="*/ 54 w 248"/>
                  <a:gd name="T23" fmla="*/ 108 h 248"/>
                  <a:gd name="T24" fmla="*/ 104 w 248"/>
                  <a:gd name="T25" fmla="*/ 98 h 248"/>
                  <a:gd name="T26" fmla="*/ 162 w 248"/>
                  <a:gd name="T27" fmla="*/ 96 h 248"/>
                  <a:gd name="T28" fmla="*/ 164 w 248"/>
                  <a:gd name="T29" fmla="*/ 78 h 248"/>
                  <a:gd name="T30" fmla="*/ 162 w 248"/>
                  <a:gd name="T31" fmla="*/ 60 h 248"/>
                  <a:gd name="T32" fmla="*/ 154 w 248"/>
                  <a:gd name="T33" fmla="*/ 46 h 248"/>
                  <a:gd name="T34" fmla="*/ 136 w 248"/>
                  <a:gd name="T35" fmla="*/ 40 h 248"/>
                  <a:gd name="T36" fmla="*/ 126 w 248"/>
                  <a:gd name="T37" fmla="*/ 42 h 248"/>
                  <a:gd name="T38" fmla="*/ 114 w 248"/>
                  <a:gd name="T39" fmla="*/ 48 h 248"/>
                  <a:gd name="T40" fmla="*/ 106 w 248"/>
                  <a:gd name="T41" fmla="*/ 66 h 248"/>
                  <a:gd name="T42" fmla="*/ 22 w 248"/>
                  <a:gd name="T43" fmla="*/ 76 h 248"/>
                  <a:gd name="T44" fmla="*/ 24 w 248"/>
                  <a:gd name="T45" fmla="*/ 66 h 248"/>
                  <a:gd name="T46" fmla="*/ 28 w 248"/>
                  <a:gd name="T47" fmla="*/ 46 h 248"/>
                  <a:gd name="T48" fmla="*/ 38 w 248"/>
                  <a:gd name="T49" fmla="*/ 30 h 248"/>
                  <a:gd name="T50" fmla="*/ 54 w 248"/>
                  <a:gd name="T51" fmla="*/ 18 h 248"/>
                  <a:gd name="T52" fmla="*/ 62 w 248"/>
                  <a:gd name="T53" fmla="*/ 14 h 248"/>
                  <a:gd name="T54" fmla="*/ 102 w 248"/>
                  <a:gd name="T55" fmla="*/ 2 h 248"/>
                  <a:gd name="T56" fmla="*/ 144 w 248"/>
                  <a:gd name="T57" fmla="*/ 0 h 248"/>
                  <a:gd name="T58" fmla="*/ 164 w 248"/>
                  <a:gd name="T59" fmla="*/ 0 h 248"/>
                  <a:gd name="T60" fmla="*/ 200 w 248"/>
                  <a:gd name="T61" fmla="*/ 10 h 248"/>
                  <a:gd name="T62" fmla="*/ 230 w 248"/>
                  <a:gd name="T63" fmla="*/ 30 h 248"/>
                  <a:gd name="T64" fmla="*/ 240 w 248"/>
                  <a:gd name="T65" fmla="*/ 44 h 248"/>
                  <a:gd name="T66" fmla="*/ 246 w 248"/>
                  <a:gd name="T67" fmla="*/ 62 h 248"/>
                  <a:gd name="T68" fmla="*/ 248 w 248"/>
                  <a:gd name="T69" fmla="*/ 82 h 248"/>
                  <a:gd name="T70" fmla="*/ 242 w 248"/>
                  <a:gd name="T71" fmla="*/ 196 h 248"/>
                  <a:gd name="T72" fmla="*/ 242 w 248"/>
                  <a:gd name="T73" fmla="*/ 246 h 248"/>
                  <a:gd name="T74" fmla="*/ 152 w 248"/>
                  <a:gd name="T75" fmla="*/ 216 h 248"/>
                  <a:gd name="T76" fmla="*/ 114 w 248"/>
                  <a:gd name="T77" fmla="*/ 200 h 248"/>
                  <a:gd name="T78" fmla="*/ 138 w 248"/>
                  <a:gd name="T79" fmla="*/ 194 h 248"/>
                  <a:gd name="T80" fmla="*/ 152 w 248"/>
                  <a:gd name="T81" fmla="*/ 176 h 248"/>
                  <a:gd name="T82" fmla="*/ 158 w 248"/>
                  <a:gd name="T83" fmla="*/ 154 h 248"/>
                  <a:gd name="T84" fmla="*/ 160 w 248"/>
                  <a:gd name="T85" fmla="*/ 130 h 248"/>
                  <a:gd name="T86" fmla="*/ 122 w 248"/>
                  <a:gd name="T87" fmla="*/ 132 h 248"/>
                  <a:gd name="T88" fmla="*/ 110 w 248"/>
                  <a:gd name="T89" fmla="*/ 134 h 248"/>
                  <a:gd name="T90" fmla="*/ 94 w 248"/>
                  <a:gd name="T91" fmla="*/ 148 h 248"/>
                  <a:gd name="T92" fmla="*/ 86 w 248"/>
                  <a:gd name="T93" fmla="*/ 170 h 248"/>
                  <a:gd name="T94" fmla="*/ 86 w 248"/>
                  <a:gd name="T95" fmla="*/ 176 h 248"/>
                  <a:gd name="T96" fmla="*/ 92 w 248"/>
                  <a:gd name="T97" fmla="*/ 192 h 248"/>
                  <a:gd name="T98" fmla="*/ 102 w 248"/>
                  <a:gd name="T99" fmla="*/ 198 h 248"/>
                  <a:gd name="T100" fmla="*/ 114 w 248"/>
                  <a:gd name="T101" fmla="*/ 20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8" h="248">
                    <a:moveTo>
                      <a:pt x="152" y="216"/>
                    </a:moveTo>
                    <a:lnTo>
                      <a:pt x="152" y="216"/>
                    </a:lnTo>
                    <a:lnTo>
                      <a:pt x="152" y="216"/>
                    </a:lnTo>
                    <a:lnTo>
                      <a:pt x="138" y="228"/>
                    </a:lnTo>
                    <a:lnTo>
                      <a:pt x="122" y="238"/>
                    </a:lnTo>
                    <a:lnTo>
                      <a:pt x="112" y="242"/>
                    </a:lnTo>
                    <a:lnTo>
                      <a:pt x="102" y="246"/>
                    </a:lnTo>
                    <a:lnTo>
                      <a:pt x="92" y="246"/>
                    </a:lnTo>
                    <a:lnTo>
                      <a:pt x="80" y="248"/>
                    </a:lnTo>
                    <a:lnTo>
                      <a:pt x="80" y="248"/>
                    </a:lnTo>
                    <a:lnTo>
                      <a:pt x="60" y="246"/>
                    </a:lnTo>
                    <a:lnTo>
                      <a:pt x="44" y="242"/>
                    </a:lnTo>
                    <a:lnTo>
                      <a:pt x="30" y="234"/>
                    </a:lnTo>
                    <a:lnTo>
                      <a:pt x="18" y="226"/>
                    </a:lnTo>
                    <a:lnTo>
                      <a:pt x="10" y="216"/>
                    </a:lnTo>
                    <a:lnTo>
                      <a:pt x="4" y="202"/>
                    </a:lnTo>
                    <a:lnTo>
                      <a:pt x="0" y="188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2" y="156"/>
                    </a:lnTo>
                    <a:lnTo>
                      <a:pt x="8" y="142"/>
                    </a:lnTo>
                    <a:lnTo>
                      <a:pt x="20" y="128"/>
                    </a:lnTo>
                    <a:lnTo>
                      <a:pt x="34" y="116"/>
                    </a:lnTo>
                    <a:lnTo>
                      <a:pt x="54" y="108"/>
                    </a:lnTo>
                    <a:lnTo>
                      <a:pt x="76" y="102"/>
                    </a:lnTo>
                    <a:lnTo>
                      <a:pt x="104" y="98"/>
                    </a:lnTo>
                    <a:lnTo>
                      <a:pt x="134" y="96"/>
                    </a:lnTo>
                    <a:lnTo>
                      <a:pt x="162" y="96"/>
                    </a:lnTo>
                    <a:lnTo>
                      <a:pt x="162" y="96"/>
                    </a:lnTo>
                    <a:lnTo>
                      <a:pt x="164" y="78"/>
                    </a:lnTo>
                    <a:lnTo>
                      <a:pt x="164" y="70"/>
                    </a:lnTo>
                    <a:lnTo>
                      <a:pt x="162" y="60"/>
                    </a:lnTo>
                    <a:lnTo>
                      <a:pt x="160" y="52"/>
                    </a:lnTo>
                    <a:lnTo>
                      <a:pt x="154" y="46"/>
                    </a:lnTo>
                    <a:lnTo>
                      <a:pt x="146" y="42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26" y="42"/>
                    </a:lnTo>
                    <a:lnTo>
                      <a:pt x="120" y="44"/>
                    </a:lnTo>
                    <a:lnTo>
                      <a:pt x="114" y="48"/>
                    </a:lnTo>
                    <a:lnTo>
                      <a:pt x="110" y="54"/>
                    </a:lnTo>
                    <a:lnTo>
                      <a:pt x="106" y="66"/>
                    </a:lnTo>
                    <a:lnTo>
                      <a:pt x="104" y="76"/>
                    </a:lnTo>
                    <a:lnTo>
                      <a:pt x="22" y="76"/>
                    </a:lnTo>
                    <a:lnTo>
                      <a:pt x="22" y="76"/>
                    </a:lnTo>
                    <a:lnTo>
                      <a:pt x="24" y="66"/>
                    </a:lnTo>
                    <a:lnTo>
                      <a:pt x="26" y="54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38" y="30"/>
                    </a:lnTo>
                    <a:lnTo>
                      <a:pt x="46" y="24"/>
                    </a:lnTo>
                    <a:lnTo>
                      <a:pt x="54" y="18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2" y="6"/>
                    </a:lnTo>
                    <a:lnTo>
                      <a:pt x="102" y="2"/>
                    </a:lnTo>
                    <a:lnTo>
                      <a:pt x="124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64" y="0"/>
                    </a:lnTo>
                    <a:lnTo>
                      <a:pt x="182" y="4"/>
                    </a:lnTo>
                    <a:lnTo>
                      <a:pt x="200" y="10"/>
                    </a:lnTo>
                    <a:lnTo>
                      <a:pt x="216" y="18"/>
                    </a:lnTo>
                    <a:lnTo>
                      <a:pt x="230" y="30"/>
                    </a:lnTo>
                    <a:lnTo>
                      <a:pt x="236" y="38"/>
                    </a:lnTo>
                    <a:lnTo>
                      <a:pt x="240" y="44"/>
                    </a:lnTo>
                    <a:lnTo>
                      <a:pt x="244" y="52"/>
                    </a:lnTo>
                    <a:lnTo>
                      <a:pt x="246" y="62"/>
                    </a:lnTo>
                    <a:lnTo>
                      <a:pt x="248" y="72"/>
                    </a:lnTo>
                    <a:lnTo>
                      <a:pt x="248" y="82"/>
                    </a:lnTo>
                    <a:lnTo>
                      <a:pt x="242" y="196"/>
                    </a:lnTo>
                    <a:lnTo>
                      <a:pt x="242" y="196"/>
                    </a:lnTo>
                    <a:lnTo>
                      <a:pt x="240" y="214"/>
                    </a:lnTo>
                    <a:lnTo>
                      <a:pt x="242" y="246"/>
                    </a:lnTo>
                    <a:lnTo>
                      <a:pt x="158" y="246"/>
                    </a:lnTo>
                    <a:lnTo>
                      <a:pt x="152" y="216"/>
                    </a:lnTo>
                    <a:close/>
                    <a:moveTo>
                      <a:pt x="114" y="200"/>
                    </a:moveTo>
                    <a:lnTo>
                      <a:pt x="114" y="200"/>
                    </a:lnTo>
                    <a:lnTo>
                      <a:pt x="128" y="198"/>
                    </a:lnTo>
                    <a:lnTo>
                      <a:pt x="138" y="194"/>
                    </a:lnTo>
                    <a:lnTo>
                      <a:pt x="146" y="186"/>
                    </a:lnTo>
                    <a:lnTo>
                      <a:pt x="152" y="176"/>
                    </a:lnTo>
                    <a:lnTo>
                      <a:pt x="156" y="166"/>
                    </a:lnTo>
                    <a:lnTo>
                      <a:pt x="158" y="154"/>
                    </a:lnTo>
                    <a:lnTo>
                      <a:pt x="160" y="130"/>
                    </a:lnTo>
                    <a:lnTo>
                      <a:pt x="160" y="130"/>
                    </a:lnTo>
                    <a:lnTo>
                      <a:pt x="134" y="130"/>
                    </a:lnTo>
                    <a:lnTo>
                      <a:pt x="122" y="132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2" y="140"/>
                    </a:lnTo>
                    <a:lnTo>
                      <a:pt x="94" y="148"/>
                    </a:lnTo>
                    <a:lnTo>
                      <a:pt x="88" y="158"/>
                    </a:lnTo>
                    <a:lnTo>
                      <a:pt x="86" y="170"/>
                    </a:lnTo>
                    <a:lnTo>
                      <a:pt x="86" y="170"/>
                    </a:lnTo>
                    <a:lnTo>
                      <a:pt x="86" y="176"/>
                    </a:lnTo>
                    <a:lnTo>
                      <a:pt x="88" y="182"/>
                    </a:lnTo>
                    <a:lnTo>
                      <a:pt x="92" y="192"/>
                    </a:lnTo>
                    <a:lnTo>
                      <a:pt x="96" y="194"/>
                    </a:lnTo>
                    <a:lnTo>
                      <a:pt x="102" y="198"/>
                    </a:lnTo>
                    <a:lnTo>
                      <a:pt x="108" y="200"/>
                    </a:lnTo>
                    <a:lnTo>
                      <a:pt x="114" y="200"/>
                    </a:lnTo>
                    <a:lnTo>
                      <a:pt x="114" y="2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11"/>
              <p:cNvSpPr>
                <a:spLocks noEditPoints="1"/>
              </p:cNvSpPr>
              <p:nvPr/>
            </p:nvSpPr>
            <p:spPr bwMode="auto">
              <a:xfrm>
                <a:off x="6092825" y="352425"/>
                <a:ext cx="454025" cy="542925"/>
              </a:xfrm>
              <a:custGeom>
                <a:avLst/>
                <a:gdLst>
                  <a:gd name="T0" fmla="*/ 0 w 286"/>
                  <a:gd name="T1" fmla="*/ 342 h 342"/>
                  <a:gd name="T2" fmla="*/ 24 w 286"/>
                  <a:gd name="T3" fmla="*/ 0 h 342"/>
                  <a:gd name="T4" fmla="*/ 114 w 286"/>
                  <a:gd name="T5" fmla="*/ 0 h 342"/>
                  <a:gd name="T6" fmla="*/ 90 w 286"/>
                  <a:gd name="T7" fmla="*/ 342 h 342"/>
                  <a:gd name="T8" fmla="*/ 0 w 286"/>
                  <a:gd name="T9" fmla="*/ 342 h 342"/>
                  <a:gd name="T10" fmla="*/ 100 w 286"/>
                  <a:gd name="T11" fmla="*/ 210 h 342"/>
                  <a:gd name="T12" fmla="*/ 184 w 286"/>
                  <a:gd name="T13" fmla="*/ 104 h 342"/>
                  <a:gd name="T14" fmla="*/ 286 w 286"/>
                  <a:gd name="T15" fmla="*/ 104 h 342"/>
                  <a:gd name="T16" fmla="*/ 194 w 286"/>
                  <a:gd name="T17" fmla="*/ 204 h 342"/>
                  <a:gd name="T18" fmla="*/ 282 w 286"/>
                  <a:gd name="T19" fmla="*/ 342 h 342"/>
                  <a:gd name="T20" fmla="*/ 170 w 286"/>
                  <a:gd name="T21" fmla="*/ 342 h 342"/>
                  <a:gd name="T22" fmla="*/ 100 w 286"/>
                  <a:gd name="T23" fmla="*/ 21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6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4" y="0"/>
                    </a:lnTo>
                    <a:lnTo>
                      <a:pt x="90" y="342"/>
                    </a:lnTo>
                    <a:lnTo>
                      <a:pt x="0" y="342"/>
                    </a:lnTo>
                    <a:close/>
                    <a:moveTo>
                      <a:pt x="100" y="210"/>
                    </a:moveTo>
                    <a:lnTo>
                      <a:pt x="184" y="104"/>
                    </a:lnTo>
                    <a:lnTo>
                      <a:pt x="286" y="104"/>
                    </a:lnTo>
                    <a:lnTo>
                      <a:pt x="194" y="204"/>
                    </a:lnTo>
                    <a:lnTo>
                      <a:pt x="282" y="342"/>
                    </a:lnTo>
                    <a:lnTo>
                      <a:pt x="170" y="342"/>
                    </a:lnTo>
                    <a:lnTo>
                      <a:pt x="10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12"/>
              <p:cNvSpPr>
                <a:spLocks/>
              </p:cNvSpPr>
              <p:nvPr/>
            </p:nvSpPr>
            <p:spPr bwMode="auto">
              <a:xfrm>
                <a:off x="3606800" y="517525"/>
                <a:ext cx="292100" cy="377825"/>
              </a:xfrm>
              <a:custGeom>
                <a:avLst/>
                <a:gdLst>
                  <a:gd name="T0" fmla="*/ 104 w 184"/>
                  <a:gd name="T1" fmla="*/ 34 h 238"/>
                  <a:gd name="T2" fmla="*/ 106 w 184"/>
                  <a:gd name="T3" fmla="*/ 34 h 238"/>
                  <a:gd name="T4" fmla="*/ 106 w 184"/>
                  <a:gd name="T5" fmla="*/ 34 h 238"/>
                  <a:gd name="T6" fmla="*/ 114 w 184"/>
                  <a:gd name="T7" fmla="*/ 24 h 238"/>
                  <a:gd name="T8" fmla="*/ 124 w 184"/>
                  <a:gd name="T9" fmla="*/ 16 h 238"/>
                  <a:gd name="T10" fmla="*/ 132 w 184"/>
                  <a:gd name="T11" fmla="*/ 10 h 238"/>
                  <a:gd name="T12" fmla="*/ 142 w 184"/>
                  <a:gd name="T13" fmla="*/ 6 h 238"/>
                  <a:gd name="T14" fmla="*/ 152 w 184"/>
                  <a:gd name="T15" fmla="*/ 4 h 238"/>
                  <a:gd name="T16" fmla="*/ 162 w 184"/>
                  <a:gd name="T17" fmla="*/ 2 h 238"/>
                  <a:gd name="T18" fmla="*/ 184 w 184"/>
                  <a:gd name="T19" fmla="*/ 0 h 238"/>
                  <a:gd name="T20" fmla="*/ 178 w 184"/>
                  <a:gd name="T21" fmla="*/ 76 h 238"/>
                  <a:gd name="T22" fmla="*/ 178 w 184"/>
                  <a:gd name="T23" fmla="*/ 76 h 238"/>
                  <a:gd name="T24" fmla="*/ 160 w 184"/>
                  <a:gd name="T25" fmla="*/ 76 h 238"/>
                  <a:gd name="T26" fmla="*/ 160 w 184"/>
                  <a:gd name="T27" fmla="*/ 76 h 238"/>
                  <a:gd name="T28" fmla="*/ 140 w 184"/>
                  <a:gd name="T29" fmla="*/ 78 h 238"/>
                  <a:gd name="T30" fmla="*/ 126 w 184"/>
                  <a:gd name="T31" fmla="*/ 82 h 238"/>
                  <a:gd name="T32" fmla="*/ 116 w 184"/>
                  <a:gd name="T33" fmla="*/ 88 h 238"/>
                  <a:gd name="T34" fmla="*/ 108 w 184"/>
                  <a:gd name="T35" fmla="*/ 98 h 238"/>
                  <a:gd name="T36" fmla="*/ 102 w 184"/>
                  <a:gd name="T37" fmla="*/ 108 h 238"/>
                  <a:gd name="T38" fmla="*/ 100 w 184"/>
                  <a:gd name="T39" fmla="*/ 120 h 238"/>
                  <a:gd name="T40" fmla="*/ 98 w 184"/>
                  <a:gd name="T41" fmla="*/ 148 h 238"/>
                  <a:gd name="T42" fmla="*/ 92 w 184"/>
                  <a:gd name="T43" fmla="*/ 238 h 238"/>
                  <a:gd name="T44" fmla="*/ 0 w 184"/>
                  <a:gd name="T45" fmla="*/ 238 h 238"/>
                  <a:gd name="T46" fmla="*/ 12 w 184"/>
                  <a:gd name="T47" fmla="*/ 62 h 238"/>
                  <a:gd name="T48" fmla="*/ 12 w 184"/>
                  <a:gd name="T49" fmla="*/ 62 h 238"/>
                  <a:gd name="T50" fmla="*/ 14 w 184"/>
                  <a:gd name="T51" fmla="*/ 32 h 238"/>
                  <a:gd name="T52" fmla="*/ 14 w 184"/>
                  <a:gd name="T53" fmla="*/ 0 h 238"/>
                  <a:gd name="T54" fmla="*/ 102 w 184"/>
                  <a:gd name="T55" fmla="*/ 0 h 238"/>
                  <a:gd name="T56" fmla="*/ 104 w 184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4" h="238">
                    <a:moveTo>
                      <a:pt x="104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4" y="24"/>
                    </a:lnTo>
                    <a:lnTo>
                      <a:pt x="124" y="16"/>
                    </a:lnTo>
                    <a:lnTo>
                      <a:pt x="132" y="10"/>
                    </a:lnTo>
                    <a:lnTo>
                      <a:pt x="142" y="6"/>
                    </a:lnTo>
                    <a:lnTo>
                      <a:pt x="152" y="4"/>
                    </a:lnTo>
                    <a:lnTo>
                      <a:pt x="162" y="2"/>
                    </a:lnTo>
                    <a:lnTo>
                      <a:pt x="184" y="0"/>
                    </a:lnTo>
                    <a:lnTo>
                      <a:pt x="178" y="76"/>
                    </a:lnTo>
                    <a:lnTo>
                      <a:pt x="178" y="76"/>
                    </a:lnTo>
                    <a:lnTo>
                      <a:pt x="160" y="76"/>
                    </a:lnTo>
                    <a:lnTo>
                      <a:pt x="160" y="76"/>
                    </a:lnTo>
                    <a:lnTo>
                      <a:pt x="140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2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4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13"/>
              <p:cNvSpPr>
                <a:spLocks/>
              </p:cNvSpPr>
              <p:nvPr/>
            </p:nvSpPr>
            <p:spPr bwMode="auto">
              <a:xfrm>
                <a:off x="3889375" y="352425"/>
                <a:ext cx="174625" cy="542925"/>
              </a:xfrm>
              <a:custGeom>
                <a:avLst/>
                <a:gdLst>
                  <a:gd name="T0" fmla="*/ 0 w 110"/>
                  <a:gd name="T1" fmla="*/ 342 h 342"/>
                  <a:gd name="T2" fmla="*/ 24 w 110"/>
                  <a:gd name="T3" fmla="*/ 0 h 342"/>
                  <a:gd name="T4" fmla="*/ 110 w 110"/>
                  <a:gd name="T5" fmla="*/ 0 h 342"/>
                  <a:gd name="T6" fmla="*/ 86 w 110"/>
                  <a:gd name="T7" fmla="*/ 342 h 342"/>
                  <a:gd name="T8" fmla="*/ 0 w 110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0" y="0"/>
                    </a:lnTo>
                    <a:lnTo>
                      <a:pt x="86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14"/>
              <p:cNvSpPr>
                <a:spLocks noEditPoints="1"/>
              </p:cNvSpPr>
              <p:nvPr/>
            </p:nvSpPr>
            <p:spPr bwMode="auto">
              <a:xfrm>
                <a:off x="2740025" y="352425"/>
                <a:ext cx="438150" cy="546100"/>
              </a:xfrm>
              <a:custGeom>
                <a:avLst/>
                <a:gdLst>
                  <a:gd name="T0" fmla="*/ 112 w 276"/>
                  <a:gd name="T1" fmla="*/ 0 h 344"/>
                  <a:gd name="T2" fmla="*/ 104 w 276"/>
                  <a:gd name="T3" fmla="*/ 136 h 344"/>
                  <a:gd name="T4" fmla="*/ 120 w 276"/>
                  <a:gd name="T5" fmla="*/ 122 h 344"/>
                  <a:gd name="T6" fmla="*/ 146 w 276"/>
                  <a:gd name="T7" fmla="*/ 104 h 344"/>
                  <a:gd name="T8" fmla="*/ 168 w 276"/>
                  <a:gd name="T9" fmla="*/ 98 h 344"/>
                  <a:gd name="T10" fmla="*/ 180 w 276"/>
                  <a:gd name="T11" fmla="*/ 98 h 344"/>
                  <a:gd name="T12" fmla="*/ 206 w 276"/>
                  <a:gd name="T13" fmla="*/ 100 h 344"/>
                  <a:gd name="T14" fmla="*/ 226 w 276"/>
                  <a:gd name="T15" fmla="*/ 108 h 344"/>
                  <a:gd name="T16" fmla="*/ 244 w 276"/>
                  <a:gd name="T17" fmla="*/ 120 h 344"/>
                  <a:gd name="T18" fmla="*/ 258 w 276"/>
                  <a:gd name="T19" fmla="*/ 136 h 344"/>
                  <a:gd name="T20" fmla="*/ 274 w 276"/>
                  <a:gd name="T21" fmla="*/ 176 h 344"/>
                  <a:gd name="T22" fmla="*/ 276 w 276"/>
                  <a:gd name="T23" fmla="*/ 220 h 344"/>
                  <a:gd name="T24" fmla="*/ 274 w 276"/>
                  <a:gd name="T25" fmla="*/ 242 h 344"/>
                  <a:gd name="T26" fmla="*/ 260 w 276"/>
                  <a:gd name="T27" fmla="*/ 284 h 344"/>
                  <a:gd name="T28" fmla="*/ 240 w 276"/>
                  <a:gd name="T29" fmla="*/ 312 h 344"/>
                  <a:gd name="T30" fmla="*/ 222 w 276"/>
                  <a:gd name="T31" fmla="*/ 328 h 344"/>
                  <a:gd name="T32" fmla="*/ 202 w 276"/>
                  <a:gd name="T33" fmla="*/ 338 h 344"/>
                  <a:gd name="T34" fmla="*/ 176 w 276"/>
                  <a:gd name="T35" fmla="*/ 344 h 344"/>
                  <a:gd name="T36" fmla="*/ 160 w 276"/>
                  <a:gd name="T37" fmla="*/ 344 h 344"/>
                  <a:gd name="T38" fmla="*/ 140 w 276"/>
                  <a:gd name="T39" fmla="*/ 342 h 344"/>
                  <a:gd name="T40" fmla="*/ 106 w 276"/>
                  <a:gd name="T41" fmla="*/ 324 h 344"/>
                  <a:gd name="T42" fmla="*/ 92 w 276"/>
                  <a:gd name="T43" fmla="*/ 312 h 344"/>
                  <a:gd name="T44" fmla="*/ 0 w 276"/>
                  <a:gd name="T45" fmla="*/ 342 h 344"/>
                  <a:gd name="T46" fmla="*/ 94 w 276"/>
                  <a:gd name="T47" fmla="*/ 226 h 344"/>
                  <a:gd name="T48" fmla="*/ 96 w 276"/>
                  <a:gd name="T49" fmla="*/ 250 h 344"/>
                  <a:gd name="T50" fmla="*/ 102 w 276"/>
                  <a:gd name="T51" fmla="*/ 272 h 344"/>
                  <a:gd name="T52" fmla="*/ 114 w 276"/>
                  <a:gd name="T53" fmla="*/ 288 h 344"/>
                  <a:gd name="T54" fmla="*/ 134 w 276"/>
                  <a:gd name="T55" fmla="*/ 296 h 344"/>
                  <a:gd name="T56" fmla="*/ 148 w 276"/>
                  <a:gd name="T57" fmla="*/ 294 h 344"/>
                  <a:gd name="T58" fmla="*/ 168 w 276"/>
                  <a:gd name="T59" fmla="*/ 282 h 344"/>
                  <a:gd name="T60" fmla="*/ 180 w 276"/>
                  <a:gd name="T61" fmla="*/ 260 h 344"/>
                  <a:gd name="T62" fmla="*/ 186 w 276"/>
                  <a:gd name="T63" fmla="*/ 222 h 344"/>
                  <a:gd name="T64" fmla="*/ 186 w 276"/>
                  <a:gd name="T65" fmla="*/ 198 h 344"/>
                  <a:gd name="T66" fmla="*/ 180 w 276"/>
                  <a:gd name="T67" fmla="*/ 174 h 344"/>
                  <a:gd name="T68" fmla="*/ 168 w 276"/>
                  <a:gd name="T69" fmla="*/ 156 h 344"/>
                  <a:gd name="T70" fmla="*/ 146 w 276"/>
                  <a:gd name="T71" fmla="*/ 150 h 344"/>
                  <a:gd name="T72" fmla="*/ 132 w 276"/>
                  <a:gd name="T73" fmla="*/ 152 h 344"/>
                  <a:gd name="T74" fmla="*/ 112 w 276"/>
                  <a:gd name="T75" fmla="*/ 166 h 344"/>
                  <a:gd name="T76" fmla="*/ 100 w 276"/>
                  <a:gd name="T77" fmla="*/ 188 h 344"/>
                  <a:gd name="T78" fmla="*/ 94 w 276"/>
                  <a:gd name="T79" fmla="*/ 226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6" h="344">
                    <a:moveTo>
                      <a:pt x="24" y="0"/>
                    </a:moveTo>
                    <a:lnTo>
                      <a:pt x="112" y="0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20" y="122"/>
                    </a:lnTo>
                    <a:lnTo>
                      <a:pt x="138" y="108"/>
                    </a:lnTo>
                    <a:lnTo>
                      <a:pt x="146" y="104"/>
                    </a:lnTo>
                    <a:lnTo>
                      <a:pt x="158" y="100"/>
                    </a:lnTo>
                    <a:lnTo>
                      <a:pt x="168" y="98"/>
                    </a:lnTo>
                    <a:lnTo>
                      <a:pt x="180" y="98"/>
                    </a:lnTo>
                    <a:lnTo>
                      <a:pt x="180" y="98"/>
                    </a:lnTo>
                    <a:lnTo>
                      <a:pt x="194" y="98"/>
                    </a:lnTo>
                    <a:lnTo>
                      <a:pt x="206" y="100"/>
                    </a:lnTo>
                    <a:lnTo>
                      <a:pt x="216" y="104"/>
                    </a:lnTo>
                    <a:lnTo>
                      <a:pt x="226" y="108"/>
                    </a:lnTo>
                    <a:lnTo>
                      <a:pt x="236" y="114"/>
                    </a:lnTo>
                    <a:lnTo>
                      <a:pt x="244" y="120"/>
                    </a:lnTo>
                    <a:lnTo>
                      <a:pt x="250" y="128"/>
                    </a:lnTo>
                    <a:lnTo>
                      <a:pt x="258" y="136"/>
                    </a:lnTo>
                    <a:lnTo>
                      <a:pt x="266" y="156"/>
                    </a:lnTo>
                    <a:lnTo>
                      <a:pt x="274" y="176"/>
                    </a:lnTo>
                    <a:lnTo>
                      <a:pt x="276" y="198"/>
                    </a:lnTo>
                    <a:lnTo>
                      <a:pt x="276" y="220"/>
                    </a:lnTo>
                    <a:lnTo>
                      <a:pt x="276" y="220"/>
                    </a:lnTo>
                    <a:lnTo>
                      <a:pt x="274" y="242"/>
                    </a:lnTo>
                    <a:lnTo>
                      <a:pt x="268" y="264"/>
                    </a:lnTo>
                    <a:lnTo>
                      <a:pt x="260" y="284"/>
                    </a:lnTo>
                    <a:lnTo>
                      <a:pt x="248" y="304"/>
                    </a:lnTo>
                    <a:lnTo>
                      <a:pt x="240" y="312"/>
                    </a:lnTo>
                    <a:lnTo>
                      <a:pt x="232" y="320"/>
                    </a:lnTo>
                    <a:lnTo>
                      <a:pt x="222" y="328"/>
                    </a:lnTo>
                    <a:lnTo>
                      <a:pt x="212" y="334"/>
                    </a:lnTo>
                    <a:lnTo>
                      <a:pt x="202" y="338"/>
                    </a:lnTo>
                    <a:lnTo>
                      <a:pt x="188" y="342"/>
                    </a:lnTo>
                    <a:lnTo>
                      <a:pt x="176" y="344"/>
                    </a:lnTo>
                    <a:lnTo>
                      <a:pt x="160" y="344"/>
                    </a:lnTo>
                    <a:lnTo>
                      <a:pt x="160" y="344"/>
                    </a:lnTo>
                    <a:lnTo>
                      <a:pt x="150" y="344"/>
                    </a:lnTo>
                    <a:lnTo>
                      <a:pt x="140" y="342"/>
                    </a:lnTo>
                    <a:lnTo>
                      <a:pt x="122" y="336"/>
                    </a:lnTo>
                    <a:lnTo>
                      <a:pt x="106" y="324"/>
                    </a:lnTo>
                    <a:lnTo>
                      <a:pt x="94" y="312"/>
                    </a:lnTo>
                    <a:lnTo>
                      <a:pt x="92" y="312"/>
                    </a:lnTo>
                    <a:lnTo>
                      <a:pt x="88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  <a:moveTo>
                      <a:pt x="94" y="226"/>
                    </a:moveTo>
                    <a:lnTo>
                      <a:pt x="94" y="226"/>
                    </a:lnTo>
                    <a:lnTo>
                      <a:pt x="96" y="250"/>
                    </a:lnTo>
                    <a:lnTo>
                      <a:pt x="98" y="260"/>
                    </a:lnTo>
                    <a:lnTo>
                      <a:pt x="102" y="272"/>
                    </a:lnTo>
                    <a:lnTo>
                      <a:pt x="106" y="282"/>
                    </a:lnTo>
                    <a:lnTo>
                      <a:pt x="114" y="288"/>
                    </a:lnTo>
                    <a:lnTo>
                      <a:pt x="122" y="294"/>
                    </a:lnTo>
                    <a:lnTo>
                      <a:pt x="134" y="296"/>
                    </a:lnTo>
                    <a:lnTo>
                      <a:pt x="134" y="296"/>
                    </a:lnTo>
                    <a:lnTo>
                      <a:pt x="148" y="294"/>
                    </a:lnTo>
                    <a:lnTo>
                      <a:pt x="158" y="288"/>
                    </a:lnTo>
                    <a:lnTo>
                      <a:pt x="168" y="282"/>
                    </a:lnTo>
                    <a:lnTo>
                      <a:pt x="174" y="272"/>
                    </a:lnTo>
                    <a:lnTo>
                      <a:pt x="180" y="260"/>
                    </a:lnTo>
                    <a:lnTo>
                      <a:pt x="184" y="248"/>
                    </a:lnTo>
                    <a:lnTo>
                      <a:pt x="186" y="222"/>
                    </a:lnTo>
                    <a:lnTo>
                      <a:pt x="186" y="222"/>
                    </a:lnTo>
                    <a:lnTo>
                      <a:pt x="186" y="198"/>
                    </a:lnTo>
                    <a:lnTo>
                      <a:pt x="184" y="186"/>
                    </a:lnTo>
                    <a:lnTo>
                      <a:pt x="180" y="174"/>
                    </a:lnTo>
                    <a:lnTo>
                      <a:pt x="176" y="164"/>
                    </a:lnTo>
                    <a:lnTo>
                      <a:pt x="168" y="156"/>
                    </a:lnTo>
                    <a:lnTo>
                      <a:pt x="158" y="152"/>
                    </a:lnTo>
                    <a:lnTo>
                      <a:pt x="146" y="150"/>
                    </a:lnTo>
                    <a:lnTo>
                      <a:pt x="146" y="150"/>
                    </a:lnTo>
                    <a:lnTo>
                      <a:pt x="132" y="152"/>
                    </a:lnTo>
                    <a:lnTo>
                      <a:pt x="120" y="156"/>
                    </a:lnTo>
                    <a:lnTo>
                      <a:pt x="112" y="166"/>
                    </a:lnTo>
                    <a:lnTo>
                      <a:pt x="104" y="176"/>
                    </a:lnTo>
                    <a:lnTo>
                      <a:pt x="100" y="188"/>
                    </a:lnTo>
                    <a:lnTo>
                      <a:pt x="98" y="200"/>
                    </a:lnTo>
                    <a:lnTo>
                      <a:pt x="94" y="226"/>
                    </a:lnTo>
                    <a:lnTo>
                      <a:pt x="94" y="2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15"/>
              <p:cNvSpPr>
                <a:spLocks noEditPoints="1"/>
              </p:cNvSpPr>
              <p:nvPr/>
            </p:nvSpPr>
            <p:spPr bwMode="auto">
              <a:xfrm>
                <a:off x="3197225" y="504825"/>
                <a:ext cx="406400" cy="396875"/>
              </a:xfrm>
              <a:custGeom>
                <a:avLst/>
                <a:gdLst>
                  <a:gd name="T0" fmla="*/ 86 w 256"/>
                  <a:gd name="T1" fmla="*/ 142 h 250"/>
                  <a:gd name="T2" fmla="*/ 86 w 256"/>
                  <a:gd name="T3" fmla="*/ 166 h 250"/>
                  <a:gd name="T4" fmla="*/ 90 w 256"/>
                  <a:gd name="T5" fmla="*/ 184 h 250"/>
                  <a:gd name="T6" fmla="*/ 102 w 256"/>
                  <a:gd name="T7" fmla="*/ 196 h 250"/>
                  <a:gd name="T8" fmla="*/ 124 w 256"/>
                  <a:gd name="T9" fmla="*/ 202 h 250"/>
                  <a:gd name="T10" fmla="*/ 132 w 256"/>
                  <a:gd name="T11" fmla="*/ 200 h 250"/>
                  <a:gd name="T12" fmla="*/ 148 w 256"/>
                  <a:gd name="T13" fmla="*/ 196 h 250"/>
                  <a:gd name="T14" fmla="*/ 158 w 256"/>
                  <a:gd name="T15" fmla="*/ 186 h 250"/>
                  <a:gd name="T16" fmla="*/ 164 w 256"/>
                  <a:gd name="T17" fmla="*/ 174 h 250"/>
                  <a:gd name="T18" fmla="*/ 248 w 256"/>
                  <a:gd name="T19" fmla="*/ 170 h 250"/>
                  <a:gd name="T20" fmla="*/ 246 w 256"/>
                  <a:gd name="T21" fmla="*/ 180 h 250"/>
                  <a:gd name="T22" fmla="*/ 238 w 256"/>
                  <a:gd name="T23" fmla="*/ 198 h 250"/>
                  <a:gd name="T24" fmla="*/ 218 w 256"/>
                  <a:gd name="T25" fmla="*/ 222 h 250"/>
                  <a:gd name="T26" fmla="*/ 202 w 256"/>
                  <a:gd name="T27" fmla="*/ 234 h 250"/>
                  <a:gd name="T28" fmla="*/ 168 w 256"/>
                  <a:gd name="T29" fmla="*/ 246 h 250"/>
                  <a:gd name="T30" fmla="*/ 128 w 256"/>
                  <a:gd name="T31" fmla="*/ 250 h 250"/>
                  <a:gd name="T32" fmla="*/ 96 w 256"/>
                  <a:gd name="T33" fmla="*/ 248 h 250"/>
                  <a:gd name="T34" fmla="*/ 66 w 256"/>
                  <a:gd name="T35" fmla="*/ 242 h 250"/>
                  <a:gd name="T36" fmla="*/ 44 w 256"/>
                  <a:gd name="T37" fmla="*/ 232 h 250"/>
                  <a:gd name="T38" fmla="*/ 26 w 256"/>
                  <a:gd name="T39" fmla="*/ 218 h 250"/>
                  <a:gd name="T40" fmla="*/ 12 w 256"/>
                  <a:gd name="T41" fmla="*/ 200 h 250"/>
                  <a:gd name="T42" fmla="*/ 4 w 256"/>
                  <a:gd name="T43" fmla="*/ 178 h 250"/>
                  <a:gd name="T44" fmla="*/ 0 w 256"/>
                  <a:gd name="T45" fmla="*/ 150 h 250"/>
                  <a:gd name="T46" fmla="*/ 0 w 256"/>
                  <a:gd name="T47" fmla="*/ 118 h 250"/>
                  <a:gd name="T48" fmla="*/ 4 w 256"/>
                  <a:gd name="T49" fmla="*/ 92 h 250"/>
                  <a:gd name="T50" fmla="*/ 14 w 256"/>
                  <a:gd name="T51" fmla="*/ 68 h 250"/>
                  <a:gd name="T52" fmla="*/ 26 w 256"/>
                  <a:gd name="T53" fmla="*/ 48 h 250"/>
                  <a:gd name="T54" fmla="*/ 44 w 256"/>
                  <a:gd name="T55" fmla="*/ 32 h 250"/>
                  <a:gd name="T56" fmla="*/ 86 w 256"/>
                  <a:gd name="T57" fmla="*/ 8 h 250"/>
                  <a:gd name="T58" fmla="*/ 138 w 256"/>
                  <a:gd name="T59" fmla="*/ 0 h 250"/>
                  <a:gd name="T60" fmla="*/ 154 w 256"/>
                  <a:gd name="T61" fmla="*/ 2 h 250"/>
                  <a:gd name="T62" fmla="*/ 184 w 256"/>
                  <a:gd name="T63" fmla="*/ 6 h 250"/>
                  <a:gd name="T64" fmla="*/ 208 w 256"/>
                  <a:gd name="T65" fmla="*/ 18 h 250"/>
                  <a:gd name="T66" fmla="*/ 228 w 256"/>
                  <a:gd name="T67" fmla="*/ 32 h 250"/>
                  <a:gd name="T68" fmla="*/ 242 w 256"/>
                  <a:gd name="T69" fmla="*/ 50 h 250"/>
                  <a:gd name="T70" fmla="*/ 250 w 256"/>
                  <a:gd name="T71" fmla="*/ 72 h 250"/>
                  <a:gd name="T72" fmla="*/ 256 w 256"/>
                  <a:gd name="T73" fmla="*/ 112 h 250"/>
                  <a:gd name="T74" fmla="*/ 86 w 256"/>
                  <a:gd name="T75" fmla="*/ 142 h 250"/>
                  <a:gd name="T76" fmla="*/ 172 w 256"/>
                  <a:gd name="T77" fmla="*/ 98 h 250"/>
                  <a:gd name="T78" fmla="*/ 170 w 256"/>
                  <a:gd name="T79" fmla="*/ 78 h 250"/>
                  <a:gd name="T80" fmla="*/ 164 w 256"/>
                  <a:gd name="T81" fmla="*/ 62 h 250"/>
                  <a:gd name="T82" fmla="*/ 158 w 256"/>
                  <a:gd name="T83" fmla="*/ 56 h 250"/>
                  <a:gd name="T84" fmla="*/ 142 w 256"/>
                  <a:gd name="T85" fmla="*/ 48 h 250"/>
                  <a:gd name="T86" fmla="*/ 134 w 256"/>
                  <a:gd name="T87" fmla="*/ 46 h 250"/>
                  <a:gd name="T88" fmla="*/ 114 w 256"/>
                  <a:gd name="T89" fmla="*/ 52 h 250"/>
                  <a:gd name="T90" fmla="*/ 102 w 256"/>
                  <a:gd name="T91" fmla="*/ 62 h 250"/>
                  <a:gd name="T92" fmla="*/ 94 w 256"/>
                  <a:gd name="T93" fmla="*/ 78 h 250"/>
                  <a:gd name="T94" fmla="*/ 172 w 256"/>
                  <a:gd name="T95" fmla="*/ 98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6" h="250">
                    <a:moveTo>
                      <a:pt x="86" y="142"/>
                    </a:moveTo>
                    <a:lnTo>
                      <a:pt x="86" y="142"/>
                    </a:lnTo>
                    <a:lnTo>
                      <a:pt x="84" y="154"/>
                    </a:lnTo>
                    <a:lnTo>
                      <a:pt x="86" y="166"/>
                    </a:lnTo>
                    <a:lnTo>
                      <a:pt x="88" y="176"/>
                    </a:lnTo>
                    <a:lnTo>
                      <a:pt x="90" y="184"/>
                    </a:lnTo>
                    <a:lnTo>
                      <a:pt x="96" y="192"/>
                    </a:lnTo>
                    <a:lnTo>
                      <a:pt x="102" y="196"/>
                    </a:lnTo>
                    <a:lnTo>
                      <a:pt x="112" y="200"/>
                    </a:lnTo>
                    <a:lnTo>
                      <a:pt x="124" y="202"/>
                    </a:lnTo>
                    <a:lnTo>
                      <a:pt x="124" y="202"/>
                    </a:lnTo>
                    <a:lnTo>
                      <a:pt x="132" y="200"/>
                    </a:lnTo>
                    <a:lnTo>
                      <a:pt x="140" y="198"/>
                    </a:lnTo>
                    <a:lnTo>
                      <a:pt x="148" y="196"/>
                    </a:lnTo>
                    <a:lnTo>
                      <a:pt x="154" y="192"/>
                    </a:lnTo>
                    <a:lnTo>
                      <a:pt x="158" y="186"/>
                    </a:lnTo>
                    <a:lnTo>
                      <a:pt x="162" y="180"/>
                    </a:lnTo>
                    <a:lnTo>
                      <a:pt x="164" y="174"/>
                    </a:lnTo>
                    <a:lnTo>
                      <a:pt x="164" y="170"/>
                    </a:lnTo>
                    <a:lnTo>
                      <a:pt x="248" y="170"/>
                    </a:lnTo>
                    <a:lnTo>
                      <a:pt x="248" y="170"/>
                    </a:lnTo>
                    <a:lnTo>
                      <a:pt x="246" y="180"/>
                    </a:lnTo>
                    <a:lnTo>
                      <a:pt x="242" y="190"/>
                    </a:lnTo>
                    <a:lnTo>
                      <a:pt x="238" y="198"/>
                    </a:lnTo>
                    <a:lnTo>
                      <a:pt x="232" y="208"/>
                    </a:lnTo>
                    <a:lnTo>
                      <a:pt x="218" y="222"/>
                    </a:lnTo>
                    <a:lnTo>
                      <a:pt x="202" y="234"/>
                    </a:lnTo>
                    <a:lnTo>
                      <a:pt x="202" y="234"/>
                    </a:lnTo>
                    <a:lnTo>
                      <a:pt x="186" y="242"/>
                    </a:lnTo>
                    <a:lnTo>
                      <a:pt x="168" y="246"/>
                    </a:lnTo>
                    <a:lnTo>
                      <a:pt x="148" y="248"/>
                    </a:lnTo>
                    <a:lnTo>
                      <a:pt x="128" y="250"/>
                    </a:lnTo>
                    <a:lnTo>
                      <a:pt x="128" y="250"/>
                    </a:lnTo>
                    <a:lnTo>
                      <a:pt x="96" y="248"/>
                    </a:lnTo>
                    <a:lnTo>
                      <a:pt x="80" y="244"/>
                    </a:lnTo>
                    <a:lnTo>
                      <a:pt x="66" y="242"/>
                    </a:lnTo>
                    <a:lnTo>
                      <a:pt x="54" y="238"/>
                    </a:lnTo>
                    <a:lnTo>
                      <a:pt x="44" y="232"/>
                    </a:lnTo>
                    <a:lnTo>
                      <a:pt x="34" y="226"/>
                    </a:lnTo>
                    <a:lnTo>
                      <a:pt x="26" y="218"/>
                    </a:lnTo>
                    <a:lnTo>
                      <a:pt x="18" y="210"/>
                    </a:lnTo>
                    <a:lnTo>
                      <a:pt x="12" y="200"/>
                    </a:lnTo>
                    <a:lnTo>
                      <a:pt x="8" y="190"/>
                    </a:lnTo>
                    <a:lnTo>
                      <a:pt x="4" y="178"/>
                    </a:lnTo>
                    <a:lnTo>
                      <a:pt x="2" y="164"/>
                    </a:lnTo>
                    <a:lnTo>
                      <a:pt x="0" y="150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2" y="106"/>
                    </a:lnTo>
                    <a:lnTo>
                      <a:pt x="4" y="92"/>
                    </a:lnTo>
                    <a:lnTo>
                      <a:pt x="8" y="80"/>
                    </a:lnTo>
                    <a:lnTo>
                      <a:pt x="14" y="68"/>
                    </a:lnTo>
                    <a:lnTo>
                      <a:pt x="20" y="58"/>
                    </a:lnTo>
                    <a:lnTo>
                      <a:pt x="26" y="48"/>
                    </a:lnTo>
                    <a:lnTo>
                      <a:pt x="34" y="40"/>
                    </a:lnTo>
                    <a:lnTo>
                      <a:pt x="44" y="32"/>
                    </a:lnTo>
                    <a:lnTo>
                      <a:pt x="64" y="18"/>
                    </a:lnTo>
                    <a:lnTo>
                      <a:pt x="86" y="8"/>
                    </a:lnTo>
                    <a:lnTo>
                      <a:pt x="110" y="2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4" y="2"/>
                    </a:lnTo>
                    <a:lnTo>
                      <a:pt x="170" y="4"/>
                    </a:lnTo>
                    <a:lnTo>
                      <a:pt x="184" y="6"/>
                    </a:lnTo>
                    <a:lnTo>
                      <a:pt x="196" y="12"/>
                    </a:lnTo>
                    <a:lnTo>
                      <a:pt x="208" y="18"/>
                    </a:lnTo>
                    <a:lnTo>
                      <a:pt x="218" y="24"/>
                    </a:lnTo>
                    <a:lnTo>
                      <a:pt x="228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46" y="60"/>
                    </a:lnTo>
                    <a:lnTo>
                      <a:pt x="250" y="72"/>
                    </a:lnTo>
                    <a:lnTo>
                      <a:pt x="254" y="84"/>
                    </a:lnTo>
                    <a:lnTo>
                      <a:pt x="256" y="112"/>
                    </a:lnTo>
                    <a:lnTo>
                      <a:pt x="254" y="142"/>
                    </a:lnTo>
                    <a:lnTo>
                      <a:pt x="86" y="142"/>
                    </a:lnTo>
                    <a:close/>
                    <a:moveTo>
                      <a:pt x="172" y="98"/>
                    </a:moveTo>
                    <a:lnTo>
                      <a:pt x="172" y="98"/>
                    </a:lnTo>
                    <a:lnTo>
                      <a:pt x="172" y="88"/>
                    </a:lnTo>
                    <a:lnTo>
                      <a:pt x="170" y="78"/>
                    </a:lnTo>
                    <a:lnTo>
                      <a:pt x="168" y="70"/>
                    </a:lnTo>
                    <a:lnTo>
                      <a:pt x="164" y="62"/>
                    </a:lnTo>
                    <a:lnTo>
                      <a:pt x="164" y="62"/>
                    </a:lnTo>
                    <a:lnTo>
                      <a:pt x="158" y="56"/>
                    </a:lnTo>
                    <a:lnTo>
                      <a:pt x="150" y="50"/>
                    </a:lnTo>
                    <a:lnTo>
                      <a:pt x="142" y="48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22" y="48"/>
                    </a:lnTo>
                    <a:lnTo>
                      <a:pt x="114" y="52"/>
                    </a:lnTo>
                    <a:lnTo>
                      <a:pt x="106" y="56"/>
                    </a:lnTo>
                    <a:lnTo>
                      <a:pt x="102" y="62"/>
                    </a:lnTo>
                    <a:lnTo>
                      <a:pt x="96" y="70"/>
                    </a:lnTo>
                    <a:lnTo>
                      <a:pt x="94" y="78"/>
                    </a:lnTo>
                    <a:lnTo>
                      <a:pt x="90" y="98"/>
                    </a:lnTo>
                    <a:lnTo>
                      <a:pt x="172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16"/>
              <p:cNvSpPr>
                <a:spLocks/>
              </p:cNvSpPr>
              <p:nvPr/>
            </p:nvSpPr>
            <p:spPr bwMode="auto">
              <a:xfrm>
                <a:off x="1314450" y="352425"/>
                <a:ext cx="196850" cy="542925"/>
              </a:xfrm>
              <a:custGeom>
                <a:avLst/>
                <a:gdLst>
                  <a:gd name="T0" fmla="*/ 24 w 124"/>
                  <a:gd name="T1" fmla="*/ 0 h 342"/>
                  <a:gd name="T2" fmla="*/ 124 w 124"/>
                  <a:gd name="T3" fmla="*/ 0 h 342"/>
                  <a:gd name="T4" fmla="*/ 100 w 124"/>
                  <a:gd name="T5" fmla="*/ 342 h 342"/>
                  <a:gd name="T6" fmla="*/ 0 w 124"/>
                  <a:gd name="T7" fmla="*/ 342 h 342"/>
                  <a:gd name="T8" fmla="*/ 24 w 124"/>
                  <a:gd name="T9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342">
                    <a:moveTo>
                      <a:pt x="24" y="0"/>
                    </a:moveTo>
                    <a:lnTo>
                      <a:pt x="124" y="0"/>
                    </a:lnTo>
                    <a:lnTo>
                      <a:pt x="100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17"/>
              <p:cNvSpPr>
                <a:spLocks/>
              </p:cNvSpPr>
              <p:nvPr/>
            </p:nvSpPr>
            <p:spPr bwMode="auto">
              <a:xfrm>
                <a:off x="1498600" y="352425"/>
                <a:ext cx="368300" cy="542925"/>
              </a:xfrm>
              <a:custGeom>
                <a:avLst/>
                <a:gdLst>
                  <a:gd name="T0" fmla="*/ 120 w 232"/>
                  <a:gd name="T1" fmla="*/ 0 h 342"/>
                  <a:gd name="T2" fmla="*/ 0 w 232"/>
                  <a:gd name="T3" fmla="*/ 152 h 342"/>
                  <a:gd name="T4" fmla="*/ 106 w 232"/>
                  <a:gd name="T5" fmla="*/ 342 h 342"/>
                  <a:gd name="T6" fmla="*/ 226 w 232"/>
                  <a:gd name="T7" fmla="*/ 342 h 342"/>
                  <a:gd name="T8" fmla="*/ 106 w 232"/>
                  <a:gd name="T9" fmla="*/ 148 h 342"/>
                  <a:gd name="T10" fmla="*/ 232 w 232"/>
                  <a:gd name="T11" fmla="*/ 0 h 342"/>
                  <a:gd name="T12" fmla="*/ 120 w 232"/>
                  <a:gd name="T13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2" h="342">
                    <a:moveTo>
                      <a:pt x="120" y="0"/>
                    </a:moveTo>
                    <a:lnTo>
                      <a:pt x="0" y="152"/>
                    </a:lnTo>
                    <a:lnTo>
                      <a:pt x="106" y="342"/>
                    </a:lnTo>
                    <a:lnTo>
                      <a:pt x="226" y="342"/>
                    </a:lnTo>
                    <a:lnTo>
                      <a:pt x="106" y="148"/>
                    </a:lnTo>
                    <a:lnTo>
                      <a:pt x="232" y="0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18"/>
              <p:cNvSpPr>
                <a:spLocks/>
              </p:cNvSpPr>
              <p:nvPr/>
            </p:nvSpPr>
            <p:spPr bwMode="auto">
              <a:xfrm>
                <a:off x="1876425" y="517525"/>
                <a:ext cx="158750" cy="377825"/>
              </a:xfrm>
              <a:custGeom>
                <a:avLst/>
                <a:gdLst>
                  <a:gd name="T0" fmla="*/ 16 w 100"/>
                  <a:gd name="T1" fmla="*/ 0 h 238"/>
                  <a:gd name="T2" fmla="*/ 100 w 100"/>
                  <a:gd name="T3" fmla="*/ 0 h 238"/>
                  <a:gd name="T4" fmla="*/ 84 w 100"/>
                  <a:gd name="T5" fmla="*/ 238 h 238"/>
                  <a:gd name="T6" fmla="*/ 0 w 100"/>
                  <a:gd name="T7" fmla="*/ 238 h 238"/>
                  <a:gd name="T8" fmla="*/ 16 w 100"/>
                  <a:gd name="T9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238">
                    <a:moveTo>
                      <a:pt x="16" y="0"/>
                    </a:moveTo>
                    <a:lnTo>
                      <a:pt x="100" y="0"/>
                    </a:lnTo>
                    <a:lnTo>
                      <a:pt x="84" y="238"/>
                    </a:lnTo>
                    <a:lnTo>
                      <a:pt x="0" y="238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19"/>
              <p:cNvSpPr>
                <a:spLocks/>
              </p:cNvSpPr>
              <p:nvPr/>
            </p:nvSpPr>
            <p:spPr bwMode="auto">
              <a:xfrm>
                <a:off x="2038350" y="504825"/>
                <a:ext cx="692150" cy="390525"/>
              </a:xfrm>
              <a:custGeom>
                <a:avLst/>
                <a:gdLst>
                  <a:gd name="T0" fmla="*/ 106 w 436"/>
                  <a:gd name="T1" fmla="*/ 40 h 246"/>
                  <a:gd name="T2" fmla="*/ 106 w 436"/>
                  <a:gd name="T3" fmla="*/ 40 h 246"/>
                  <a:gd name="T4" fmla="*/ 128 w 436"/>
                  <a:gd name="T5" fmla="*/ 20 h 246"/>
                  <a:gd name="T6" fmla="*/ 150 w 436"/>
                  <a:gd name="T7" fmla="*/ 8 h 246"/>
                  <a:gd name="T8" fmla="*/ 172 w 436"/>
                  <a:gd name="T9" fmla="*/ 2 h 246"/>
                  <a:gd name="T10" fmla="*/ 192 w 436"/>
                  <a:gd name="T11" fmla="*/ 2 h 246"/>
                  <a:gd name="T12" fmla="*/ 216 w 436"/>
                  <a:gd name="T13" fmla="*/ 6 h 246"/>
                  <a:gd name="T14" fmla="*/ 238 w 436"/>
                  <a:gd name="T15" fmla="*/ 14 h 246"/>
                  <a:gd name="T16" fmla="*/ 254 w 436"/>
                  <a:gd name="T17" fmla="*/ 28 h 246"/>
                  <a:gd name="T18" fmla="*/ 264 w 436"/>
                  <a:gd name="T19" fmla="*/ 44 h 246"/>
                  <a:gd name="T20" fmla="*/ 272 w 436"/>
                  <a:gd name="T21" fmla="*/ 34 h 246"/>
                  <a:gd name="T22" fmla="*/ 290 w 436"/>
                  <a:gd name="T23" fmla="*/ 18 h 246"/>
                  <a:gd name="T24" fmla="*/ 312 w 436"/>
                  <a:gd name="T25" fmla="*/ 8 h 246"/>
                  <a:gd name="T26" fmla="*/ 338 w 436"/>
                  <a:gd name="T27" fmla="*/ 2 h 246"/>
                  <a:gd name="T28" fmla="*/ 352 w 436"/>
                  <a:gd name="T29" fmla="*/ 0 h 246"/>
                  <a:gd name="T30" fmla="*/ 386 w 436"/>
                  <a:gd name="T31" fmla="*/ 6 h 246"/>
                  <a:gd name="T32" fmla="*/ 414 w 436"/>
                  <a:gd name="T33" fmla="*/ 24 h 246"/>
                  <a:gd name="T34" fmla="*/ 432 w 436"/>
                  <a:gd name="T35" fmla="*/ 50 h 246"/>
                  <a:gd name="T36" fmla="*/ 436 w 436"/>
                  <a:gd name="T37" fmla="*/ 86 h 246"/>
                  <a:gd name="T38" fmla="*/ 332 w 436"/>
                  <a:gd name="T39" fmla="*/ 246 h 246"/>
                  <a:gd name="T40" fmla="*/ 342 w 436"/>
                  <a:gd name="T41" fmla="*/ 106 h 246"/>
                  <a:gd name="T42" fmla="*/ 342 w 436"/>
                  <a:gd name="T43" fmla="*/ 80 h 246"/>
                  <a:gd name="T44" fmla="*/ 336 w 436"/>
                  <a:gd name="T45" fmla="*/ 66 h 246"/>
                  <a:gd name="T46" fmla="*/ 322 w 436"/>
                  <a:gd name="T47" fmla="*/ 58 h 246"/>
                  <a:gd name="T48" fmla="*/ 312 w 436"/>
                  <a:gd name="T49" fmla="*/ 58 h 246"/>
                  <a:gd name="T50" fmla="*/ 288 w 436"/>
                  <a:gd name="T51" fmla="*/ 66 h 246"/>
                  <a:gd name="T52" fmla="*/ 276 w 436"/>
                  <a:gd name="T53" fmla="*/ 82 h 246"/>
                  <a:gd name="T54" fmla="*/ 270 w 436"/>
                  <a:gd name="T55" fmla="*/ 100 h 246"/>
                  <a:gd name="T56" fmla="*/ 260 w 436"/>
                  <a:gd name="T57" fmla="*/ 246 h 246"/>
                  <a:gd name="T58" fmla="*/ 180 w 436"/>
                  <a:gd name="T59" fmla="*/ 106 h 246"/>
                  <a:gd name="T60" fmla="*/ 178 w 436"/>
                  <a:gd name="T61" fmla="*/ 88 h 246"/>
                  <a:gd name="T62" fmla="*/ 174 w 436"/>
                  <a:gd name="T63" fmla="*/ 72 h 246"/>
                  <a:gd name="T64" fmla="*/ 164 w 436"/>
                  <a:gd name="T65" fmla="*/ 62 h 246"/>
                  <a:gd name="T66" fmla="*/ 148 w 436"/>
                  <a:gd name="T67" fmla="*/ 58 h 246"/>
                  <a:gd name="T68" fmla="*/ 132 w 436"/>
                  <a:gd name="T69" fmla="*/ 60 h 246"/>
                  <a:gd name="T70" fmla="*/ 114 w 436"/>
                  <a:gd name="T71" fmla="*/ 72 h 246"/>
                  <a:gd name="T72" fmla="*/ 104 w 436"/>
                  <a:gd name="T73" fmla="*/ 92 h 246"/>
                  <a:gd name="T74" fmla="*/ 102 w 436"/>
                  <a:gd name="T75" fmla="*/ 110 h 246"/>
                  <a:gd name="T76" fmla="*/ 0 w 436"/>
                  <a:gd name="T77" fmla="*/ 246 h 246"/>
                  <a:gd name="T78" fmla="*/ 106 w 436"/>
                  <a:gd name="T79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36" h="246">
                    <a:moveTo>
                      <a:pt x="106" y="8"/>
                    </a:moveTo>
                    <a:lnTo>
                      <a:pt x="106" y="40"/>
                    </a:lnTo>
                    <a:lnTo>
                      <a:pt x="106" y="40"/>
                    </a:lnTo>
                    <a:lnTo>
                      <a:pt x="106" y="40"/>
                    </a:lnTo>
                    <a:lnTo>
                      <a:pt x="118" y="28"/>
                    </a:lnTo>
                    <a:lnTo>
                      <a:pt x="128" y="20"/>
                    </a:lnTo>
                    <a:lnTo>
                      <a:pt x="140" y="12"/>
                    </a:lnTo>
                    <a:lnTo>
                      <a:pt x="150" y="8"/>
                    </a:lnTo>
                    <a:lnTo>
                      <a:pt x="162" y="4"/>
                    </a:lnTo>
                    <a:lnTo>
                      <a:pt x="172" y="2"/>
                    </a:lnTo>
                    <a:lnTo>
                      <a:pt x="192" y="2"/>
                    </a:lnTo>
                    <a:lnTo>
                      <a:pt x="192" y="2"/>
                    </a:lnTo>
                    <a:lnTo>
                      <a:pt x="204" y="2"/>
                    </a:lnTo>
                    <a:lnTo>
                      <a:pt x="216" y="6"/>
                    </a:lnTo>
                    <a:lnTo>
                      <a:pt x="228" y="8"/>
                    </a:lnTo>
                    <a:lnTo>
                      <a:pt x="238" y="14"/>
                    </a:lnTo>
                    <a:lnTo>
                      <a:pt x="246" y="20"/>
                    </a:lnTo>
                    <a:lnTo>
                      <a:pt x="254" y="28"/>
                    </a:lnTo>
                    <a:lnTo>
                      <a:pt x="260" y="36"/>
                    </a:lnTo>
                    <a:lnTo>
                      <a:pt x="264" y="44"/>
                    </a:lnTo>
                    <a:lnTo>
                      <a:pt x="264" y="44"/>
                    </a:lnTo>
                    <a:lnTo>
                      <a:pt x="272" y="34"/>
                    </a:lnTo>
                    <a:lnTo>
                      <a:pt x="280" y="26"/>
                    </a:lnTo>
                    <a:lnTo>
                      <a:pt x="290" y="18"/>
                    </a:lnTo>
                    <a:lnTo>
                      <a:pt x="302" y="12"/>
                    </a:lnTo>
                    <a:lnTo>
                      <a:pt x="312" y="8"/>
                    </a:lnTo>
                    <a:lnTo>
                      <a:pt x="326" y="4"/>
                    </a:lnTo>
                    <a:lnTo>
                      <a:pt x="338" y="2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70" y="2"/>
                    </a:lnTo>
                    <a:lnTo>
                      <a:pt x="386" y="6"/>
                    </a:lnTo>
                    <a:lnTo>
                      <a:pt x="402" y="14"/>
                    </a:lnTo>
                    <a:lnTo>
                      <a:pt x="414" y="24"/>
                    </a:lnTo>
                    <a:lnTo>
                      <a:pt x="424" y="36"/>
                    </a:lnTo>
                    <a:lnTo>
                      <a:pt x="432" y="50"/>
                    </a:lnTo>
                    <a:lnTo>
                      <a:pt x="436" y="68"/>
                    </a:lnTo>
                    <a:lnTo>
                      <a:pt x="436" y="86"/>
                    </a:lnTo>
                    <a:lnTo>
                      <a:pt x="424" y="246"/>
                    </a:lnTo>
                    <a:lnTo>
                      <a:pt x="332" y="246"/>
                    </a:lnTo>
                    <a:lnTo>
                      <a:pt x="342" y="106"/>
                    </a:lnTo>
                    <a:lnTo>
                      <a:pt x="342" y="106"/>
                    </a:lnTo>
                    <a:lnTo>
                      <a:pt x="342" y="88"/>
                    </a:lnTo>
                    <a:lnTo>
                      <a:pt x="342" y="80"/>
                    </a:lnTo>
                    <a:lnTo>
                      <a:pt x="340" y="74"/>
                    </a:lnTo>
                    <a:lnTo>
                      <a:pt x="336" y="66"/>
                    </a:lnTo>
                    <a:lnTo>
                      <a:pt x="330" y="62"/>
                    </a:lnTo>
                    <a:lnTo>
                      <a:pt x="322" y="58"/>
                    </a:lnTo>
                    <a:lnTo>
                      <a:pt x="312" y="58"/>
                    </a:lnTo>
                    <a:lnTo>
                      <a:pt x="312" y="58"/>
                    </a:lnTo>
                    <a:lnTo>
                      <a:pt x="298" y="60"/>
                    </a:lnTo>
                    <a:lnTo>
                      <a:pt x="288" y="66"/>
                    </a:lnTo>
                    <a:lnTo>
                      <a:pt x="280" y="72"/>
                    </a:lnTo>
                    <a:lnTo>
                      <a:pt x="276" y="82"/>
                    </a:lnTo>
                    <a:lnTo>
                      <a:pt x="272" y="92"/>
                    </a:lnTo>
                    <a:lnTo>
                      <a:pt x="270" y="100"/>
                    </a:lnTo>
                    <a:lnTo>
                      <a:pt x="270" y="110"/>
                    </a:lnTo>
                    <a:lnTo>
                      <a:pt x="260" y="246"/>
                    </a:lnTo>
                    <a:lnTo>
                      <a:pt x="170" y="246"/>
                    </a:lnTo>
                    <a:lnTo>
                      <a:pt x="180" y="106"/>
                    </a:lnTo>
                    <a:lnTo>
                      <a:pt x="180" y="106"/>
                    </a:lnTo>
                    <a:lnTo>
                      <a:pt x="178" y="88"/>
                    </a:lnTo>
                    <a:lnTo>
                      <a:pt x="178" y="80"/>
                    </a:lnTo>
                    <a:lnTo>
                      <a:pt x="174" y="72"/>
                    </a:lnTo>
                    <a:lnTo>
                      <a:pt x="170" y="66"/>
                    </a:lnTo>
                    <a:lnTo>
                      <a:pt x="164" y="62"/>
                    </a:lnTo>
                    <a:lnTo>
                      <a:pt x="15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32" y="60"/>
                    </a:lnTo>
                    <a:lnTo>
                      <a:pt x="122" y="66"/>
                    </a:lnTo>
                    <a:lnTo>
                      <a:pt x="114" y="72"/>
                    </a:lnTo>
                    <a:lnTo>
                      <a:pt x="108" y="82"/>
                    </a:lnTo>
                    <a:lnTo>
                      <a:pt x="104" y="92"/>
                    </a:lnTo>
                    <a:lnTo>
                      <a:pt x="104" y="100"/>
                    </a:lnTo>
                    <a:lnTo>
                      <a:pt x="102" y="110"/>
                    </a:lnTo>
                    <a:lnTo>
                      <a:pt x="94" y="246"/>
                    </a:lnTo>
                    <a:lnTo>
                      <a:pt x="0" y="246"/>
                    </a:lnTo>
                    <a:lnTo>
                      <a:pt x="16" y="8"/>
                    </a:lnTo>
                    <a:lnTo>
                      <a:pt x="106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20"/>
              <p:cNvSpPr>
                <a:spLocks/>
              </p:cNvSpPr>
              <p:nvPr/>
            </p:nvSpPr>
            <p:spPr bwMode="auto">
              <a:xfrm>
                <a:off x="4064000" y="517525"/>
                <a:ext cx="454025" cy="558800"/>
              </a:xfrm>
              <a:custGeom>
                <a:avLst/>
                <a:gdLst>
                  <a:gd name="T0" fmla="*/ 116 w 286"/>
                  <a:gd name="T1" fmla="*/ 352 h 352"/>
                  <a:gd name="T2" fmla="*/ 34 w 286"/>
                  <a:gd name="T3" fmla="*/ 352 h 352"/>
                  <a:gd name="T4" fmla="*/ 86 w 286"/>
                  <a:gd name="T5" fmla="*/ 242 h 352"/>
                  <a:gd name="T6" fmla="*/ 0 w 286"/>
                  <a:gd name="T7" fmla="*/ 0 h 352"/>
                  <a:gd name="T8" fmla="*/ 100 w 286"/>
                  <a:gd name="T9" fmla="*/ 0 h 352"/>
                  <a:gd name="T10" fmla="*/ 140 w 286"/>
                  <a:gd name="T11" fmla="*/ 148 h 352"/>
                  <a:gd name="T12" fmla="*/ 202 w 286"/>
                  <a:gd name="T13" fmla="*/ 0 h 352"/>
                  <a:gd name="T14" fmla="*/ 286 w 286"/>
                  <a:gd name="T15" fmla="*/ 0 h 352"/>
                  <a:gd name="T16" fmla="*/ 116 w 286"/>
                  <a:gd name="T17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6" h="352">
                    <a:moveTo>
                      <a:pt x="116" y="352"/>
                    </a:moveTo>
                    <a:lnTo>
                      <a:pt x="34" y="352"/>
                    </a:lnTo>
                    <a:lnTo>
                      <a:pt x="86" y="242"/>
                    </a:lnTo>
                    <a:lnTo>
                      <a:pt x="0" y="0"/>
                    </a:lnTo>
                    <a:lnTo>
                      <a:pt x="100" y="0"/>
                    </a:lnTo>
                    <a:lnTo>
                      <a:pt x="140" y="148"/>
                    </a:lnTo>
                    <a:lnTo>
                      <a:pt x="202" y="0"/>
                    </a:lnTo>
                    <a:lnTo>
                      <a:pt x="286" y="0"/>
                    </a:lnTo>
                    <a:lnTo>
                      <a:pt x="116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21"/>
              <p:cNvSpPr>
                <a:spLocks/>
              </p:cNvSpPr>
              <p:nvPr/>
            </p:nvSpPr>
            <p:spPr bwMode="auto">
              <a:xfrm>
                <a:off x="4473575" y="593725"/>
                <a:ext cx="241300" cy="117475"/>
              </a:xfrm>
              <a:custGeom>
                <a:avLst/>
                <a:gdLst>
                  <a:gd name="T0" fmla="*/ 36 w 152"/>
                  <a:gd name="T1" fmla="*/ 0 h 74"/>
                  <a:gd name="T2" fmla="*/ 152 w 152"/>
                  <a:gd name="T3" fmla="*/ 0 h 74"/>
                  <a:gd name="T4" fmla="*/ 114 w 152"/>
                  <a:gd name="T5" fmla="*/ 74 h 74"/>
                  <a:gd name="T6" fmla="*/ 0 w 152"/>
                  <a:gd name="T7" fmla="*/ 74 h 74"/>
                  <a:gd name="T8" fmla="*/ 36 w 152"/>
                  <a:gd name="T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74">
                    <a:moveTo>
                      <a:pt x="36" y="0"/>
                    </a:moveTo>
                    <a:lnTo>
                      <a:pt x="152" y="0"/>
                    </a:lnTo>
                    <a:lnTo>
                      <a:pt x="114" y="74"/>
                    </a:lnTo>
                    <a:lnTo>
                      <a:pt x="0" y="7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" name="Freeform 22"/>
              <p:cNvSpPr>
                <a:spLocks/>
              </p:cNvSpPr>
              <p:nvPr/>
            </p:nvSpPr>
            <p:spPr bwMode="auto">
              <a:xfrm>
                <a:off x="4721225" y="339725"/>
                <a:ext cx="504825" cy="558800"/>
              </a:xfrm>
              <a:custGeom>
                <a:avLst/>
                <a:gdLst>
                  <a:gd name="T0" fmla="*/ 180 w 318"/>
                  <a:gd name="T1" fmla="*/ 0 h 352"/>
                  <a:gd name="T2" fmla="*/ 232 w 318"/>
                  <a:gd name="T3" fmla="*/ 6 h 352"/>
                  <a:gd name="T4" fmla="*/ 266 w 318"/>
                  <a:gd name="T5" fmla="*/ 20 h 352"/>
                  <a:gd name="T6" fmla="*/ 286 w 318"/>
                  <a:gd name="T7" fmla="*/ 32 h 352"/>
                  <a:gd name="T8" fmla="*/ 302 w 318"/>
                  <a:gd name="T9" fmla="*/ 50 h 352"/>
                  <a:gd name="T10" fmla="*/ 312 w 318"/>
                  <a:gd name="T11" fmla="*/ 74 h 352"/>
                  <a:gd name="T12" fmla="*/ 318 w 318"/>
                  <a:gd name="T13" fmla="*/ 100 h 352"/>
                  <a:gd name="T14" fmla="*/ 222 w 318"/>
                  <a:gd name="T15" fmla="*/ 116 h 352"/>
                  <a:gd name="T16" fmla="*/ 222 w 318"/>
                  <a:gd name="T17" fmla="*/ 108 h 352"/>
                  <a:gd name="T18" fmla="*/ 216 w 318"/>
                  <a:gd name="T19" fmla="*/ 90 h 352"/>
                  <a:gd name="T20" fmla="*/ 204 w 318"/>
                  <a:gd name="T21" fmla="*/ 76 h 352"/>
                  <a:gd name="T22" fmla="*/ 188 w 318"/>
                  <a:gd name="T23" fmla="*/ 68 h 352"/>
                  <a:gd name="T24" fmla="*/ 176 w 318"/>
                  <a:gd name="T25" fmla="*/ 68 h 352"/>
                  <a:gd name="T26" fmla="*/ 150 w 318"/>
                  <a:gd name="T27" fmla="*/ 72 h 352"/>
                  <a:gd name="T28" fmla="*/ 128 w 318"/>
                  <a:gd name="T29" fmla="*/ 88 h 352"/>
                  <a:gd name="T30" fmla="*/ 108 w 318"/>
                  <a:gd name="T31" fmla="*/ 118 h 352"/>
                  <a:gd name="T32" fmla="*/ 98 w 318"/>
                  <a:gd name="T33" fmla="*/ 162 h 352"/>
                  <a:gd name="T34" fmla="*/ 96 w 318"/>
                  <a:gd name="T35" fmla="*/ 188 h 352"/>
                  <a:gd name="T36" fmla="*/ 98 w 318"/>
                  <a:gd name="T37" fmla="*/ 234 h 352"/>
                  <a:gd name="T38" fmla="*/ 112 w 318"/>
                  <a:gd name="T39" fmla="*/ 266 h 352"/>
                  <a:gd name="T40" fmla="*/ 122 w 318"/>
                  <a:gd name="T41" fmla="*/ 278 h 352"/>
                  <a:gd name="T42" fmla="*/ 138 w 318"/>
                  <a:gd name="T43" fmla="*/ 284 h 352"/>
                  <a:gd name="T44" fmla="*/ 158 w 318"/>
                  <a:gd name="T45" fmla="*/ 288 h 352"/>
                  <a:gd name="T46" fmla="*/ 174 w 318"/>
                  <a:gd name="T47" fmla="*/ 286 h 352"/>
                  <a:gd name="T48" fmla="*/ 198 w 318"/>
                  <a:gd name="T49" fmla="*/ 274 h 352"/>
                  <a:gd name="T50" fmla="*/ 212 w 318"/>
                  <a:gd name="T51" fmla="*/ 256 h 352"/>
                  <a:gd name="T52" fmla="*/ 218 w 318"/>
                  <a:gd name="T53" fmla="*/ 236 h 352"/>
                  <a:gd name="T54" fmla="*/ 314 w 318"/>
                  <a:gd name="T55" fmla="*/ 236 h 352"/>
                  <a:gd name="T56" fmla="*/ 306 w 318"/>
                  <a:gd name="T57" fmla="*/ 270 h 352"/>
                  <a:gd name="T58" fmla="*/ 290 w 318"/>
                  <a:gd name="T59" fmla="*/ 300 h 352"/>
                  <a:gd name="T60" fmla="*/ 272 w 318"/>
                  <a:gd name="T61" fmla="*/ 318 h 352"/>
                  <a:gd name="T62" fmla="*/ 248 w 318"/>
                  <a:gd name="T63" fmla="*/ 334 h 352"/>
                  <a:gd name="T64" fmla="*/ 216 w 318"/>
                  <a:gd name="T65" fmla="*/ 346 h 352"/>
                  <a:gd name="T66" fmla="*/ 176 w 318"/>
                  <a:gd name="T67" fmla="*/ 352 h 352"/>
                  <a:gd name="T68" fmla="*/ 152 w 318"/>
                  <a:gd name="T69" fmla="*/ 352 h 352"/>
                  <a:gd name="T70" fmla="*/ 106 w 318"/>
                  <a:gd name="T71" fmla="*/ 348 h 352"/>
                  <a:gd name="T72" fmla="*/ 70 w 318"/>
                  <a:gd name="T73" fmla="*/ 336 h 352"/>
                  <a:gd name="T74" fmla="*/ 42 w 318"/>
                  <a:gd name="T75" fmla="*/ 316 h 352"/>
                  <a:gd name="T76" fmla="*/ 22 w 318"/>
                  <a:gd name="T77" fmla="*/ 292 h 352"/>
                  <a:gd name="T78" fmla="*/ 8 w 318"/>
                  <a:gd name="T79" fmla="*/ 262 h 352"/>
                  <a:gd name="T80" fmla="*/ 2 w 318"/>
                  <a:gd name="T81" fmla="*/ 230 h 352"/>
                  <a:gd name="T82" fmla="*/ 0 w 318"/>
                  <a:gd name="T83" fmla="*/ 194 h 352"/>
                  <a:gd name="T84" fmla="*/ 2 w 318"/>
                  <a:gd name="T85" fmla="*/ 160 h 352"/>
                  <a:gd name="T86" fmla="*/ 18 w 318"/>
                  <a:gd name="T87" fmla="*/ 102 h 352"/>
                  <a:gd name="T88" fmla="*/ 32 w 318"/>
                  <a:gd name="T89" fmla="*/ 74 h 352"/>
                  <a:gd name="T90" fmla="*/ 52 w 318"/>
                  <a:gd name="T91" fmla="*/ 50 h 352"/>
                  <a:gd name="T92" fmla="*/ 76 w 318"/>
                  <a:gd name="T93" fmla="*/ 30 h 352"/>
                  <a:gd name="T94" fmla="*/ 106 w 318"/>
                  <a:gd name="T95" fmla="*/ 14 h 352"/>
                  <a:gd name="T96" fmla="*/ 140 w 318"/>
                  <a:gd name="T97" fmla="*/ 4 h 352"/>
                  <a:gd name="T98" fmla="*/ 180 w 318"/>
                  <a:gd name="T99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18" h="352">
                    <a:moveTo>
                      <a:pt x="180" y="0"/>
                    </a:moveTo>
                    <a:lnTo>
                      <a:pt x="180" y="0"/>
                    </a:lnTo>
                    <a:lnTo>
                      <a:pt x="206" y="0"/>
                    </a:lnTo>
                    <a:lnTo>
                      <a:pt x="232" y="6"/>
                    </a:lnTo>
                    <a:lnTo>
                      <a:pt x="256" y="14"/>
                    </a:lnTo>
                    <a:lnTo>
                      <a:pt x="266" y="20"/>
                    </a:lnTo>
                    <a:lnTo>
                      <a:pt x="276" y="26"/>
                    </a:lnTo>
                    <a:lnTo>
                      <a:pt x="286" y="32"/>
                    </a:lnTo>
                    <a:lnTo>
                      <a:pt x="294" y="42"/>
                    </a:lnTo>
                    <a:lnTo>
                      <a:pt x="302" y="50"/>
                    </a:lnTo>
                    <a:lnTo>
                      <a:pt x="308" y="62"/>
                    </a:lnTo>
                    <a:lnTo>
                      <a:pt x="312" y="74"/>
                    </a:lnTo>
                    <a:lnTo>
                      <a:pt x="316" y="86"/>
                    </a:lnTo>
                    <a:lnTo>
                      <a:pt x="318" y="100"/>
                    </a:lnTo>
                    <a:lnTo>
                      <a:pt x="318" y="116"/>
                    </a:lnTo>
                    <a:lnTo>
                      <a:pt x="222" y="116"/>
                    </a:lnTo>
                    <a:lnTo>
                      <a:pt x="222" y="116"/>
                    </a:lnTo>
                    <a:lnTo>
                      <a:pt x="222" y="108"/>
                    </a:lnTo>
                    <a:lnTo>
                      <a:pt x="220" y="98"/>
                    </a:lnTo>
                    <a:lnTo>
                      <a:pt x="216" y="90"/>
                    </a:lnTo>
                    <a:lnTo>
                      <a:pt x="212" y="84"/>
                    </a:lnTo>
                    <a:lnTo>
                      <a:pt x="204" y="76"/>
                    </a:lnTo>
                    <a:lnTo>
                      <a:pt x="198" y="72"/>
                    </a:lnTo>
                    <a:lnTo>
                      <a:pt x="188" y="68"/>
                    </a:lnTo>
                    <a:lnTo>
                      <a:pt x="176" y="68"/>
                    </a:lnTo>
                    <a:lnTo>
                      <a:pt x="176" y="68"/>
                    </a:lnTo>
                    <a:lnTo>
                      <a:pt x="164" y="68"/>
                    </a:lnTo>
                    <a:lnTo>
                      <a:pt x="150" y="72"/>
                    </a:lnTo>
                    <a:lnTo>
                      <a:pt x="138" y="80"/>
                    </a:lnTo>
                    <a:lnTo>
                      <a:pt x="128" y="88"/>
                    </a:lnTo>
                    <a:lnTo>
                      <a:pt x="118" y="102"/>
                    </a:lnTo>
                    <a:lnTo>
                      <a:pt x="108" y="118"/>
                    </a:lnTo>
                    <a:lnTo>
                      <a:pt x="102" y="138"/>
                    </a:lnTo>
                    <a:lnTo>
                      <a:pt x="98" y="162"/>
                    </a:lnTo>
                    <a:lnTo>
                      <a:pt x="98" y="162"/>
                    </a:lnTo>
                    <a:lnTo>
                      <a:pt x="96" y="188"/>
                    </a:lnTo>
                    <a:lnTo>
                      <a:pt x="96" y="212"/>
                    </a:lnTo>
                    <a:lnTo>
                      <a:pt x="98" y="234"/>
                    </a:lnTo>
                    <a:lnTo>
                      <a:pt x="104" y="252"/>
                    </a:lnTo>
                    <a:lnTo>
                      <a:pt x="112" y="266"/>
                    </a:lnTo>
                    <a:lnTo>
                      <a:pt x="116" y="272"/>
                    </a:lnTo>
                    <a:lnTo>
                      <a:pt x="122" y="278"/>
                    </a:lnTo>
                    <a:lnTo>
                      <a:pt x="130" y="282"/>
                    </a:lnTo>
                    <a:lnTo>
                      <a:pt x="138" y="284"/>
                    </a:lnTo>
                    <a:lnTo>
                      <a:pt x="148" y="286"/>
                    </a:lnTo>
                    <a:lnTo>
                      <a:pt x="158" y="288"/>
                    </a:lnTo>
                    <a:lnTo>
                      <a:pt x="158" y="288"/>
                    </a:lnTo>
                    <a:lnTo>
                      <a:pt x="174" y="286"/>
                    </a:lnTo>
                    <a:lnTo>
                      <a:pt x="188" y="280"/>
                    </a:lnTo>
                    <a:lnTo>
                      <a:pt x="198" y="274"/>
                    </a:lnTo>
                    <a:lnTo>
                      <a:pt x="206" y="264"/>
                    </a:lnTo>
                    <a:lnTo>
                      <a:pt x="212" y="256"/>
                    </a:lnTo>
                    <a:lnTo>
                      <a:pt x="214" y="248"/>
                    </a:lnTo>
                    <a:lnTo>
                      <a:pt x="218" y="236"/>
                    </a:lnTo>
                    <a:lnTo>
                      <a:pt x="314" y="236"/>
                    </a:lnTo>
                    <a:lnTo>
                      <a:pt x="314" y="236"/>
                    </a:lnTo>
                    <a:lnTo>
                      <a:pt x="312" y="252"/>
                    </a:lnTo>
                    <a:lnTo>
                      <a:pt x="306" y="270"/>
                    </a:lnTo>
                    <a:lnTo>
                      <a:pt x="296" y="290"/>
                    </a:lnTo>
                    <a:lnTo>
                      <a:pt x="290" y="300"/>
                    </a:lnTo>
                    <a:lnTo>
                      <a:pt x="282" y="308"/>
                    </a:lnTo>
                    <a:lnTo>
                      <a:pt x="272" y="318"/>
                    </a:lnTo>
                    <a:lnTo>
                      <a:pt x="260" y="326"/>
                    </a:lnTo>
                    <a:lnTo>
                      <a:pt x="248" y="334"/>
                    </a:lnTo>
                    <a:lnTo>
                      <a:pt x="232" y="340"/>
                    </a:lnTo>
                    <a:lnTo>
                      <a:pt x="216" y="346"/>
                    </a:lnTo>
                    <a:lnTo>
                      <a:pt x="196" y="350"/>
                    </a:lnTo>
                    <a:lnTo>
                      <a:pt x="176" y="352"/>
                    </a:lnTo>
                    <a:lnTo>
                      <a:pt x="152" y="352"/>
                    </a:lnTo>
                    <a:lnTo>
                      <a:pt x="152" y="352"/>
                    </a:lnTo>
                    <a:lnTo>
                      <a:pt x="128" y="352"/>
                    </a:lnTo>
                    <a:lnTo>
                      <a:pt x="106" y="348"/>
                    </a:lnTo>
                    <a:lnTo>
                      <a:pt x="86" y="342"/>
                    </a:lnTo>
                    <a:lnTo>
                      <a:pt x="70" y="336"/>
                    </a:lnTo>
                    <a:lnTo>
                      <a:pt x="54" y="326"/>
                    </a:lnTo>
                    <a:lnTo>
                      <a:pt x="42" y="316"/>
                    </a:lnTo>
                    <a:lnTo>
                      <a:pt x="30" y="304"/>
                    </a:lnTo>
                    <a:lnTo>
                      <a:pt x="22" y="292"/>
                    </a:lnTo>
                    <a:lnTo>
                      <a:pt x="14" y="276"/>
                    </a:lnTo>
                    <a:lnTo>
                      <a:pt x="8" y="262"/>
                    </a:lnTo>
                    <a:lnTo>
                      <a:pt x="4" y="246"/>
                    </a:lnTo>
                    <a:lnTo>
                      <a:pt x="2" y="230"/>
                    </a:lnTo>
                    <a:lnTo>
                      <a:pt x="0" y="212"/>
                    </a:lnTo>
                    <a:lnTo>
                      <a:pt x="0" y="194"/>
                    </a:lnTo>
                    <a:lnTo>
                      <a:pt x="2" y="160"/>
                    </a:lnTo>
                    <a:lnTo>
                      <a:pt x="2" y="160"/>
                    </a:lnTo>
                    <a:lnTo>
                      <a:pt x="8" y="130"/>
                    </a:lnTo>
                    <a:lnTo>
                      <a:pt x="18" y="102"/>
                    </a:lnTo>
                    <a:lnTo>
                      <a:pt x="24" y="88"/>
                    </a:lnTo>
                    <a:lnTo>
                      <a:pt x="32" y="74"/>
                    </a:lnTo>
                    <a:lnTo>
                      <a:pt x="42" y="62"/>
                    </a:lnTo>
                    <a:lnTo>
                      <a:pt x="52" y="50"/>
                    </a:lnTo>
                    <a:lnTo>
                      <a:pt x="64" y="40"/>
                    </a:lnTo>
                    <a:lnTo>
                      <a:pt x="76" y="30"/>
                    </a:lnTo>
                    <a:lnTo>
                      <a:pt x="90" y="20"/>
                    </a:lnTo>
                    <a:lnTo>
                      <a:pt x="106" y="14"/>
                    </a:lnTo>
                    <a:lnTo>
                      <a:pt x="122" y="8"/>
                    </a:lnTo>
                    <a:lnTo>
                      <a:pt x="140" y="4"/>
                    </a:lnTo>
                    <a:lnTo>
                      <a:pt x="160" y="0"/>
                    </a:lnTo>
                    <a:lnTo>
                      <a:pt x="180" y="0"/>
                    </a:lnTo>
                    <a:lnTo>
                      <a:pt x="18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23"/>
              <p:cNvSpPr>
                <a:spLocks/>
              </p:cNvSpPr>
              <p:nvPr/>
            </p:nvSpPr>
            <p:spPr bwMode="auto">
              <a:xfrm>
                <a:off x="5229225" y="352425"/>
                <a:ext cx="177800" cy="542925"/>
              </a:xfrm>
              <a:custGeom>
                <a:avLst/>
                <a:gdLst>
                  <a:gd name="T0" fmla="*/ 0 w 112"/>
                  <a:gd name="T1" fmla="*/ 342 h 342"/>
                  <a:gd name="T2" fmla="*/ 24 w 112"/>
                  <a:gd name="T3" fmla="*/ 0 h 342"/>
                  <a:gd name="T4" fmla="*/ 112 w 112"/>
                  <a:gd name="T5" fmla="*/ 0 h 342"/>
                  <a:gd name="T6" fmla="*/ 88 w 112"/>
                  <a:gd name="T7" fmla="*/ 342 h 342"/>
                  <a:gd name="T8" fmla="*/ 0 w 112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2" y="0"/>
                    </a:lnTo>
                    <a:lnTo>
                      <a:pt x="88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Freeform 24"/>
              <p:cNvSpPr>
                <a:spLocks/>
              </p:cNvSpPr>
              <p:nvPr/>
            </p:nvSpPr>
            <p:spPr bwMode="auto">
              <a:xfrm>
                <a:off x="5803900" y="517525"/>
                <a:ext cx="295275" cy="377825"/>
              </a:xfrm>
              <a:custGeom>
                <a:avLst/>
                <a:gdLst>
                  <a:gd name="T0" fmla="*/ 106 w 186"/>
                  <a:gd name="T1" fmla="*/ 34 h 238"/>
                  <a:gd name="T2" fmla="*/ 106 w 186"/>
                  <a:gd name="T3" fmla="*/ 34 h 238"/>
                  <a:gd name="T4" fmla="*/ 106 w 186"/>
                  <a:gd name="T5" fmla="*/ 34 h 238"/>
                  <a:gd name="T6" fmla="*/ 116 w 186"/>
                  <a:gd name="T7" fmla="*/ 24 h 238"/>
                  <a:gd name="T8" fmla="*/ 124 w 186"/>
                  <a:gd name="T9" fmla="*/ 16 h 238"/>
                  <a:gd name="T10" fmla="*/ 134 w 186"/>
                  <a:gd name="T11" fmla="*/ 10 h 238"/>
                  <a:gd name="T12" fmla="*/ 144 w 186"/>
                  <a:gd name="T13" fmla="*/ 6 h 238"/>
                  <a:gd name="T14" fmla="*/ 154 w 186"/>
                  <a:gd name="T15" fmla="*/ 4 h 238"/>
                  <a:gd name="T16" fmla="*/ 164 w 186"/>
                  <a:gd name="T17" fmla="*/ 2 h 238"/>
                  <a:gd name="T18" fmla="*/ 186 w 186"/>
                  <a:gd name="T19" fmla="*/ 0 h 238"/>
                  <a:gd name="T20" fmla="*/ 180 w 186"/>
                  <a:gd name="T21" fmla="*/ 76 h 238"/>
                  <a:gd name="T22" fmla="*/ 180 w 186"/>
                  <a:gd name="T23" fmla="*/ 76 h 238"/>
                  <a:gd name="T24" fmla="*/ 162 w 186"/>
                  <a:gd name="T25" fmla="*/ 76 h 238"/>
                  <a:gd name="T26" fmla="*/ 162 w 186"/>
                  <a:gd name="T27" fmla="*/ 76 h 238"/>
                  <a:gd name="T28" fmla="*/ 142 w 186"/>
                  <a:gd name="T29" fmla="*/ 78 h 238"/>
                  <a:gd name="T30" fmla="*/ 126 w 186"/>
                  <a:gd name="T31" fmla="*/ 82 h 238"/>
                  <a:gd name="T32" fmla="*/ 116 w 186"/>
                  <a:gd name="T33" fmla="*/ 88 h 238"/>
                  <a:gd name="T34" fmla="*/ 108 w 186"/>
                  <a:gd name="T35" fmla="*/ 98 h 238"/>
                  <a:gd name="T36" fmla="*/ 104 w 186"/>
                  <a:gd name="T37" fmla="*/ 108 h 238"/>
                  <a:gd name="T38" fmla="*/ 100 w 186"/>
                  <a:gd name="T39" fmla="*/ 120 h 238"/>
                  <a:gd name="T40" fmla="*/ 98 w 186"/>
                  <a:gd name="T41" fmla="*/ 148 h 238"/>
                  <a:gd name="T42" fmla="*/ 92 w 186"/>
                  <a:gd name="T43" fmla="*/ 238 h 238"/>
                  <a:gd name="T44" fmla="*/ 0 w 186"/>
                  <a:gd name="T45" fmla="*/ 238 h 238"/>
                  <a:gd name="T46" fmla="*/ 14 w 186"/>
                  <a:gd name="T47" fmla="*/ 62 h 238"/>
                  <a:gd name="T48" fmla="*/ 14 w 186"/>
                  <a:gd name="T49" fmla="*/ 62 h 238"/>
                  <a:gd name="T50" fmla="*/ 14 w 186"/>
                  <a:gd name="T51" fmla="*/ 32 h 238"/>
                  <a:gd name="T52" fmla="*/ 14 w 186"/>
                  <a:gd name="T53" fmla="*/ 0 h 238"/>
                  <a:gd name="T54" fmla="*/ 102 w 186"/>
                  <a:gd name="T55" fmla="*/ 0 h 238"/>
                  <a:gd name="T56" fmla="*/ 106 w 186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6" h="238">
                    <a:moveTo>
                      <a:pt x="106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6" y="24"/>
                    </a:lnTo>
                    <a:lnTo>
                      <a:pt x="124" y="16"/>
                    </a:lnTo>
                    <a:lnTo>
                      <a:pt x="134" y="10"/>
                    </a:lnTo>
                    <a:lnTo>
                      <a:pt x="144" y="6"/>
                    </a:lnTo>
                    <a:lnTo>
                      <a:pt x="154" y="4"/>
                    </a:lnTo>
                    <a:lnTo>
                      <a:pt x="164" y="2"/>
                    </a:lnTo>
                    <a:lnTo>
                      <a:pt x="186" y="0"/>
                    </a:lnTo>
                    <a:lnTo>
                      <a:pt x="180" y="76"/>
                    </a:lnTo>
                    <a:lnTo>
                      <a:pt x="180" y="76"/>
                    </a:lnTo>
                    <a:lnTo>
                      <a:pt x="162" y="76"/>
                    </a:lnTo>
                    <a:lnTo>
                      <a:pt x="162" y="76"/>
                    </a:lnTo>
                    <a:lnTo>
                      <a:pt x="142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4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6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3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53074" y="553073"/>
            <a:ext cx="3571665" cy="316888"/>
          </a:xfrm>
        </p:spPr>
        <p:txBody>
          <a:bodyPr>
            <a:noAutofit/>
          </a:bodyPr>
          <a:lstStyle>
            <a:lvl1pPr marL="0" indent="0">
              <a:buNone/>
              <a:defRPr sz="1400" b="0" u="none">
                <a:solidFill>
                  <a:schemeClr val="bg1"/>
                </a:solidFill>
              </a:defRPr>
            </a:lvl1pPr>
            <a:lvl2pPr marL="457200" indent="0">
              <a:buNone/>
              <a:defRPr b="0" u="none"/>
            </a:lvl2pPr>
            <a:lvl3pPr marL="914400" indent="0">
              <a:buNone/>
              <a:defRPr b="0" u="none"/>
            </a:lvl3pPr>
            <a:lvl4pPr marL="1371600" indent="0">
              <a:buNone/>
              <a:defRPr b="0" u="none"/>
            </a:lvl4pPr>
            <a:lvl5pPr marL="1828800" indent="0">
              <a:buNone/>
              <a:defRPr b="0" u="none"/>
            </a:lvl5pPr>
          </a:lstStyle>
          <a:p>
            <a:pPr lvl="0"/>
            <a:r>
              <a:rPr lang="en-US"/>
              <a:t>BU/Function/Region</a:t>
            </a:r>
          </a:p>
        </p:txBody>
      </p:sp>
    </p:spTree>
    <p:extLst>
      <p:ext uri="{BB962C8B-B14F-4D97-AF65-F5344CB8AC3E}">
        <p14:creationId xmlns:p14="http://schemas.microsoft.com/office/powerpoint/2010/main" val="1042344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3E7FBFD-78E1-42FB-85FC-D9CE5E3DEF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270622" y="6413584"/>
            <a:ext cx="2165537" cy="271230"/>
            <a:chOff x="158750" y="276225"/>
            <a:chExt cx="6388100" cy="800100"/>
          </a:xfrm>
          <a:solidFill>
            <a:schemeClr val="bg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158750" y="276225"/>
              <a:ext cx="857250" cy="736600"/>
            </a:xfrm>
            <a:custGeom>
              <a:avLst/>
              <a:gdLst>
                <a:gd name="T0" fmla="*/ 298 w 540"/>
                <a:gd name="T1" fmla="*/ 0 h 464"/>
                <a:gd name="T2" fmla="*/ 374 w 540"/>
                <a:gd name="T3" fmla="*/ 18 h 464"/>
                <a:gd name="T4" fmla="*/ 442 w 540"/>
                <a:gd name="T5" fmla="*/ 52 h 464"/>
                <a:gd name="T6" fmla="*/ 494 w 540"/>
                <a:gd name="T7" fmla="*/ 102 h 464"/>
                <a:gd name="T8" fmla="*/ 528 w 540"/>
                <a:gd name="T9" fmla="*/ 162 h 464"/>
                <a:gd name="T10" fmla="*/ 540 w 540"/>
                <a:gd name="T11" fmla="*/ 232 h 464"/>
                <a:gd name="T12" fmla="*/ 534 w 540"/>
                <a:gd name="T13" fmla="*/ 278 h 464"/>
                <a:gd name="T14" fmla="*/ 506 w 540"/>
                <a:gd name="T15" fmla="*/ 342 h 464"/>
                <a:gd name="T16" fmla="*/ 460 w 540"/>
                <a:gd name="T17" fmla="*/ 396 h 464"/>
                <a:gd name="T18" fmla="*/ 398 w 540"/>
                <a:gd name="T19" fmla="*/ 436 h 464"/>
                <a:gd name="T20" fmla="*/ 324 w 540"/>
                <a:gd name="T21" fmla="*/ 460 h 464"/>
                <a:gd name="T22" fmla="*/ 270 w 540"/>
                <a:gd name="T23" fmla="*/ 464 h 464"/>
                <a:gd name="T24" fmla="*/ 190 w 540"/>
                <a:gd name="T25" fmla="*/ 454 h 464"/>
                <a:gd name="T26" fmla="*/ 118 w 540"/>
                <a:gd name="T27" fmla="*/ 424 h 464"/>
                <a:gd name="T28" fmla="*/ 62 w 540"/>
                <a:gd name="T29" fmla="*/ 380 h 464"/>
                <a:gd name="T30" fmla="*/ 20 w 540"/>
                <a:gd name="T31" fmla="*/ 322 h 464"/>
                <a:gd name="T32" fmla="*/ 2 w 540"/>
                <a:gd name="T33" fmla="*/ 256 h 464"/>
                <a:gd name="T34" fmla="*/ 2 w 540"/>
                <a:gd name="T35" fmla="*/ 208 h 464"/>
                <a:gd name="T36" fmla="*/ 20 w 540"/>
                <a:gd name="T37" fmla="*/ 142 h 464"/>
                <a:gd name="T38" fmla="*/ 62 w 540"/>
                <a:gd name="T39" fmla="*/ 84 h 464"/>
                <a:gd name="T40" fmla="*/ 118 w 540"/>
                <a:gd name="T41" fmla="*/ 40 h 464"/>
                <a:gd name="T42" fmla="*/ 190 w 540"/>
                <a:gd name="T43" fmla="*/ 10 h 464"/>
                <a:gd name="T44" fmla="*/ 270 w 540"/>
                <a:gd name="T45" fmla="*/ 0 h 464"/>
                <a:gd name="T46" fmla="*/ 270 w 540"/>
                <a:gd name="T47" fmla="*/ 232 h 464"/>
                <a:gd name="T48" fmla="*/ 220 w 540"/>
                <a:gd name="T49" fmla="*/ 196 h 464"/>
                <a:gd name="T50" fmla="*/ 208 w 540"/>
                <a:gd name="T51" fmla="*/ 176 h 464"/>
                <a:gd name="T52" fmla="*/ 156 w 540"/>
                <a:gd name="T53" fmla="*/ 130 h 464"/>
                <a:gd name="T54" fmla="*/ 76 w 540"/>
                <a:gd name="T55" fmla="*/ 152 h 464"/>
                <a:gd name="T56" fmla="*/ 130 w 540"/>
                <a:gd name="T57" fmla="*/ 204 h 464"/>
                <a:gd name="T58" fmla="*/ 138 w 540"/>
                <a:gd name="T59" fmla="*/ 230 h 464"/>
                <a:gd name="T60" fmla="*/ 132 w 540"/>
                <a:gd name="T61" fmla="*/ 244 h 464"/>
                <a:gd name="T62" fmla="*/ 108 w 540"/>
                <a:gd name="T63" fmla="*/ 250 h 464"/>
                <a:gd name="T64" fmla="*/ 38 w 540"/>
                <a:gd name="T65" fmla="*/ 330 h 464"/>
                <a:gd name="T66" fmla="*/ 146 w 540"/>
                <a:gd name="T67" fmla="*/ 330 h 464"/>
                <a:gd name="T68" fmla="*/ 186 w 540"/>
                <a:gd name="T69" fmla="*/ 320 h 464"/>
                <a:gd name="T70" fmla="*/ 214 w 540"/>
                <a:gd name="T71" fmla="*/ 296 h 464"/>
                <a:gd name="T72" fmla="*/ 320 w 540"/>
                <a:gd name="T73" fmla="*/ 390 h 464"/>
                <a:gd name="T74" fmla="*/ 326 w 540"/>
                <a:gd name="T75" fmla="*/ 296 h 464"/>
                <a:gd name="T76" fmla="*/ 352 w 540"/>
                <a:gd name="T77" fmla="*/ 320 h 464"/>
                <a:gd name="T78" fmla="*/ 392 w 540"/>
                <a:gd name="T79" fmla="*/ 330 h 464"/>
                <a:gd name="T80" fmla="*/ 500 w 540"/>
                <a:gd name="T81" fmla="*/ 250 h 464"/>
                <a:gd name="T82" fmla="*/ 432 w 540"/>
                <a:gd name="T83" fmla="*/ 250 h 464"/>
                <a:gd name="T84" fmla="*/ 408 w 540"/>
                <a:gd name="T85" fmla="*/ 244 h 464"/>
                <a:gd name="T86" fmla="*/ 400 w 540"/>
                <a:gd name="T87" fmla="*/ 230 h 464"/>
                <a:gd name="T88" fmla="*/ 410 w 540"/>
                <a:gd name="T89" fmla="*/ 204 h 464"/>
                <a:gd name="T90" fmla="*/ 462 w 540"/>
                <a:gd name="T91" fmla="*/ 152 h 464"/>
                <a:gd name="T92" fmla="*/ 382 w 540"/>
                <a:gd name="T93" fmla="*/ 130 h 464"/>
                <a:gd name="T94" fmla="*/ 330 w 540"/>
                <a:gd name="T95" fmla="*/ 176 h 464"/>
                <a:gd name="T96" fmla="*/ 320 w 540"/>
                <a:gd name="T97" fmla="*/ 19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40" h="464">
                  <a:moveTo>
                    <a:pt x="270" y="0"/>
                  </a:moveTo>
                  <a:lnTo>
                    <a:pt x="270" y="0"/>
                  </a:lnTo>
                  <a:lnTo>
                    <a:pt x="298" y="0"/>
                  </a:lnTo>
                  <a:lnTo>
                    <a:pt x="324" y="4"/>
                  </a:lnTo>
                  <a:lnTo>
                    <a:pt x="350" y="10"/>
                  </a:lnTo>
                  <a:lnTo>
                    <a:pt x="374" y="18"/>
                  </a:lnTo>
                  <a:lnTo>
                    <a:pt x="398" y="28"/>
                  </a:lnTo>
                  <a:lnTo>
                    <a:pt x="420" y="40"/>
                  </a:lnTo>
                  <a:lnTo>
                    <a:pt x="442" y="52"/>
                  </a:lnTo>
                  <a:lnTo>
                    <a:pt x="460" y="68"/>
                  </a:lnTo>
                  <a:lnTo>
                    <a:pt x="478" y="84"/>
                  </a:lnTo>
                  <a:lnTo>
                    <a:pt x="494" y="102"/>
                  </a:lnTo>
                  <a:lnTo>
                    <a:pt x="506" y="122"/>
                  </a:lnTo>
                  <a:lnTo>
                    <a:pt x="518" y="142"/>
                  </a:lnTo>
                  <a:lnTo>
                    <a:pt x="528" y="162"/>
                  </a:lnTo>
                  <a:lnTo>
                    <a:pt x="534" y="184"/>
                  </a:lnTo>
                  <a:lnTo>
                    <a:pt x="538" y="208"/>
                  </a:lnTo>
                  <a:lnTo>
                    <a:pt x="540" y="232"/>
                  </a:lnTo>
                  <a:lnTo>
                    <a:pt x="540" y="232"/>
                  </a:lnTo>
                  <a:lnTo>
                    <a:pt x="538" y="256"/>
                  </a:lnTo>
                  <a:lnTo>
                    <a:pt x="534" y="278"/>
                  </a:lnTo>
                  <a:lnTo>
                    <a:pt x="528" y="300"/>
                  </a:lnTo>
                  <a:lnTo>
                    <a:pt x="518" y="322"/>
                  </a:lnTo>
                  <a:lnTo>
                    <a:pt x="506" y="342"/>
                  </a:lnTo>
                  <a:lnTo>
                    <a:pt x="494" y="362"/>
                  </a:lnTo>
                  <a:lnTo>
                    <a:pt x="478" y="380"/>
                  </a:lnTo>
                  <a:lnTo>
                    <a:pt x="460" y="396"/>
                  </a:lnTo>
                  <a:lnTo>
                    <a:pt x="442" y="410"/>
                  </a:lnTo>
                  <a:lnTo>
                    <a:pt x="420" y="424"/>
                  </a:lnTo>
                  <a:lnTo>
                    <a:pt x="398" y="436"/>
                  </a:lnTo>
                  <a:lnTo>
                    <a:pt x="374" y="446"/>
                  </a:lnTo>
                  <a:lnTo>
                    <a:pt x="350" y="454"/>
                  </a:lnTo>
                  <a:lnTo>
                    <a:pt x="324" y="460"/>
                  </a:lnTo>
                  <a:lnTo>
                    <a:pt x="298" y="462"/>
                  </a:lnTo>
                  <a:lnTo>
                    <a:pt x="270" y="464"/>
                  </a:lnTo>
                  <a:lnTo>
                    <a:pt x="270" y="464"/>
                  </a:lnTo>
                  <a:lnTo>
                    <a:pt x="242" y="462"/>
                  </a:lnTo>
                  <a:lnTo>
                    <a:pt x="216" y="458"/>
                  </a:lnTo>
                  <a:lnTo>
                    <a:pt x="190" y="454"/>
                  </a:lnTo>
                  <a:lnTo>
                    <a:pt x="164" y="446"/>
                  </a:lnTo>
                  <a:lnTo>
                    <a:pt x="140" y="436"/>
                  </a:lnTo>
                  <a:lnTo>
                    <a:pt x="118" y="424"/>
                  </a:lnTo>
                  <a:lnTo>
                    <a:pt x="98" y="410"/>
                  </a:lnTo>
                  <a:lnTo>
                    <a:pt x="78" y="396"/>
                  </a:lnTo>
                  <a:lnTo>
                    <a:pt x="62" y="380"/>
                  </a:lnTo>
                  <a:lnTo>
                    <a:pt x="46" y="362"/>
                  </a:lnTo>
                  <a:lnTo>
                    <a:pt x="32" y="342"/>
                  </a:lnTo>
                  <a:lnTo>
                    <a:pt x="20" y="322"/>
                  </a:lnTo>
                  <a:lnTo>
                    <a:pt x="12" y="300"/>
                  </a:lnTo>
                  <a:lnTo>
                    <a:pt x="6" y="278"/>
                  </a:lnTo>
                  <a:lnTo>
                    <a:pt x="2" y="256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08"/>
                  </a:lnTo>
                  <a:lnTo>
                    <a:pt x="6" y="184"/>
                  </a:lnTo>
                  <a:lnTo>
                    <a:pt x="12" y="162"/>
                  </a:lnTo>
                  <a:lnTo>
                    <a:pt x="20" y="142"/>
                  </a:lnTo>
                  <a:lnTo>
                    <a:pt x="32" y="120"/>
                  </a:lnTo>
                  <a:lnTo>
                    <a:pt x="46" y="102"/>
                  </a:lnTo>
                  <a:lnTo>
                    <a:pt x="62" y="84"/>
                  </a:lnTo>
                  <a:lnTo>
                    <a:pt x="78" y="68"/>
                  </a:lnTo>
                  <a:lnTo>
                    <a:pt x="98" y="52"/>
                  </a:lnTo>
                  <a:lnTo>
                    <a:pt x="118" y="40"/>
                  </a:lnTo>
                  <a:lnTo>
                    <a:pt x="140" y="28"/>
                  </a:lnTo>
                  <a:lnTo>
                    <a:pt x="164" y="18"/>
                  </a:lnTo>
                  <a:lnTo>
                    <a:pt x="190" y="10"/>
                  </a:lnTo>
                  <a:lnTo>
                    <a:pt x="216" y="4"/>
                  </a:lnTo>
                  <a:lnTo>
                    <a:pt x="242" y="0"/>
                  </a:lnTo>
                  <a:lnTo>
                    <a:pt x="270" y="0"/>
                  </a:lnTo>
                  <a:lnTo>
                    <a:pt x="270" y="0"/>
                  </a:lnTo>
                  <a:close/>
                  <a:moveTo>
                    <a:pt x="270" y="232"/>
                  </a:moveTo>
                  <a:lnTo>
                    <a:pt x="270" y="232"/>
                  </a:lnTo>
                  <a:close/>
                  <a:moveTo>
                    <a:pt x="220" y="50"/>
                  </a:moveTo>
                  <a:lnTo>
                    <a:pt x="220" y="50"/>
                  </a:lnTo>
                  <a:lnTo>
                    <a:pt x="220" y="196"/>
                  </a:lnTo>
                  <a:lnTo>
                    <a:pt x="220" y="196"/>
                  </a:lnTo>
                  <a:lnTo>
                    <a:pt x="214" y="186"/>
                  </a:lnTo>
                  <a:lnTo>
                    <a:pt x="208" y="176"/>
                  </a:lnTo>
                  <a:lnTo>
                    <a:pt x="194" y="160"/>
                  </a:lnTo>
                  <a:lnTo>
                    <a:pt x="176" y="144"/>
                  </a:lnTo>
                  <a:lnTo>
                    <a:pt x="156" y="130"/>
                  </a:lnTo>
                  <a:lnTo>
                    <a:pt x="48" y="130"/>
                  </a:lnTo>
                  <a:lnTo>
                    <a:pt x="48" y="130"/>
                  </a:lnTo>
                  <a:lnTo>
                    <a:pt x="76" y="152"/>
                  </a:lnTo>
                  <a:lnTo>
                    <a:pt x="106" y="178"/>
                  </a:lnTo>
                  <a:lnTo>
                    <a:pt x="120" y="192"/>
                  </a:lnTo>
                  <a:lnTo>
                    <a:pt x="130" y="204"/>
                  </a:lnTo>
                  <a:lnTo>
                    <a:pt x="136" y="218"/>
                  </a:lnTo>
                  <a:lnTo>
                    <a:pt x="138" y="230"/>
                  </a:lnTo>
                  <a:lnTo>
                    <a:pt x="138" y="230"/>
                  </a:lnTo>
                  <a:lnTo>
                    <a:pt x="138" y="236"/>
                  </a:lnTo>
                  <a:lnTo>
                    <a:pt x="136" y="240"/>
                  </a:lnTo>
                  <a:lnTo>
                    <a:pt x="132" y="244"/>
                  </a:lnTo>
                  <a:lnTo>
                    <a:pt x="128" y="246"/>
                  </a:lnTo>
                  <a:lnTo>
                    <a:pt x="11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38" y="25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146" y="330"/>
                  </a:lnTo>
                  <a:lnTo>
                    <a:pt x="146" y="330"/>
                  </a:lnTo>
                  <a:lnTo>
                    <a:pt x="166" y="328"/>
                  </a:lnTo>
                  <a:lnTo>
                    <a:pt x="176" y="324"/>
                  </a:lnTo>
                  <a:lnTo>
                    <a:pt x="186" y="320"/>
                  </a:lnTo>
                  <a:lnTo>
                    <a:pt x="196" y="314"/>
                  </a:lnTo>
                  <a:lnTo>
                    <a:pt x="206" y="306"/>
                  </a:lnTo>
                  <a:lnTo>
                    <a:pt x="214" y="296"/>
                  </a:lnTo>
                  <a:lnTo>
                    <a:pt x="220" y="284"/>
                  </a:lnTo>
                  <a:lnTo>
                    <a:pt x="220" y="390"/>
                  </a:lnTo>
                  <a:lnTo>
                    <a:pt x="320" y="390"/>
                  </a:lnTo>
                  <a:lnTo>
                    <a:pt x="320" y="284"/>
                  </a:lnTo>
                  <a:lnTo>
                    <a:pt x="320" y="284"/>
                  </a:lnTo>
                  <a:lnTo>
                    <a:pt x="326" y="296"/>
                  </a:lnTo>
                  <a:lnTo>
                    <a:pt x="334" y="306"/>
                  </a:lnTo>
                  <a:lnTo>
                    <a:pt x="342" y="314"/>
                  </a:lnTo>
                  <a:lnTo>
                    <a:pt x="352" y="320"/>
                  </a:lnTo>
                  <a:lnTo>
                    <a:pt x="362" y="324"/>
                  </a:lnTo>
                  <a:lnTo>
                    <a:pt x="372" y="328"/>
                  </a:lnTo>
                  <a:lnTo>
                    <a:pt x="392" y="330"/>
                  </a:lnTo>
                  <a:lnTo>
                    <a:pt x="392" y="330"/>
                  </a:lnTo>
                  <a:lnTo>
                    <a:pt x="500" y="330"/>
                  </a:lnTo>
                  <a:lnTo>
                    <a:pt x="500" y="250"/>
                  </a:lnTo>
                  <a:lnTo>
                    <a:pt x="500" y="250"/>
                  </a:lnTo>
                  <a:lnTo>
                    <a:pt x="432" y="250"/>
                  </a:lnTo>
                  <a:lnTo>
                    <a:pt x="432" y="250"/>
                  </a:lnTo>
                  <a:lnTo>
                    <a:pt x="422" y="250"/>
                  </a:lnTo>
                  <a:lnTo>
                    <a:pt x="412" y="246"/>
                  </a:lnTo>
                  <a:lnTo>
                    <a:pt x="408" y="244"/>
                  </a:lnTo>
                  <a:lnTo>
                    <a:pt x="404" y="240"/>
                  </a:lnTo>
                  <a:lnTo>
                    <a:pt x="402" y="236"/>
                  </a:lnTo>
                  <a:lnTo>
                    <a:pt x="400" y="230"/>
                  </a:lnTo>
                  <a:lnTo>
                    <a:pt x="400" y="230"/>
                  </a:lnTo>
                  <a:lnTo>
                    <a:pt x="402" y="218"/>
                  </a:lnTo>
                  <a:lnTo>
                    <a:pt x="410" y="204"/>
                  </a:lnTo>
                  <a:lnTo>
                    <a:pt x="420" y="192"/>
                  </a:lnTo>
                  <a:lnTo>
                    <a:pt x="432" y="178"/>
                  </a:lnTo>
                  <a:lnTo>
                    <a:pt x="462" y="152"/>
                  </a:lnTo>
                  <a:lnTo>
                    <a:pt x="492" y="130"/>
                  </a:lnTo>
                  <a:lnTo>
                    <a:pt x="382" y="130"/>
                  </a:lnTo>
                  <a:lnTo>
                    <a:pt x="382" y="130"/>
                  </a:lnTo>
                  <a:lnTo>
                    <a:pt x="364" y="144"/>
                  </a:lnTo>
                  <a:lnTo>
                    <a:pt x="346" y="160"/>
                  </a:lnTo>
                  <a:lnTo>
                    <a:pt x="330" y="176"/>
                  </a:lnTo>
                  <a:lnTo>
                    <a:pt x="324" y="186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20" y="50"/>
                  </a:lnTo>
                  <a:lnTo>
                    <a:pt x="22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9" name="Group 8"/>
            <p:cNvGrpSpPr/>
            <p:nvPr/>
          </p:nvGrpSpPr>
          <p:grpSpPr>
            <a:xfrm>
              <a:off x="1314450" y="339725"/>
              <a:ext cx="5232400" cy="736600"/>
              <a:chOff x="1314450" y="339725"/>
              <a:chExt cx="5232400" cy="736600"/>
            </a:xfrm>
            <a:grpFill/>
          </p:grpSpPr>
          <p:sp>
            <p:nvSpPr>
              <p:cNvPr id="10" name="Freeform 9"/>
              <p:cNvSpPr>
                <a:spLocks/>
              </p:cNvSpPr>
              <p:nvPr/>
            </p:nvSpPr>
            <p:spPr bwMode="auto">
              <a:xfrm>
                <a:off x="1908175" y="352425"/>
                <a:ext cx="139700" cy="98425"/>
              </a:xfrm>
              <a:custGeom>
                <a:avLst/>
                <a:gdLst>
                  <a:gd name="T0" fmla="*/ 4 w 88"/>
                  <a:gd name="T1" fmla="*/ 0 h 62"/>
                  <a:gd name="T2" fmla="*/ 88 w 88"/>
                  <a:gd name="T3" fmla="*/ 0 h 62"/>
                  <a:gd name="T4" fmla="*/ 84 w 88"/>
                  <a:gd name="T5" fmla="*/ 62 h 62"/>
                  <a:gd name="T6" fmla="*/ 0 w 88"/>
                  <a:gd name="T7" fmla="*/ 62 h 62"/>
                  <a:gd name="T8" fmla="*/ 4 w 88"/>
                  <a:gd name="T9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" h="62">
                    <a:moveTo>
                      <a:pt x="4" y="0"/>
                    </a:moveTo>
                    <a:lnTo>
                      <a:pt x="88" y="0"/>
                    </a:lnTo>
                    <a:lnTo>
                      <a:pt x="84" y="62"/>
                    </a:lnTo>
                    <a:lnTo>
                      <a:pt x="0" y="6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Freeform 10"/>
              <p:cNvSpPr>
                <a:spLocks noEditPoints="1"/>
              </p:cNvSpPr>
              <p:nvPr/>
            </p:nvSpPr>
            <p:spPr bwMode="auto">
              <a:xfrm>
                <a:off x="5397500" y="504825"/>
                <a:ext cx="393700" cy="393700"/>
              </a:xfrm>
              <a:custGeom>
                <a:avLst/>
                <a:gdLst>
                  <a:gd name="T0" fmla="*/ 152 w 248"/>
                  <a:gd name="T1" fmla="*/ 216 h 248"/>
                  <a:gd name="T2" fmla="*/ 138 w 248"/>
                  <a:gd name="T3" fmla="*/ 228 h 248"/>
                  <a:gd name="T4" fmla="*/ 112 w 248"/>
                  <a:gd name="T5" fmla="*/ 242 h 248"/>
                  <a:gd name="T6" fmla="*/ 92 w 248"/>
                  <a:gd name="T7" fmla="*/ 246 h 248"/>
                  <a:gd name="T8" fmla="*/ 80 w 248"/>
                  <a:gd name="T9" fmla="*/ 248 h 248"/>
                  <a:gd name="T10" fmla="*/ 44 w 248"/>
                  <a:gd name="T11" fmla="*/ 242 h 248"/>
                  <a:gd name="T12" fmla="*/ 18 w 248"/>
                  <a:gd name="T13" fmla="*/ 226 h 248"/>
                  <a:gd name="T14" fmla="*/ 4 w 248"/>
                  <a:gd name="T15" fmla="*/ 202 h 248"/>
                  <a:gd name="T16" fmla="*/ 0 w 248"/>
                  <a:gd name="T17" fmla="*/ 174 h 248"/>
                  <a:gd name="T18" fmla="*/ 2 w 248"/>
                  <a:gd name="T19" fmla="*/ 156 h 248"/>
                  <a:gd name="T20" fmla="*/ 20 w 248"/>
                  <a:gd name="T21" fmla="*/ 128 h 248"/>
                  <a:gd name="T22" fmla="*/ 54 w 248"/>
                  <a:gd name="T23" fmla="*/ 108 h 248"/>
                  <a:gd name="T24" fmla="*/ 104 w 248"/>
                  <a:gd name="T25" fmla="*/ 98 h 248"/>
                  <a:gd name="T26" fmla="*/ 162 w 248"/>
                  <a:gd name="T27" fmla="*/ 96 h 248"/>
                  <a:gd name="T28" fmla="*/ 164 w 248"/>
                  <a:gd name="T29" fmla="*/ 78 h 248"/>
                  <a:gd name="T30" fmla="*/ 162 w 248"/>
                  <a:gd name="T31" fmla="*/ 60 h 248"/>
                  <a:gd name="T32" fmla="*/ 154 w 248"/>
                  <a:gd name="T33" fmla="*/ 46 h 248"/>
                  <a:gd name="T34" fmla="*/ 136 w 248"/>
                  <a:gd name="T35" fmla="*/ 40 h 248"/>
                  <a:gd name="T36" fmla="*/ 126 w 248"/>
                  <a:gd name="T37" fmla="*/ 42 h 248"/>
                  <a:gd name="T38" fmla="*/ 114 w 248"/>
                  <a:gd name="T39" fmla="*/ 48 h 248"/>
                  <a:gd name="T40" fmla="*/ 106 w 248"/>
                  <a:gd name="T41" fmla="*/ 66 h 248"/>
                  <a:gd name="T42" fmla="*/ 22 w 248"/>
                  <a:gd name="T43" fmla="*/ 76 h 248"/>
                  <a:gd name="T44" fmla="*/ 24 w 248"/>
                  <a:gd name="T45" fmla="*/ 66 h 248"/>
                  <a:gd name="T46" fmla="*/ 28 w 248"/>
                  <a:gd name="T47" fmla="*/ 46 h 248"/>
                  <a:gd name="T48" fmla="*/ 38 w 248"/>
                  <a:gd name="T49" fmla="*/ 30 h 248"/>
                  <a:gd name="T50" fmla="*/ 54 w 248"/>
                  <a:gd name="T51" fmla="*/ 18 h 248"/>
                  <a:gd name="T52" fmla="*/ 62 w 248"/>
                  <a:gd name="T53" fmla="*/ 14 h 248"/>
                  <a:gd name="T54" fmla="*/ 102 w 248"/>
                  <a:gd name="T55" fmla="*/ 2 h 248"/>
                  <a:gd name="T56" fmla="*/ 144 w 248"/>
                  <a:gd name="T57" fmla="*/ 0 h 248"/>
                  <a:gd name="T58" fmla="*/ 164 w 248"/>
                  <a:gd name="T59" fmla="*/ 0 h 248"/>
                  <a:gd name="T60" fmla="*/ 200 w 248"/>
                  <a:gd name="T61" fmla="*/ 10 h 248"/>
                  <a:gd name="T62" fmla="*/ 230 w 248"/>
                  <a:gd name="T63" fmla="*/ 30 h 248"/>
                  <a:gd name="T64" fmla="*/ 240 w 248"/>
                  <a:gd name="T65" fmla="*/ 44 h 248"/>
                  <a:gd name="T66" fmla="*/ 246 w 248"/>
                  <a:gd name="T67" fmla="*/ 62 h 248"/>
                  <a:gd name="T68" fmla="*/ 248 w 248"/>
                  <a:gd name="T69" fmla="*/ 82 h 248"/>
                  <a:gd name="T70" fmla="*/ 242 w 248"/>
                  <a:gd name="T71" fmla="*/ 196 h 248"/>
                  <a:gd name="T72" fmla="*/ 242 w 248"/>
                  <a:gd name="T73" fmla="*/ 246 h 248"/>
                  <a:gd name="T74" fmla="*/ 152 w 248"/>
                  <a:gd name="T75" fmla="*/ 216 h 248"/>
                  <a:gd name="T76" fmla="*/ 114 w 248"/>
                  <a:gd name="T77" fmla="*/ 200 h 248"/>
                  <a:gd name="T78" fmla="*/ 138 w 248"/>
                  <a:gd name="T79" fmla="*/ 194 h 248"/>
                  <a:gd name="T80" fmla="*/ 152 w 248"/>
                  <a:gd name="T81" fmla="*/ 176 h 248"/>
                  <a:gd name="T82" fmla="*/ 158 w 248"/>
                  <a:gd name="T83" fmla="*/ 154 h 248"/>
                  <a:gd name="T84" fmla="*/ 160 w 248"/>
                  <a:gd name="T85" fmla="*/ 130 h 248"/>
                  <a:gd name="T86" fmla="*/ 122 w 248"/>
                  <a:gd name="T87" fmla="*/ 132 h 248"/>
                  <a:gd name="T88" fmla="*/ 110 w 248"/>
                  <a:gd name="T89" fmla="*/ 134 h 248"/>
                  <a:gd name="T90" fmla="*/ 94 w 248"/>
                  <a:gd name="T91" fmla="*/ 148 h 248"/>
                  <a:gd name="T92" fmla="*/ 86 w 248"/>
                  <a:gd name="T93" fmla="*/ 170 h 248"/>
                  <a:gd name="T94" fmla="*/ 86 w 248"/>
                  <a:gd name="T95" fmla="*/ 176 h 248"/>
                  <a:gd name="T96" fmla="*/ 92 w 248"/>
                  <a:gd name="T97" fmla="*/ 192 h 248"/>
                  <a:gd name="T98" fmla="*/ 102 w 248"/>
                  <a:gd name="T99" fmla="*/ 198 h 248"/>
                  <a:gd name="T100" fmla="*/ 114 w 248"/>
                  <a:gd name="T101" fmla="*/ 20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8" h="248">
                    <a:moveTo>
                      <a:pt x="152" y="216"/>
                    </a:moveTo>
                    <a:lnTo>
                      <a:pt x="152" y="216"/>
                    </a:lnTo>
                    <a:lnTo>
                      <a:pt x="152" y="216"/>
                    </a:lnTo>
                    <a:lnTo>
                      <a:pt x="138" y="228"/>
                    </a:lnTo>
                    <a:lnTo>
                      <a:pt x="122" y="238"/>
                    </a:lnTo>
                    <a:lnTo>
                      <a:pt x="112" y="242"/>
                    </a:lnTo>
                    <a:lnTo>
                      <a:pt x="102" y="246"/>
                    </a:lnTo>
                    <a:lnTo>
                      <a:pt x="92" y="246"/>
                    </a:lnTo>
                    <a:lnTo>
                      <a:pt x="80" y="248"/>
                    </a:lnTo>
                    <a:lnTo>
                      <a:pt x="80" y="248"/>
                    </a:lnTo>
                    <a:lnTo>
                      <a:pt x="60" y="246"/>
                    </a:lnTo>
                    <a:lnTo>
                      <a:pt x="44" y="242"/>
                    </a:lnTo>
                    <a:lnTo>
                      <a:pt x="30" y="234"/>
                    </a:lnTo>
                    <a:lnTo>
                      <a:pt x="18" y="226"/>
                    </a:lnTo>
                    <a:lnTo>
                      <a:pt x="10" y="216"/>
                    </a:lnTo>
                    <a:lnTo>
                      <a:pt x="4" y="202"/>
                    </a:lnTo>
                    <a:lnTo>
                      <a:pt x="0" y="188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2" y="156"/>
                    </a:lnTo>
                    <a:lnTo>
                      <a:pt x="8" y="142"/>
                    </a:lnTo>
                    <a:lnTo>
                      <a:pt x="20" y="128"/>
                    </a:lnTo>
                    <a:lnTo>
                      <a:pt x="34" y="116"/>
                    </a:lnTo>
                    <a:lnTo>
                      <a:pt x="54" y="108"/>
                    </a:lnTo>
                    <a:lnTo>
                      <a:pt x="76" y="102"/>
                    </a:lnTo>
                    <a:lnTo>
                      <a:pt x="104" y="98"/>
                    </a:lnTo>
                    <a:lnTo>
                      <a:pt x="134" y="96"/>
                    </a:lnTo>
                    <a:lnTo>
                      <a:pt x="162" y="96"/>
                    </a:lnTo>
                    <a:lnTo>
                      <a:pt x="162" y="96"/>
                    </a:lnTo>
                    <a:lnTo>
                      <a:pt x="164" y="78"/>
                    </a:lnTo>
                    <a:lnTo>
                      <a:pt x="164" y="70"/>
                    </a:lnTo>
                    <a:lnTo>
                      <a:pt x="162" y="60"/>
                    </a:lnTo>
                    <a:lnTo>
                      <a:pt x="160" y="52"/>
                    </a:lnTo>
                    <a:lnTo>
                      <a:pt x="154" y="46"/>
                    </a:lnTo>
                    <a:lnTo>
                      <a:pt x="146" y="42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26" y="42"/>
                    </a:lnTo>
                    <a:lnTo>
                      <a:pt x="120" y="44"/>
                    </a:lnTo>
                    <a:lnTo>
                      <a:pt x="114" y="48"/>
                    </a:lnTo>
                    <a:lnTo>
                      <a:pt x="110" y="54"/>
                    </a:lnTo>
                    <a:lnTo>
                      <a:pt x="106" y="66"/>
                    </a:lnTo>
                    <a:lnTo>
                      <a:pt x="104" y="76"/>
                    </a:lnTo>
                    <a:lnTo>
                      <a:pt x="22" y="76"/>
                    </a:lnTo>
                    <a:lnTo>
                      <a:pt x="22" y="76"/>
                    </a:lnTo>
                    <a:lnTo>
                      <a:pt x="24" y="66"/>
                    </a:lnTo>
                    <a:lnTo>
                      <a:pt x="26" y="54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38" y="30"/>
                    </a:lnTo>
                    <a:lnTo>
                      <a:pt x="46" y="24"/>
                    </a:lnTo>
                    <a:lnTo>
                      <a:pt x="54" y="18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2" y="6"/>
                    </a:lnTo>
                    <a:lnTo>
                      <a:pt x="102" y="2"/>
                    </a:lnTo>
                    <a:lnTo>
                      <a:pt x="124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64" y="0"/>
                    </a:lnTo>
                    <a:lnTo>
                      <a:pt x="182" y="4"/>
                    </a:lnTo>
                    <a:lnTo>
                      <a:pt x="200" y="10"/>
                    </a:lnTo>
                    <a:lnTo>
                      <a:pt x="216" y="18"/>
                    </a:lnTo>
                    <a:lnTo>
                      <a:pt x="230" y="30"/>
                    </a:lnTo>
                    <a:lnTo>
                      <a:pt x="236" y="38"/>
                    </a:lnTo>
                    <a:lnTo>
                      <a:pt x="240" y="44"/>
                    </a:lnTo>
                    <a:lnTo>
                      <a:pt x="244" y="52"/>
                    </a:lnTo>
                    <a:lnTo>
                      <a:pt x="246" y="62"/>
                    </a:lnTo>
                    <a:lnTo>
                      <a:pt x="248" y="72"/>
                    </a:lnTo>
                    <a:lnTo>
                      <a:pt x="248" y="82"/>
                    </a:lnTo>
                    <a:lnTo>
                      <a:pt x="242" y="196"/>
                    </a:lnTo>
                    <a:lnTo>
                      <a:pt x="242" y="196"/>
                    </a:lnTo>
                    <a:lnTo>
                      <a:pt x="240" y="214"/>
                    </a:lnTo>
                    <a:lnTo>
                      <a:pt x="242" y="246"/>
                    </a:lnTo>
                    <a:lnTo>
                      <a:pt x="158" y="246"/>
                    </a:lnTo>
                    <a:lnTo>
                      <a:pt x="152" y="216"/>
                    </a:lnTo>
                    <a:close/>
                    <a:moveTo>
                      <a:pt x="114" y="200"/>
                    </a:moveTo>
                    <a:lnTo>
                      <a:pt x="114" y="200"/>
                    </a:lnTo>
                    <a:lnTo>
                      <a:pt x="128" y="198"/>
                    </a:lnTo>
                    <a:lnTo>
                      <a:pt x="138" y="194"/>
                    </a:lnTo>
                    <a:lnTo>
                      <a:pt x="146" y="186"/>
                    </a:lnTo>
                    <a:lnTo>
                      <a:pt x="152" y="176"/>
                    </a:lnTo>
                    <a:lnTo>
                      <a:pt x="156" y="166"/>
                    </a:lnTo>
                    <a:lnTo>
                      <a:pt x="158" y="154"/>
                    </a:lnTo>
                    <a:lnTo>
                      <a:pt x="160" y="130"/>
                    </a:lnTo>
                    <a:lnTo>
                      <a:pt x="160" y="130"/>
                    </a:lnTo>
                    <a:lnTo>
                      <a:pt x="134" y="130"/>
                    </a:lnTo>
                    <a:lnTo>
                      <a:pt x="122" y="132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2" y="140"/>
                    </a:lnTo>
                    <a:lnTo>
                      <a:pt x="94" y="148"/>
                    </a:lnTo>
                    <a:lnTo>
                      <a:pt x="88" y="158"/>
                    </a:lnTo>
                    <a:lnTo>
                      <a:pt x="86" y="170"/>
                    </a:lnTo>
                    <a:lnTo>
                      <a:pt x="86" y="170"/>
                    </a:lnTo>
                    <a:lnTo>
                      <a:pt x="86" y="176"/>
                    </a:lnTo>
                    <a:lnTo>
                      <a:pt x="88" y="182"/>
                    </a:lnTo>
                    <a:lnTo>
                      <a:pt x="92" y="192"/>
                    </a:lnTo>
                    <a:lnTo>
                      <a:pt x="96" y="194"/>
                    </a:lnTo>
                    <a:lnTo>
                      <a:pt x="102" y="198"/>
                    </a:lnTo>
                    <a:lnTo>
                      <a:pt x="108" y="200"/>
                    </a:lnTo>
                    <a:lnTo>
                      <a:pt x="114" y="200"/>
                    </a:lnTo>
                    <a:lnTo>
                      <a:pt x="114" y="2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11"/>
              <p:cNvSpPr>
                <a:spLocks noEditPoints="1"/>
              </p:cNvSpPr>
              <p:nvPr/>
            </p:nvSpPr>
            <p:spPr bwMode="auto">
              <a:xfrm>
                <a:off x="6092825" y="352425"/>
                <a:ext cx="454025" cy="542925"/>
              </a:xfrm>
              <a:custGeom>
                <a:avLst/>
                <a:gdLst>
                  <a:gd name="T0" fmla="*/ 0 w 286"/>
                  <a:gd name="T1" fmla="*/ 342 h 342"/>
                  <a:gd name="T2" fmla="*/ 24 w 286"/>
                  <a:gd name="T3" fmla="*/ 0 h 342"/>
                  <a:gd name="T4" fmla="*/ 114 w 286"/>
                  <a:gd name="T5" fmla="*/ 0 h 342"/>
                  <a:gd name="T6" fmla="*/ 90 w 286"/>
                  <a:gd name="T7" fmla="*/ 342 h 342"/>
                  <a:gd name="T8" fmla="*/ 0 w 286"/>
                  <a:gd name="T9" fmla="*/ 342 h 342"/>
                  <a:gd name="T10" fmla="*/ 100 w 286"/>
                  <a:gd name="T11" fmla="*/ 210 h 342"/>
                  <a:gd name="T12" fmla="*/ 184 w 286"/>
                  <a:gd name="T13" fmla="*/ 104 h 342"/>
                  <a:gd name="T14" fmla="*/ 286 w 286"/>
                  <a:gd name="T15" fmla="*/ 104 h 342"/>
                  <a:gd name="T16" fmla="*/ 194 w 286"/>
                  <a:gd name="T17" fmla="*/ 204 h 342"/>
                  <a:gd name="T18" fmla="*/ 282 w 286"/>
                  <a:gd name="T19" fmla="*/ 342 h 342"/>
                  <a:gd name="T20" fmla="*/ 170 w 286"/>
                  <a:gd name="T21" fmla="*/ 342 h 342"/>
                  <a:gd name="T22" fmla="*/ 100 w 286"/>
                  <a:gd name="T23" fmla="*/ 21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6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4" y="0"/>
                    </a:lnTo>
                    <a:lnTo>
                      <a:pt x="90" y="342"/>
                    </a:lnTo>
                    <a:lnTo>
                      <a:pt x="0" y="342"/>
                    </a:lnTo>
                    <a:close/>
                    <a:moveTo>
                      <a:pt x="100" y="210"/>
                    </a:moveTo>
                    <a:lnTo>
                      <a:pt x="184" y="104"/>
                    </a:lnTo>
                    <a:lnTo>
                      <a:pt x="286" y="104"/>
                    </a:lnTo>
                    <a:lnTo>
                      <a:pt x="194" y="204"/>
                    </a:lnTo>
                    <a:lnTo>
                      <a:pt x="282" y="342"/>
                    </a:lnTo>
                    <a:lnTo>
                      <a:pt x="170" y="342"/>
                    </a:lnTo>
                    <a:lnTo>
                      <a:pt x="10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12"/>
              <p:cNvSpPr>
                <a:spLocks/>
              </p:cNvSpPr>
              <p:nvPr/>
            </p:nvSpPr>
            <p:spPr bwMode="auto">
              <a:xfrm>
                <a:off x="3606800" y="517525"/>
                <a:ext cx="292100" cy="377825"/>
              </a:xfrm>
              <a:custGeom>
                <a:avLst/>
                <a:gdLst>
                  <a:gd name="T0" fmla="*/ 104 w 184"/>
                  <a:gd name="T1" fmla="*/ 34 h 238"/>
                  <a:gd name="T2" fmla="*/ 106 w 184"/>
                  <a:gd name="T3" fmla="*/ 34 h 238"/>
                  <a:gd name="T4" fmla="*/ 106 w 184"/>
                  <a:gd name="T5" fmla="*/ 34 h 238"/>
                  <a:gd name="T6" fmla="*/ 114 w 184"/>
                  <a:gd name="T7" fmla="*/ 24 h 238"/>
                  <a:gd name="T8" fmla="*/ 124 w 184"/>
                  <a:gd name="T9" fmla="*/ 16 h 238"/>
                  <a:gd name="T10" fmla="*/ 132 w 184"/>
                  <a:gd name="T11" fmla="*/ 10 h 238"/>
                  <a:gd name="T12" fmla="*/ 142 w 184"/>
                  <a:gd name="T13" fmla="*/ 6 h 238"/>
                  <a:gd name="T14" fmla="*/ 152 w 184"/>
                  <a:gd name="T15" fmla="*/ 4 h 238"/>
                  <a:gd name="T16" fmla="*/ 162 w 184"/>
                  <a:gd name="T17" fmla="*/ 2 h 238"/>
                  <a:gd name="T18" fmla="*/ 184 w 184"/>
                  <a:gd name="T19" fmla="*/ 0 h 238"/>
                  <a:gd name="T20" fmla="*/ 178 w 184"/>
                  <a:gd name="T21" fmla="*/ 76 h 238"/>
                  <a:gd name="T22" fmla="*/ 178 w 184"/>
                  <a:gd name="T23" fmla="*/ 76 h 238"/>
                  <a:gd name="T24" fmla="*/ 160 w 184"/>
                  <a:gd name="T25" fmla="*/ 76 h 238"/>
                  <a:gd name="T26" fmla="*/ 160 w 184"/>
                  <a:gd name="T27" fmla="*/ 76 h 238"/>
                  <a:gd name="T28" fmla="*/ 140 w 184"/>
                  <a:gd name="T29" fmla="*/ 78 h 238"/>
                  <a:gd name="T30" fmla="*/ 126 w 184"/>
                  <a:gd name="T31" fmla="*/ 82 h 238"/>
                  <a:gd name="T32" fmla="*/ 116 w 184"/>
                  <a:gd name="T33" fmla="*/ 88 h 238"/>
                  <a:gd name="T34" fmla="*/ 108 w 184"/>
                  <a:gd name="T35" fmla="*/ 98 h 238"/>
                  <a:gd name="T36" fmla="*/ 102 w 184"/>
                  <a:gd name="T37" fmla="*/ 108 h 238"/>
                  <a:gd name="T38" fmla="*/ 100 w 184"/>
                  <a:gd name="T39" fmla="*/ 120 h 238"/>
                  <a:gd name="T40" fmla="*/ 98 w 184"/>
                  <a:gd name="T41" fmla="*/ 148 h 238"/>
                  <a:gd name="T42" fmla="*/ 92 w 184"/>
                  <a:gd name="T43" fmla="*/ 238 h 238"/>
                  <a:gd name="T44" fmla="*/ 0 w 184"/>
                  <a:gd name="T45" fmla="*/ 238 h 238"/>
                  <a:gd name="T46" fmla="*/ 12 w 184"/>
                  <a:gd name="T47" fmla="*/ 62 h 238"/>
                  <a:gd name="T48" fmla="*/ 12 w 184"/>
                  <a:gd name="T49" fmla="*/ 62 h 238"/>
                  <a:gd name="T50" fmla="*/ 14 w 184"/>
                  <a:gd name="T51" fmla="*/ 32 h 238"/>
                  <a:gd name="T52" fmla="*/ 14 w 184"/>
                  <a:gd name="T53" fmla="*/ 0 h 238"/>
                  <a:gd name="T54" fmla="*/ 102 w 184"/>
                  <a:gd name="T55" fmla="*/ 0 h 238"/>
                  <a:gd name="T56" fmla="*/ 104 w 184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4" h="238">
                    <a:moveTo>
                      <a:pt x="104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4" y="24"/>
                    </a:lnTo>
                    <a:lnTo>
                      <a:pt x="124" y="16"/>
                    </a:lnTo>
                    <a:lnTo>
                      <a:pt x="132" y="10"/>
                    </a:lnTo>
                    <a:lnTo>
                      <a:pt x="142" y="6"/>
                    </a:lnTo>
                    <a:lnTo>
                      <a:pt x="152" y="4"/>
                    </a:lnTo>
                    <a:lnTo>
                      <a:pt x="162" y="2"/>
                    </a:lnTo>
                    <a:lnTo>
                      <a:pt x="184" y="0"/>
                    </a:lnTo>
                    <a:lnTo>
                      <a:pt x="178" y="76"/>
                    </a:lnTo>
                    <a:lnTo>
                      <a:pt x="178" y="76"/>
                    </a:lnTo>
                    <a:lnTo>
                      <a:pt x="160" y="76"/>
                    </a:lnTo>
                    <a:lnTo>
                      <a:pt x="160" y="76"/>
                    </a:lnTo>
                    <a:lnTo>
                      <a:pt x="140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2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4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13"/>
              <p:cNvSpPr>
                <a:spLocks/>
              </p:cNvSpPr>
              <p:nvPr/>
            </p:nvSpPr>
            <p:spPr bwMode="auto">
              <a:xfrm>
                <a:off x="3889375" y="352425"/>
                <a:ext cx="174625" cy="542925"/>
              </a:xfrm>
              <a:custGeom>
                <a:avLst/>
                <a:gdLst>
                  <a:gd name="T0" fmla="*/ 0 w 110"/>
                  <a:gd name="T1" fmla="*/ 342 h 342"/>
                  <a:gd name="T2" fmla="*/ 24 w 110"/>
                  <a:gd name="T3" fmla="*/ 0 h 342"/>
                  <a:gd name="T4" fmla="*/ 110 w 110"/>
                  <a:gd name="T5" fmla="*/ 0 h 342"/>
                  <a:gd name="T6" fmla="*/ 86 w 110"/>
                  <a:gd name="T7" fmla="*/ 342 h 342"/>
                  <a:gd name="T8" fmla="*/ 0 w 110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0" y="0"/>
                    </a:lnTo>
                    <a:lnTo>
                      <a:pt x="86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14"/>
              <p:cNvSpPr>
                <a:spLocks noEditPoints="1"/>
              </p:cNvSpPr>
              <p:nvPr/>
            </p:nvSpPr>
            <p:spPr bwMode="auto">
              <a:xfrm>
                <a:off x="2740025" y="352425"/>
                <a:ext cx="438150" cy="546100"/>
              </a:xfrm>
              <a:custGeom>
                <a:avLst/>
                <a:gdLst>
                  <a:gd name="T0" fmla="*/ 112 w 276"/>
                  <a:gd name="T1" fmla="*/ 0 h 344"/>
                  <a:gd name="T2" fmla="*/ 104 w 276"/>
                  <a:gd name="T3" fmla="*/ 136 h 344"/>
                  <a:gd name="T4" fmla="*/ 120 w 276"/>
                  <a:gd name="T5" fmla="*/ 122 h 344"/>
                  <a:gd name="T6" fmla="*/ 146 w 276"/>
                  <a:gd name="T7" fmla="*/ 104 h 344"/>
                  <a:gd name="T8" fmla="*/ 168 w 276"/>
                  <a:gd name="T9" fmla="*/ 98 h 344"/>
                  <a:gd name="T10" fmla="*/ 180 w 276"/>
                  <a:gd name="T11" fmla="*/ 98 h 344"/>
                  <a:gd name="T12" fmla="*/ 206 w 276"/>
                  <a:gd name="T13" fmla="*/ 100 h 344"/>
                  <a:gd name="T14" fmla="*/ 226 w 276"/>
                  <a:gd name="T15" fmla="*/ 108 h 344"/>
                  <a:gd name="T16" fmla="*/ 244 w 276"/>
                  <a:gd name="T17" fmla="*/ 120 h 344"/>
                  <a:gd name="T18" fmla="*/ 258 w 276"/>
                  <a:gd name="T19" fmla="*/ 136 h 344"/>
                  <a:gd name="T20" fmla="*/ 274 w 276"/>
                  <a:gd name="T21" fmla="*/ 176 h 344"/>
                  <a:gd name="T22" fmla="*/ 276 w 276"/>
                  <a:gd name="T23" fmla="*/ 220 h 344"/>
                  <a:gd name="T24" fmla="*/ 274 w 276"/>
                  <a:gd name="T25" fmla="*/ 242 h 344"/>
                  <a:gd name="T26" fmla="*/ 260 w 276"/>
                  <a:gd name="T27" fmla="*/ 284 h 344"/>
                  <a:gd name="T28" fmla="*/ 240 w 276"/>
                  <a:gd name="T29" fmla="*/ 312 h 344"/>
                  <a:gd name="T30" fmla="*/ 222 w 276"/>
                  <a:gd name="T31" fmla="*/ 328 h 344"/>
                  <a:gd name="T32" fmla="*/ 202 w 276"/>
                  <a:gd name="T33" fmla="*/ 338 h 344"/>
                  <a:gd name="T34" fmla="*/ 176 w 276"/>
                  <a:gd name="T35" fmla="*/ 344 h 344"/>
                  <a:gd name="T36" fmla="*/ 160 w 276"/>
                  <a:gd name="T37" fmla="*/ 344 h 344"/>
                  <a:gd name="T38" fmla="*/ 140 w 276"/>
                  <a:gd name="T39" fmla="*/ 342 h 344"/>
                  <a:gd name="T40" fmla="*/ 106 w 276"/>
                  <a:gd name="T41" fmla="*/ 324 h 344"/>
                  <a:gd name="T42" fmla="*/ 92 w 276"/>
                  <a:gd name="T43" fmla="*/ 312 h 344"/>
                  <a:gd name="T44" fmla="*/ 0 w 276"/>
                  <a:gd name="T45" fmla="*/ 342 h 344"/>
                  <a:gd name="T46" fmla="*/ 94 w 276"/>
                  <a:gd name="T47" fmla="*/ 226 h 344"/>
                  <a:gd name="T48" fmla="*/ 96 w 276"/>
                  <a:gd name="T49" fmla="*/ 250 h 344"/>
                  <a:gd name="T50" fmla="*/ 102 w 276"/>
                  <a:gd name="T51" fmla="*/ 272 h 344"/>
                  <a:gd name="T52" fmla="*/ 114 w 276"/>
                  <a:gd name="T53" fmla="*/ 288 h 344"/>
                  <a:gd name="T54" fmla="*/ 134 w 276"/>
                  <a:gd name="T55" fmla="*/ 296 h 344"/>
                  <a:gd name="T56" fmla="*/ 148 w 276"/>
                  <a:gd name="T57" fmla="*/ 294 h 344"/>
                  <a:gd name="T58" fmla="*/ 168 w 276"/>
                  <a:gd name="T59" fmla="*/ 282 h 344"/>
                  <a:gd name="T60" fmla="*/ 180 w 276"/>
                  <a:gd name="T61" fmla="*/ 260 h 344"/>
                  <a:gd name="T62" fmla="*/ 186 w 276"/>
                  <a:gd name="T63" fmla="*/ 222 h 344"/>
                  <a:gd name="T64" fmla="*/ 186 w 276"/>
                  <a:gd name="T65" fmla="*/ 198 h 344"/>
                  <a:gd name="T66" fmla="*/ 180 w 276"/>
                  <a:gd name="T67" fmla="*/ 174 h 344"/>
                  <a:gd name="T68" fmla="*/ 168 w 276"/>
                  <a:gd name="T69" fmla="*/ 156 h 344"/>
                  <a:gd name="T70" fmla="*/ 146 w 276"/>
                  <a:gd name="T71" fmla="*/ 150 h 344"/>
                  <a:gd name="T72" fmla="*/ 132 w 276"/>
                  <a:gd name="T73" fmla="*/ 152 h 344"/>
                  <a:gd name="T74" fmla="*/ 112 w 276"/>
                  <a:gd name="T75" fmla="*/ 166 h 344"/>
                  <a:gd name="T76" fmla="*/ 100 w 276"/>
                  <a:gd name="T77" fmla="*/ 188 h 344"/>
                  <a:gd name="T78" fmla="*/ 94 w 276"/>
                  <a:gd name="T79" fmla="*/ 226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6" h="344">
                    <a:moveTo>
                      <a:pt x="24" y="0"/>
                    </a:moveTo>
                    <a:lnTo>
                      <a:pt x="112" y="0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20" y="122"/>
                    </a:lnTo>
                    <a:lnTo>
                      <a:pt x="138" y="108"/>
                    </a:lnTo>
                    <a:lnTo>
                      <a:pt x="146" y="104"/>
                    </a:lnTo>
                    <a:lnTo>
                      <a:pt x="158" y="100"/>
                    </a:lnTo>
                    <a:lnTo>
                      <a:pt x="168" y="98"/>
                    </a:lnTo>
                    <a:lnTo>
                      <a:pt x="180" y="98"/>
                    </a:lnTo>
                    <a:lnTo>
                      <a:pt x="180" y="98"/>
                    </a:lnTo>
                    <a:lnTo>
                      <a:pt x="194" y="98"/>
                    </a:lnTo>
                    <a:lnTo>
                      <a:pt x="206" y="100"/>
                    </a:lnTo>
                    <a:lnTo>
                      <a:pt x="216" y="104"/>
                    </a:lnTo>
                    <a:lnTo>
                      <a:pt x="226" y="108"/>
                    </a:lnTo>
                    <a:lnTo>
                      <a:pt x="236" y="114"/>
                    </a:lnTo>
                    <a:lnTo>
                      <a:pt x="244" y="120"/>
                    </a:lnTo>
                    <a:lnTo>
                      <a:pt x="250" y="128"/>
                    </a:lnTo>
                    <a:lnTo>
                      <a:pt x="258" y="136"/>
                    </a:lnTo>
                    <a:lnTo>
                      <a:pt x="266" y="156"/>
                    </a:lnTo>
                    <a:lnTo>
                      <a:pt x="274" y="176"/>
                    </a:lnTo>
                    <a:lnTo>
                      <a:pt x="276" y="198"/>
                    </a:lnTo>
                    <a:lnTo>
                      <a:pt x="276" y="220"/>
                    </a:lnTo>
                    <a:lnTo>
                      <a:pt x="276" y="220"/>
                    </a:lnTo>
                    <a:lnTo>
                      <a:pt x="274" y="242"/>
                    </a:lnTo>
                    <a:lnTo>
                      <a:pt x="268" y="264"/>
                    </a:lnTo>
                    <a:lnTo>
                      <a:pt x="260" y="284"/>
                    </a:lnTo>
                    <a:lnTo>
                      <a:pt x="248" y="304"/>
                    </a:lnTo>
                    <a:lnTo>
                      <a:pt x="240" y="312"/>
                    </a:lnTo>
                    <a:lnTo>
                      <a:pt x="232" y="320"/>
                    </a:lnTo>
                    <a:lnTo>
                      <a:pt x="222" y="328"/>
                    </a:lnTo>
                    <a:lnTo>
                      <a:pt x="212" y="334"/>
                    </a:lnTo>
                    <a:lnTo>
                      <a:pt x="202" y="338"/>
                    </a:lnTo>
                    <a:lnTo>
                      <a:pt x="188" y="342"/>
                    </a:lnTo>
                    <a:lnTo>
                      <a:pt x="176" y="344"/>
                    </a:lnTo>
                    <a:lnTo>
                      <a:pt x="160" y="344"/>
                    </a:lnTo>
                    <a:lnTo>
                      <a:pt x="160" y="344"/>
                    </a:lnTo>
                    <a:lnTo>
                      <a:pt x="150" y="344"/>
                    </a:lnTo>
                    <a:lnTo>
                      <a:pt x="140" y="342"/>
                    </a:lnTo>
                    <a:lnTo>
                      <a:pt x="122" y="336"/>
                    </a:lnTo>
                    <a:lnTo>
                      <a:pt x="106" y="324"/>
                    </a:lnTo>
                    <a:lnTo>
                      <a:pt x="94" y="312"/>
                    </a:lnTo>
                    <a:lnTo>
                      <a:pt x="92" y="312"/>
                    </a:lnTo>
                    <a:lnTo>
                      <a:pt x="88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  <a:moveTo>
                      <a:pt x="94" y="226"/>
                    </a:moveTo>
                    <a:lnTo>
                      <a:pt x="94" y="226"/>
                    </a:lnTo>
                    <a:lnTo>
                      <a:pt x="96" y="250"/>
                    </a:lnTo>
                    <a:lnTo>
                      <a:pt x="98" y="260"/>
                    </a:lnTo>
                    <a:lnTo>
                      <a:pt x="102" y="272"/>
                    </a:lnTo>
                    <a:lnTo>
                      <a:pt x="106" y="282"/>
                    </a:lnTo>
                    <a:lnTo>
                      <a:pt x="114" y="288"/>
                    </a:lnTo>
                    <a:lnTo>
                      <a:pt x="122" y="294"/>
                    </a:lnTo>
                    <a:lnTo>
                      <a:pt x="134" y="296"/>
                    </a:lnTo>
                    <a:lnTo>
                      <a:pt x="134" y="296"/>
                    </a:lnTo>
                    <a:lnTo>
                      <a:pt x="148" y="294"/>
                    </a:lnTo>
                    <a:lnTo>
                      <a:pt x="158" y="288"/>
                    </a:lnTo>
                    <a:lnTo>
                      <a:pt x="168" y="282"/>
                    </a:lnTo>
                    <a:lnTo>
                      <a:pt x="174" y="272"/>
                    </a:lnTo>
                    <a:lnTo>
                      <a:pt x="180" y="260"/>
                    </a:lnTo>
                    <a:lnTo>
                      <a:pt x="184" y="248"/>
                    </a:lnTo>
                    <a:lnTo>
                      <a:pt x="186" y="222"/>
                    </a:lnTo>
                    <a:lnTo>
                      <a:pt x="186" y="222"/>
                    </a:lnTo>
                    <a:lnTo>
                      <a:pt x="186" y="198"/>
                    </a:lnTo>
                    <a:lnTo>
                      <a:pt x="184" y="186"/>
                    </a:lnTo>
                    <a:lnTo>
                      <a:pt x="180" y="174"/>
                    </a:lnTo>
                    <a:lnTo>
                      <a:pt x="176" y="164"/>
                    </a:lnTo>
                    <a:lnTo>
                      <a:pt x="168" y="156"/>
                    </a:lnTo>
                    <a:lnTo>
                      <a:pt x="158" y="152"/>
                    </a:lnTo>
                    <a:lnTo>
                      <a:pt x="146" y="150"/>
                    </a:lnTo>
                    <a:lnTo>
                      <a:pt x="146" y="150"/>
                    </a:lnTo>
                    <a:lnTo>
                      <a:pt x="132" y="152"/>
                    </a:lnTo>
                    <a:lnTo>
                      <a:pt x="120" y="156"/>
                    </a:lnTo>
                    <a:lnTo>
                      <a:pt x="112" y="166"/>
                    </a:lnTo>
                    <a:lnTo>
                      <a:pt x="104" y="176"/>
                    </a:lnTo>
                    <a:lnTo>
                      <a:pt x="100" y="188"/>
                    </a:lnTo>
                    <a:lnTo>
                      <a:pt x="98" y="200"/>
                    </a:lnTo>
                    <a:lnTo>
                      <a:pt x="94" y="226"/>
                    </a:lnTo>
                    <a:lnTo>
                      <a:pt x="94" y="2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15"/>
              <p:cNvSpPr>
                <a:spLocks noEditPoints="1"/>
              </p:cNvSpPr>
              <p:nvPr/>
            </p:nvSpPr>
            <p:spPr bwMode="auto">
              <a:xfrm>
                <a:off x="3197225" y="504825"/>
                <a:ext cx="406400" cy="396875"/>
              </a:xfrm>
              <a:custGeom>
                <a:avLst/>
                <a:gdLst>
                  <a:gd name="T0" fmla="*/ 86 w 256"/>
                  <a:gd name="T1" fmla="*/ 142 h 250"/>
                  <a:gd name="T2" fmla="*/ 86 w 256"/>
                  <a:gd name="T3" fmla="*/ 166 h 250"/>
                  <a:gd name="T4" fmla="*/ 90 w 256"/>
                  <a:gd name="T5" fmla="*/ 184 h 250"/>
                  <a:gd name="T6" fmla="*/ 102 w 256"/>
                  <a:gd name="T7" fmla="*/ 196 h 250"/>
                  <a:gd name="T8" fmla="*/ 124 w 256"/>
                  <a:gd name="T9" fmla="*/ 202 h 250"/>
                  <a:gd name="T10" fmla="*/ 132 w 256"/>
                  <a:gd name="T11" fmla="*/ 200 h 250"/>
                  <a:gd name="T12" fmla="*/ 148 w 256"/>
                  <a:gd name="T13" fmla="*/ 196 h 250"/>
                  <a:gd name="T14" fmla="*/ 158 w 256"/>
                  <a:gd name="T15" fmla="*/ 186 h 250"/>
                  <a:gd name="T16" fmla="*/ 164 w 256"/>
                  <a:gd name="T17" fmla="*/ 174 h 250"/>
                  <a:gd name="T18" fmla="*/ 248 w 256"/>
                  <a:gd name="T19" fmla="*/ 170 h 250"/>
                  <a:gd name="T20" fmla="*/ 246 w 256"/>
                  <a:gd name="T21" fmla="*/ 180 h 250"/>
                  <a:gd name="T22" fmla="*/ 238 w 256"/>
                  <a:gd name="T23" fmla="*/ 198 h 250"/>
                  <a:gd name="T24" fmla="*/ 218 w 256"/>
                  <a:gd name="T25" fmla="*/ 222 h 250"/>
                  <a:gd name="T26" fmla="*/ 202 w 256"/>
                  <a:gd name="T27" fmla="*/ 234 h 250"/>
                  <a:gd name="T28" fmla="*/ 168 w 256"/>
                  <a:gd name="T29" fmla="*/ 246 h 250"/>
                  <a:gd name="T30" fmla="*/ 128 w 256"/>
                  <a:gd name="T31" fmla="*/ 250 h 250"/>
                  <a:gd name="T32" fmla="*/ 96 w 256"/>
                  <a:gd name="T33" fmla="*/ 248 h 250"/>
                  <a:gd name="T34" fmla="*/ 66 w 256"/>
                  <a:gd name="T35" fmla="*/ 242 h 250"/>
                  <a:gd name="T36" fmla="*/ 44 w 256"/>
                  <a:gd name="T37" fmla="*/ 232 h 250"/>
                  <a:gd name="T38" fmla="*/ 26 w 256"/>
                  <a:gd name="T39" fmla="*/ 218 h 250"/>
                  <a:gd name="T40" fmla="*/ 12 w 256"/>
                  <a:gd name="T41" fmla="*/ 200 h 250"/>
                  <a:gd name="T42" fmla="*/ 4 w 256"/>
                  <a:gd name="T43" fmla="*/ 178 h 250"/>
                  <a:gd name="T44" fmla="*/ 0 w 256"/>
                  <a:gd name="T45" fmla="*/ 150 h 250"/>
                  <a:gd name="T46" fmla="*/ 0 w 256"/>
                  <a:gd name="T47" fmla="*/ 118 h 250"/>
                  <a:gd name="T48" fmla="*/ 4 w 256"/>
                  <a:gd name="T49" fmla="*/ 92 h 250"/>
                  <a:gd name="T50" fmla="*/ 14 w 256"/>
                  <a:gd name="T51" fmla="*/ 68 h 250"/>
                  <a:gd name="T52" fmla="*/ 26 w 256"/>
                  <a:gd name="T53" fmla="*/ 48 h 250"/>
                  <a:gd name="T54" fmla="*/ 44 w 256"/>
                  <a:gd name="T55" fmla="*/ 32 h 250"/>
                  <a:gd name="T56" fmla="*/ 86 w 256"/>
                  <a:gd name="T57" fmla="*/ 8 h 250"/>
                  <a:gd name="T58" fmla="*/ 138 w 256"/>
                  <a:gd name="T59" fmla="*/ 0 h 250"/>
                  <a:gd name="T60" fmla="*/ 154 w 256"/>
                  <a:gd name="T61" fmla="*/ 2 h 250"/>
                  <a:gd name="T62" fmla="*/ 184 w 256"/>
                  <a:gd name="T63" fmla="*/ 6 h 250"/>
                  <a:gd name="T64" fmla="*/ 208 w 256"/>
                  <a:gd name="T65" fmla="*/ 18 h 250"/>
                  <a:gd name="T66" fmla="*/ 228 w 256"/>
                  <a:gd name="T67" fmla="*/ 32 h 250"/>
                  <a:gd name="T68" fmla="*/ 242 w 256"/>
                  <a:gd name="T69" fmla="*/ 50 h 250"/>
                  <a:gd name="T70" fmla="*/ 250 w 256"/>
                  <a:gd name="T71" fmla="*/ 72 h 250"/>
                  <a:gd name="T72" fmla="*/ 256 w 256"/>
                  <a:gd name="T73" fmla="*/ 112 h 250"/>
                  <a:gd name="T74" fmla="*/ 86 w 256"/>
                  <a:gd name="T75" fmla="*/ 142 h 250"/>
                  <a:gd name="T76" fmla="*/ 172 w 256"/>
                  <a:gd name="T77" fmla="*/ 98 h 250"/>
                  <a:gd name="T78" fmla="*/ 170 w 256"/>
                  <a:gd name="T79" fmla="*/ 78 h 250"/>
                  <a:gd name="T80" fmla="*/ 164 w 256"/>
                  <a:gd name="T81" fmla="*/ 62 h 250"/>
                  <a:gd name="T82" fmla="*/ 158 w 256"/>
                  <a:gd name="T83" fmla="*/ 56 h 250"/>
                  <a:gd name="T84" fmla="*/ 142 w 256"/>
                  <a:gd name="T85" fmla="*/ 48 h 250"/>
                  <a:gd name="T86" fmla="*/ 134 w 256"/>
                  <a:gd name="T87" fmla="*/ 46 h 250"/>
                  <a:gd name="T88" fmla="*/ 114 w 256"/>
                  <a:gd name="T89" fmla="*/ 52 h 250"/>
                  <a:gd name="T90" fmla="*/ 102 w 256"/>
                  <a:gd name="T91" fmla="*/ 62 h 250"/>
                  <a:gd name="T92" fmla="*/ 94 w 256"/>
                  <a:gd name="T93" fmla="*/ 78 h 250"/>
                  <a:gd name="T94" fmla="*/ 172 w 256"/>
                  <a:gd name="T95" fmla="*/ 98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6" h="250">
                    <a:moveTo>
                      <a:pt x="86" y="142"/>
                    </a:moveTo>
                    <a:lnTo>
                      <a:pt x="86" y="142"/>
                    </a:lnTo>
                    <a:lnTo>
                      <a:pt x="84" y="154"/>
                    </a:lnTo>
                    <a:lnTo>
                      <a:pt x="86" y="166"/>
                    </a:lnTo>
                    <a:lnTo>
                      <a:pt x="88" y="176"/>
                    </a:lnTo>
                    <a:lnTo>
                      <a:pt x="90" y="184"/>
                    </a:lnTo>
                    <a:lnTo>
                      <a:pt x="96" y="192"/>
                    </a:lnTo>
                    <a:lnTo>
                      <a:pt x="102" y="196"/>
                    </a:lnTo>
                    <a:lnTo>
                      <a:pt x="112" y="200"/>
                    </a:lnTo>
                    <a:lnTo>
                      <a:pt x="124" y="202"/>
                    </a:lnTo>
                    <a:lnTo>
                      <a:pt x="124" y="202"/>
                    </a:lnTo>
                    <a:lnTo>
                      <a:pt x="132" y="200"/>
                    </a:lnTo>
                    <a:lnTo>
                      <a:pt x="140" y="198"/>
                    </a:lnTo>
                    <a:lnTo>
                      <a:pt x="148" y="196"/>
                    </a:lnTo>
                    <a:lnTo>
                      <a:pt x="154" y="192"/>
                    </a:lnTo>
                    <a:lnTo>
                      <a:pt x="158" y="186"/>
                    </a:lnTo>
                    <a:lnTo>
                      <a:pt x="162" y="180"/>
                    </a:lnTo>
                    <a:lnTo>
                      <a:pt x="164" y="174"/>
                    </a:lnTo>
                    <a:lnTo>
                      <a:pt x="164" y="170"/>
                    </a:lnTo>
                    <a:lnTo>
                      <a:pt x="248" y="170"/>
                    </a:lnTo>
                    <a:lnTo>
                      <a:pt x="248" y="170"/>
                    </a:lnTo>
                    <a:lnTo>
                      <a:pt x="246" y="180"/>
                    </a:lnTo>
                    <a:lnTo>
                      <a:pt x="242" y="190"/>
                    </a:lnTo>
                    <a:lnTo>
                      <a:pt x="238" y="198"/>
                    </a:lnTo>
                    <a:lnTo>
                      <a:pt x="232" y="208"/>
                    </a:lnTo>
                    <a:lnTo>
                      <a:pt x="218" y="222"/>
                    </a:lnTo>
                    <a:lnTo>
                      <a:pt x="202" y="234"/>
                    </a:lnTo>
                    <a:lnTo>
                      <a:pt x="202" y="234"/>
                    </a:lnTo>
                    <a:lnTo>
                      <a:pt x="186" y="242"/>
                    </a:lnTo>
                    <a:lnTo>
                      <a:pt x="168" y="246"/>
                    </a:lnTo>
                    <a:lnTo>
                      <a:pt x="148" y="248"/>
                    </a:lnTo>
                    <a:lnTo>
                      <a:pt x="128" y="250"/>
                    </a:lnTo>
                    <a:lnTo>
                      <a:pt x="128" y="250"/>
                    </a:lnTo>
                    <a:lnTo>
                      <a:pt x="96" y="248"/>
                    </a:lnTo>
                    <a:lnTo>
                      <a:pt x="80" y="244"/>
                    </a:lnTo>
                    <a:lnTo>
                      <a:pt x="66" y="242"/>
                    </a:lnTo>
                    <a:lnTo>
                      <a:pt x="54" y="238"/>
                    </a:lnTo>
                    <a:lnTo>
                      <a:pt x="44" y="232"/>
                    </a:lnTo>
                    <a:lnTo>
                      <a:pt x="34" y="226"/>
                    </a:lnTo>
                    <a:lnTo>
                      <a:pt x="26" y="218"/>
                    </a:lnTo>
                    <a:lnTo>
                      <a:pt x="18" y="210"/>
                    </a:lnTo>
                    <a:lnTo>
                      <a:pt x="12" y="200"/>
                    </a:lnTo>
                    <a:lnTo>
                      <a:pt x="8" y="190"/>
                    </a:lnTo>
                    <a:lnTo>
                      <a:pt x="4" y="178"/>
                    </a:lnTo>
                    <a:lnTo>
                      <a:pt x="2" y="164"/>
                    </a:lnTo>
                    <a:lnTo>
                      <a:pt x="0" y="150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2" y="106"/>
                    </a:lnTo>
                    <a:lnTo>
                      <a:pt x="4" y="92"/>
                    </a:lnTo>
                    <a:lnTo>
                      <a:pt x="8" y="80"/>
                    </a:lnTo>
                    <a:lnTo>
                      <a:pt x="14" y="68"/>
                    </a:lnTo>
                    <a:lnTo>
                      <a:pt x="20" y="58"/>
                    </a:lnTo>
                    <a:lnTo>
                      <a:pt x="26" y="48"/>
                    </a:lnTo>
                    <a:lnTo>
                      <a:pt x="34" y="40"/>
                    </a:lnTo>
                    <a:lnTo>
                      <a:pt x="44" y="32"/>
                    </a:lnTo>
                    <a:lnTo>
                      <a:pt x="64" y="18"/>
                    </a:lnTo>
                    <a:lnTo>
                      <a:pt x="86" y="8"/>
                    </a:lnTo>
                    <a:lnTo>
                      <a:pt x="110" y="2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4" y="2"/>
                    </a:lnTo>
                    <a:lnTo>
                      <a:pt x="170" y="4"/>
                    </a:lnTo>
                    <a:lnTo>
                      <a:pt x="184" y="6"/>
                    </a:lnTo>
                    <a:lnTo>
                      <a:pt x="196" y="12"/>
                    </a:lnTo>
                    <a:lnTo>
                      <a:pt x="208" y="18"/>
                    </a:lnTo>
                    <a:lnTo>
                      <a:pt x="218" y="24"/>
                    </a:lnTo>
                    <a:lnTo>
                      <a:pt x="228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46" y="60"/>
                    </a:lnTo>
                    <a:lnTo>
                      <a:pt x="250" y="72"/>
                    </a:lnTo>
                    <a:lnTo>
                      <a:pt x="254" y="84"/>
                    </a:lnTo>
                    <a:lnTo>
                      <a:pt x="256" y="112"/>
                    </a:lnTo>
                    <a:lnTo>
                      <a:pt x="254" y="142"/>
                    </a:lnTo>
                    <a:lnTo>
                      <a:pt x="86" y="142"/>
                    </a:lnTo>
                    <a:close/>
                    <a:moveTo>
                      <a:pt x="172" y="98"/>
                    </a:moveTo>
                    <a:lnTo>
                      <a:pt x="172" y="98"/>
                    </a:lnTo>
                    <a:lnTo>
                      <a:pt x="172" y="88"/>
                    </a:lnTo>
                    <a:lnTo>
                      <a:pt x="170" y="78"/>
                    </a:lnTo>
                    <a:lnTo>
                      <a:pt x="168" y="70"/>
                    </a:lnTo>
                    <a:lnTo>
                      <a:pt x="164" y="62"/>
                    </a:lnTo>
                    <a:lnTo>
                      <a:pt x="164" y="62"/>
                    </a:lnTo>
                    <a:lnTo>
                      <a:pt x="158" y="56"/>
                    </a:lnTo>
                    <a:lnTo>
                      <a:pt x="150" y="50"/>
                    </a:lnTo>
                    <a:lnTo>
                      <a:pt x="142" y="48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22" y="48"/>
                    </a:lnTo>
                    <a:lnTo>
                      <a:pt x="114" y="52"/>
                    </a:lnTo>
                    <a:lnTo>
                      <a:pt x="106" y="56"/>
                    </a:lnTo>
                    <a:lnTo>
                      <a:pt x="102" y="62"/>
                    </a:lnTo>
                    <a:lnTo>
                      <a:pt x="96" y="70"/>
                    </a:lnTo>
                    <a:lnTo>
                      <a:pt x="94" y="78"/>
                    </a:lnTo>
                    <a:lnTo>
                      <a:pt x="90" y="98"/>
                    </a:lnTo>
                    <a:lnTo>
                      <a:pt x="172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16"/>
              <p:cNvSpPr>
                <a:spLocks/>
              </p:cNvSpPr>
              <p:nvPr/>
            </p:nvSpPr>
            <p:spPr bwMode="auto">
              <a:xfrm>
                <a:off x="1314450" y="352425"/>
                <a:ext cx="196850" cy="542925"/>
              </a:xfrm>
              <a:custGeom>
                <a:avLst/>
                <a:gdLst>
                  <a:gd name="T0" fmla="*/ 24 w 124"/>
                  <a:gd name="T1" fmla="*/ 0 h 342"/>
                  <a:gd name="T2" fmla="*/ 124 w 124"/>
                  <a:gd name="T3" fmla="*/ 0 h 342"/>
                  <a:gd name="T4" fmla="*/ 100 w 124"/>
                  <a:gd name="T5" fmla="*/ 342 h 342"/>
                  <a:gd name="T6" fmla="*/ 0 w 124"/>
                  <a:gd name="T7" fmla="*/ 342 h 342"/>
                  <a:gd name="T8" fmla="*/ 24 w 124"/>
                  <a:gd name="T9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342">
                    <a:moveTo>
                      <a:pt x="24" y="0"/>
                    </a:moveTo>
                    <a:lnTo>
                      <a:pt x="124" y="0"/>
                    </a:lnTo>
                    <a:lnTo>
                      <a:pt x="100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17"/>
              <p:cNvSpPr>
                <a:spLocks/>
              </p:cNvSpPr>
              <p:nvPr/>
            </p:nvSpPr>
            <p:spPr bwMode="auto">
              <a:xfrm>
                <a:off x="1498600" y="352425"/>
                <a:ext cx="368300" cy="542925"/>
              </a:xfrm>
              <a:custGeom>
                <a:avLst/>
                <a:gdLst>
                  <a:gd name="T0" fmla="*/ 120 w 232"/>
                  <a:gd name="T1" fmla="*/ 0 h 342"/>
                  <a:gd name="T2" fmla="*/ 0 w 232"/>
                  <a:gd name="T3" fmla="*/ 152 h 342"/>
                  <a:gd name="T4" fmla="*/ 106 w 232"/>
                  <a:gd name="T5" fmla="*/ 342 h 342"/>
                  <a:gd name="T6" fmla="*/ 226 w 232"/>
                  <a:gd name="T7" fmla="*/ 342 h 342"/>
                  <a:gd name="T8" fmla="*/ 106 w 232"/>
                  <a:gd name="T9" fmla="*/ 148 h 342"/>
                  <a:gd name="T10" fmla="*/ 232 w 232"/>
                  <a:gd name="T11" fmla="*/ 0 h 342"/>
                  <a:gd name="T12" fmla="*/ 120 w 232"/>
                  <a:gd name="T13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2" h="342">
                    <a:moveTo>
                      <a:pt x="120" y="0"/>
                    </a:moveTo>
                    <a:lnTo>
                      <a:pt x="0" y="152"/>
                    </a:lnTo>
                    <a:lnTo>
                      <a:pt x="106" y="342"/>
                    </a:lnTo>
                    <a:lnTo>
                      <a:pt x="226" y="342"/>
                    </a:lnTo>
                    <a:lnTo>
                      <a:pt x="106" y="148"/>
                    </a:lnTo>
                    <a:lnTo>
                      <a:pt x="232" y="0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18"/>
              <p:cNvSpPr>
                <a:spLocks/>
              </p:cNvSpPr>
              <p:nvPr/>
            </p:nvSpPr>
            <p:spPr bwMode="auto">
              <a:xfrm>
                <a:off x="1876425" y="517525"/>
                <a:ext cx="158750" cy="377825"/>
              </a:xfrm>
              <a:custGeom>
                <a:avLst/>
                <a:gdLst>
                  <a:gd name="T0" fmla="*/ 16 w 100"/>
                  <a:gd name="T1" fmla="*/ 0 h 238"/>
                  <a:gd name="T2" fmla="*/ 100 w 100"/>
                  <a:gd name="T3" fmla="*/ 0 h 238"/>
                  <a:gd name="T4" fmla="*/ 84 w 100"/>
                  <a:gd name="T5" fmla="*/ 238 h 238"/>
                  <a:gd name="T6" fmla="*/ 0 w 100"/>
                  <a:gd name="T7" fmla="*/ 238 h 238"/>
                  <a:gd name="T8" fmla="*/ 16 w 100"/>
                  <a:gd name="T9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238">
                    <a:moveTo>
                      <a:pt x="16" y="0"/>
                    </a:moveTo>
                    <a:lnTo>
                      <a:pt x="100" y="0"/>
                    </a:lnTo>
                    <a:lnTo>
                      <a:pt x="84" y="238"/>
                    </a:lnTo>
                    <a:lnTo>
                      <a:pt x="0" y="238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19"/>
              <p:cNvSpPr>
                <a:spLocks/>
              </p:cNvSpPr>
              <p:nvPr/>
            </p:nvSpPr>
            <p:spPr bwMode="auto">
              <a:xfrm>
                <a:off x="2038350" y="504825"/>
                <a:ext cx="692150" cy="390525"/>
              </a:xfrm>
              <a:custGeom>
                <a:avLst/>
                <a:gdLst>
                  <a:gd name="T0" fmla="*/ 106 w 436"/>
                  <a:gd name="T1" fmla="*/ 40 h 246"/>
                  <a:gd name="T2" fmla="*/ 106 w 436"/>
                  <a:gd name="T3" fmla="*/ 40 h 246"/>
                  <a:gd name="T4" fmla="*/ 128 w 436"/>
                  <a:gd name="T5" fmla="*/ 20 h 246"/>
                  <a:gd name="T6" fmla="*/ 150 w 436"/>
                  <a:gd name="T7" fmla="*/ 8 h 246"/>
                  <a:gd name="T8" fmla="*/ 172 w 436"/>
                  <a:gd name="T9" fmla="*/ 2 h 246"/>
                  <a:gd name="T10" fmla="*/ 192 w 436"/>
                  <a:gd name="T11" fmla="*/ 2 h 246"/>
                  <a:gd name="T12" fmla="*/ 216 w 436"/>
                  <a:gd name="T13" fmla="*/ 6 h 246"/>
                  <a:gd name="T14" fmla="*/ 238 w 436"/>
                  <a:gd name="T15" fmla="*/ 14 h 246"/>
                  <a:gd name="T16" fmla="*/ 254 w 436"/>
                  <a:gd name="T17" fmla="*/ 28 h 246"/>
                  <a:gd name="T18" fmla="*/ 264 w 436"/>
                  <a:gd name="T19" fmla="*/ 44 h 246"/>
                  <a:gd name="T20" fmla="*/ 272 w 436"/>
                  <a:gd name="T21" fmla="*/ 34 h 246"/>
                  <a:gd name="T22" fmla="*/ 290 w 436"/>
                  <a:gd name="T23" fmla="*/ 18 h 246"/>
                  <a:gd name="T24" fmla="*/ 312 w 436"/>
                  <a:gd name="T25" fmla="*/ 8 h 246"/>
                  <a:gd name="T26" fmla="*/ 338 w 436"/>
                  <a:gd name="T27" fmla="*/ 2 h 246"/>
                  <a:gd name="T28" fmla="*/ 352 w 436"/>
                  <a:gd name="T29" fmla="*/ 0 h 246"/>
                  <a:gd name="T30" fmla="*/ 386 w 436"/>
                  <a:gd name="T31" fmla="*/ 6 h 246"/>
                  <a:gd name="T32" fmla="*/ 414 w 436"/>
                  <a:gd name="T33" fmla="*/ 24 h 246"/>
                  <a:gd name="T34" fmla="*/ 432 w 436"/>
                  <a:gd name="T35" fmla="*/ 50 h 246"/>
                  <a:gd name="T36" fmla="*/ 436 w 436"/>
                  <a:gd name="T37" fmla="*/ 86 h 246"/>
                  <a:gd name="T38" fmla="*/ 332 w 436"/>
                  <a:gd name="T39" fmla="*/ 246 h 246"/>
                  <a:gd name="T40" fmla="*/ 342 w 436"/>
                  <a:gd name="T41" fmla="*/ 106 h 246"/>
                  <a:gd name="T42" fmla="*/ 342 w 436"/>
                  <a:gd name="T43" fmla="*/ 80 h 246"/>
                  <a:gd name="T44" fmla="*/ 336 w 436"/>
                  <a:gd name="T45" fmla="*/ 66 h 246"/>
                  <a:gd name="T46" fmla="*/ 322 w 436"/>
                  <a:gd name="T47" fmla="*/ 58 h 246"/>
                  <a:gd name="T48" fmla="*/ 312 w 436"/>
                  <a:gd name="T49" fmla="*/ 58 h 246"/>
                  <a:gd name="T50" fmla="*/ 288 w 436"/>
                  <a:gd name="T51" fmla="*/ 66 h 246"/>
                  <a:gd name="T52" fmla="*/ 276 w 436"/>
                  <a:gd name="T53" fmla="*/ 82 h 246"/>
                  <a:gd name="T54" fmla="*/ 270 w 436"/>
                  <a:gd name="T55" fmla="*/ 100 h 246"/>
                  <a:gd name="T56" fmla="*/ 260 w 436"/>
                  <a:gd name="T57" fmla="*/ 246 h 246"/>
                  <a:gd name="T58" fmla="*/ 180 w 436"/>
                  <a:gd name="T59" fmla="*/ 106 h 246"/>
                  <a:gd name="T60" fmla="*/ 178 w 436"/>
                  <a:gd name="T61" fmla="*/ 88 h 246"/>
                  <a:gd name="T62" fmla="*/ 174 w 436"/>
                  <a:gd name="T63" fmla="*/ 72 h 246"/>
                  <a:gd name="T64" fmla="*/ 164 w 436"/>
                  <a:gd name="T65" fmla="*/ 62 h 246"/>
                  <a:gd name="T66" fmla="*/ 148 w 436"/>
                  <a:gd name="T67" fmla="*/ 58 h 246"/>
                  <a:gd name="T68" fmla="*/ 132 w 436"/>
                  <a:gd name="T69" fmla="*/ 60 h 246"/>
                  <a:gd name="T70" fmla="*/ 114 w 436"/>
                  <a:gd name="T71" fmla="*/ 72 h 246"/>
                  <a:gd name="T72" fmla="*/ 104 w 436"/>
                  <a:gd name="T73" fmla="*/ 92 h 246"/>
                  <a:gd name="T74" fmla="*/ 102 w 436"/>
                  <a:gd name="T75" fmla="*/ 110 h 246"/>
                  <a:gd name="T76" fmla="*/ 0 w 436"/>
                  <a:gd name="T77" fmla="*/ 246 h 246"/>
                  <a:gd name="T78" fmla="*/ 106 w 436"/>
                  <a:gd name="T79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36" h="246">
                    <a:moveTo>
                      <a:pt x="106" y="8"/>
                    </a:moveTo>
                    <a:lnTo>
                      <a:pt x="106" y="40"/>
                    </a:lnTo>
                    <a:lnTo>
                      <a:pt x="106" y="40"/>
                    </a:lnTo>
                    <a:lnTo>
                      <a:pt x="106" y="40"/>
                    </a:lnTo>
                    <a:lnTo>
                      <a:pt x="118" y="28"/>
                    </a:lnTo>
                    <a:lnTo>
                      <a:pt x="128" y="20"/>
                    </a:lnTo>
                    <a:lnTo>
                      <a:pt x="140" y="12"/>
                    </a:lnTo>
                    <a:lnTo>
                      <a:pt x="150" y="8"/>
                    </a:lnTo>
                    <a:lnTo>
                      <a:pt x="162" y="4"/>
                    </a:lnTo>
                    <a:lnTo>
                      <a:pt x="172" y="2"/>
                    </a:lnTo>
                    <a:lnTo>
                      <a:pt x="192" y="2"/>
                    </a:lnTo>
                    <a:lnTo>
                      <a:pt x="192" y="2"/>
                    </a:lnTo>
                    <a:lnTo>
                      <a:pt x="204" y="2"/>
                    </a:lnTo>
                    <a:lnTo>
                      <a:pt x="216" y="6"/>
                    </a:lnTo>
                    <a:lnTo>
                      <a:pt x="228" y="8"/>
                    </a:lnTo>
                    <a:lnTo>
                      <a:pt x="238" y="14"/>
                    </a:lnTo>
                    <a:lnTo>
                      <a:pt x="246" y="20"/>
                    </a:lnTo>
                    <a:lnTo>
                      <a:pt x="254" y="28"/>
                    </a:lnTo>
                    <a:lnTo>
                      <a:pt x="260" y="36"/>
                    </a:lnTo>
                    <a:lnTo>
                      <a:pt x="264" y="44"/>
                    </a:lnTo>
                    <a:lnTo>
                      <a:pt x="264" y="44"/>
                    </a:lnTo>
                    <a:lnTo>
                      <a:pt x="272" y="34"/>
                    </a:lnTo>
                    <a:lnTo>
                      <a:pt x="280" y="26"/>
                    </a:lnTo>
                    <a:lnTo>
                      <a:pt x="290" y="18"/>
                    </a:lnTo>
                    <a:lnTo>
                      <a:pt x="302" y="12"/>
                    </a:lnTo>
                    <a:lnTo>
                      <a:pt x="312" y="8"/>
                    </a:lnTo>
                    <a:lnTo>
                      <a:pt x="326" y="4"/>
                    </a:lnTo>
                    <a:lnTo>
                      <a:pt x="338" y="2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70" y="2"/>
                    </a:lnTo>
                    <a:lnTo>
                      <a:pt x="386" y="6"/>
                    </a:lnTo>
                    <a:lnTo>
                      <a:pt x="402" y="14"/>
                    </a:lnTo>
                    <a:lnTo>
                      <a:pt x="414" y="24"/>
                    </a:lnTo>
                    <a:lnTo>
                      <a:pt x="424" y="36"/>
                    </a:lnTo>
                    <a:lnTo>
                      <a:pt x="432" y="50"/>
                    </a:lnTo>
                    <a:lnTo>
                      <a:pt x="436" y="68"/>
                    </a:lnTo>
                    <a:lnTo>
                      <a:pt x="436" y="86"/>
                    </a:lnTo>
                    <a:lnTo>
                      <a:pt x="424" y="246"/>
                    </a:lnTo>
                    <a:lnTo>
                      <a:pt x="332" y="246"/>
                    </a:lnTo>
                    <a:lnTo>
                      <a:pt x="342" y="106"/>
                    </a:lnTo>
                    <a:lnTo>
                      <a:pt x="342" y="106"/>
                    </a:lnTo>
                    <a:lnTo>
                      <a:pt x="342" y="88"/>
                    </a:lnTo>
                    <a:lnTo>
                      <a:pt x="342" y="80"/>
                    </a:lnTo>
                    <a:lnTo>
                      <a:pt x="340" y="74"/>
                    </a:lnTo>
                    <a:lnTo>
                      <a:pt x="336" y="66"/>
                    </a:lnTo>
                    <a:lnTo>
                      <a:pt x="330" y="62"/>
                    </a:lnTo>
                    <a:lnTo>
                      <a:pt x="322" y="58"/>
                    </a:lnTo>
                    <a:lnTo>
                      <a:pt x="312" y="58"/>
                    </a:lnTo>
                    <a:lnTo>
                      <a:pt x="312" y="58"/>
                    </a:lnTo>
                    <a:lnTo>
                      <a:pt x="298" y="60"/>
                    </a:lnTo>
                    <a:lnTo>
                      <a:pt x="288" y="66"/>
                    </a:lnTo>
                    <a:lnTo>
                      <a:pt x="280" y="72"/>
                    </a:lnTo>
                    <a:lnTo>
                      <a:pt x="276" y="82"/>
                    </a:lnTo>
                    <a:lnTo>
                      <a:pt x="272" y="92"/>
                    </a:lnTo>
                    <a:lnTo>
                      <a:pt x="270" y="100"/>
                    </a:lnTo>
                    <a:lnTo>
                      <a:pt x="270" y="110"/>
                    </a:lnTo>
                    <a:lnTo>
                      <a:pt x="260" y="246"/>
                    </a:lnTo>
                    <a:lnTo>
                      <a:pt x="170" y="246"/>
                    </a:lnTo>
                    <a:lnTo>
                      <a:pt x="180" y="106"/>
                    </a:lnTo>
                    <a:lnTo>
                      <a:pt x="180" y="106"/>
                    </a:lnTo>
                    <a:lnTo>
                      <a:pt x="178" y="88"/>
                    </a:lnTo>
                    <a:lnTo>
                      <a:pt x="178" y="80"/>
                    </a:lnTo>
                    <a:lnTo>
                      <a:pt x="174" y="72"/>
                    </a:lnTo>
                    <a:lnTo>
                      <a:pt x="170" y="66"/>
                    </a:lnTo>
                    <a:lnTo>
                      <a:pt x="164" y="62"/>
                    </a:lnTo>
                    <a:lnTo>
                      <a:pt x="15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32" y="60"/>
                    </a:lnTo>
                    <a:lnTo>
                      <a:pt x="122" y="66"/>
                    </a:lnTo>
                    <a:lnTo>
                      <a:pt x="114" y="72"/>
                    </a:lnTo>
                    <a:lnTo>
                      <a:pt x="108" y="82"/>
                    </a:lnTo>
                    <a:lnTo>
                      <a:pt x="104" y="92"/>
                    </a:lnTo>
                    <a:lnTo>
                      <a:pt x="104" y="100"/>
                    </a:lnTo>
                    <a:lnTo>
                      <a:pt x="102" y="110"/>
                    </a:lnTo>
                    <a:lnTo>
                      <a:pt x="94" y="246"/>
                    </a:lnTo>
                    <a:lnTo>
                      <a:pt x="0" y="246"/>
                    </a:lnTo>
                    <a:lnTo>
                      <a:pt x="16" y="8"/>
                    </a:lnTo>
                    <a:lnTo>
                      <a:pt x="106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20"/>
              <p:cNvSpPr>
                <a:spLocks/>
              </p:cNvSpPr>
              <p:nvPr/>
            </p:nvSpPr>
            <p:spPr bwMode="auto">
              <a:xfrm>
                <a:off x="4064000" y="517525"/>
                <a:ext cx="454025" cy="558800"/>
              </a:xfrm>
              <a:custGeom>
                <a:avLst/>
                <a:gdLst>
                  <a:gd name="T0" fmla="*/ 116 w 286"/>
                  <a:gd name="T1" fmla="*/ 352 h 352"/>
                  <a:gd name="T2" fmla="*/ 34 w 286"/>
                  <a:gd name="T3" fmla="*/ 352 h 352"/>
                  <a:gd name="T4" fmla="*/ 86 w 286"/>
                  <a:gd name="T5" fmla="*/ 242 h 352"/>
                  <a:gd name="T6" fmla="*/ 0 w 286"/>
                  <a:gd name="T7" fmla="*/ 0 h 352"/>
                  <a:gd name="T8" fmla="*/ 100 w 286"/>
                  <a:gd name="T9" fmla="*/ 0 h 352"/>
                  <a:gd name="T10" fmla="*/ 140 w 286"/>
                  <a:gd name="T11" fmla="*/ 148 h 352"/>
                  <a:gd name="T12" fmla="*/ 202 w 286"/>
                  <a:gd name="T13" fmla="*/ 0 h 352"/>
                  <a:gd name="T14" fmla="*/ 286 w 286"/>
                  <a:gd name="T15" fmla="*/ 0 h 352"/>
                  <a:gd name="T16" fmla="*/ 116 w 286"/>
                  <a:gd name="T17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6" h="352">
                    <a:moveTo>
                      <a:pt x="116" y="352"/>
                    </a:moveTo>
                    <a:lnTo>
                      <a:pt x="34" y="352"/>
                    </a:lnTo>
                    <a:lnTo>
                      <a:pt x="86" y="242"/>
                    </a:lnTo>
                    <a:lnTo>
                      <a:pt x="0" y="0"/>
                    </a:lnTo>
                    <a:lnTo>
                      <a:pt x="100" y="0"/>
                    </a:lnTo>
                    <a:lnTo>
                      <a:pt x="140" y="148"/>
                    </a:lnTo>
                    <a:lnTo>
                      <a:pt x="202" y="0"/>
                    </a:lnTo>
                    <a:lnTo>
                      <a:pt x="286" y="0"/>
                    </a:lnTo>
                    <a:lnTo>
                      <a:pt x="116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21"/>
              <p:cNvSpPr>
                <a:spLocks/>
              </p:cNvSpPr>
              <p:nvPr/>
            </p:nvSpPr>
            <p:spPr bwMode="auto">
              <a:xfrm>
                <a:off x="4473575" y="593725"/>
                <a:ext cx="241300" cy="117475"/>
              </a:xfrm>
              <a:custGeom>
                <a:avLst/>
                <a:gdLst>
                  <a:gd name="T0" fmla="*/ 36 w 152"/>
                  <a:gd name="T1" fmla="*/ 0 h 74"/>
                  <a:gd name="T2" fmla="*/ 152 w 152"/>
                  <a:gd name="T3" fmla="*/ 0 h 74"/>
                  <a:gd name="T4" fmla="*/ 114 w 152"/>
                  <a:gd name="T5" fmla="*/ 74 h 74"/>
                  <a:gd name="T6" fmla="*/ 0 w 152"/>
                  <a:gd name="T7" fmla="*/ 74 h 74"/>
                  <a:gd name="T8" fmla="*/ 36 w 152"/>
                  <a:gd name="T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74">
                    <a:moveTo>
                      <a:pt x="36" y="0"/>
                    </a:moveTo>
                    <a:lnTo>
                      <a:pt x="152" y="0"/>
                    </a:lnTo>
                    <a:lnTo>
                      <a:pt x="114" y="74"/>
                    </a:lnTo>
                    <a:lnTo>
                      <a:pt x="0" y="7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22"/>
              <p:cNvSpPr>
                <a:spLocks/>
              </p:cNvSpPr>
              <p:nvPr/>
            </p:nvSpPr>
            <p:spPr bwMode="auto">
              <a:xfrm>
                <a:off x="4721225" y="339725"/>
                <a:ext cx="504825" cy="558800"/>
              </a:xfrm>
              <a:custGeom>
                <a:avLst/>
                <a:gdLst>
                  <a:gd name="T0" fmla="*/ 180 w 318"/>
                  <a:gd name="T1" fmla="*/ 0 h 352"/>
                  <a:gd name="T2" fmla="*/ 232 w 318"/>
                  <a:gd name="T3" fmla="*/ 6 h 352"/>
                  <a:gd name="T4" fmla="*/ 266 w 318"/>
                  <a:gd name="T5" fmla="*/ 20 h 352"/>
                  <a:gd name="T6" fmla="*/ 286 w 318"/>
                  <a:gd name="T7" fmla="*/ 32 h 352"/>
                  <a:gd name="T8" fmla="*/ 302 w 318"/>
                  <a:gd name="T9" fmla="*/ 50 h 352"/>
                  <a:gd name="T10" fmla="*/ 312 w 318"/>
                  <a:gd name="T11" fmla="*/ 74 h 352"/>
                  <a:gd name="T12" fmla="*/ 318 w 318"/>
                  <a:gd name="T13" fmla="*/ 100 h 352"/>
                  <a:gd name="T14" fmla="*/ 222 w 318"/>
                  <a:gd name="T15" fmla="*/ 116 h 352"/>
                  <a:gd name="T16" fmla="*/ 222 w 318"/>
                  <a:gd name="T17" fmla="*/ 108 h 352"/>
                  <a:gd name="T18" fmla="*/ 216 w 318"/>
                  <a:gd name="T19" fmla="*/ 90 h 352"/>
                  <a:gd name="T20" fmla="*/ 204 w 318"/>
                  <a:gd name="T21" fmla="*/ 76 h 352"/>
                  <a:gd name="T22" fmla="*/ 188 w 318"/>
                  <a:gd name="T23" fmla="*/ 68 h 352"/>
                  <a:gd name="T24" fmla="*/ 176 w 318"/>
                  <a:gd name="T25" fmla="*/ 68 h 352"/>
                  <a:gd name="T26" fmla="*/ 150 w 318"/>
                  <a:gd name="T27" fmla="*/ 72 h 352"/>
                  <a:gd name="T28" fmla="*/ 128 w 318"/>
                  <a:gd name="T29" fmla="*/ 88 h 352"/>
                  <a:gd name="T30" fmla="*/ 108 w 318"/>
                  <a:gd name="T31" fmla="*/ 118 h 352"/>
                  <a:gd name="T32" fmla="*/ 98 w 318"/>
                  <a:gd name="T33" fmla="*/ 162 h 352"/>
                  <a:gd name="T34" fmla="*/ 96 w 318"/>
                  <a:gd name="T35" fmla="*/ 188 h 352"/>
                  <a:gd name="T36" fmla="*/ 98 w 318"/>
                  <a:gd name="T37" fmla="*/ 234 h 352"/>
                  <a:gd name="T38" fmla="*/ 112 w 318"/>
                  <a:gd name="T39" fmla="*/ 266 h 352"/>
                  <a:gd name="T40" fmla="*/ 122 w 318"/>
                  <a:gd name="T41" fmla="*/ 278 h 352"/>
                  <a:gd name="T42" fmla="*/ 138 w 318"/>
                  <a:gd name="T43" fmla="*/ 284 h 352"/>
                  <a:gd name="T44" fmla="*/ 158 w 318"/>
                  <a:gd name="T45" fmla="*/ 288 h 352"/>
                  <a:gd name="T46" fmla="*/ 174 w 318"/>
                  <a:gd name="T47" fmla="*/ 286 h 352"/>
                  <a:gd name="T48" fmla="*/ 198 w 318"/>
                  <a:gd name="T49" fmla="*/ 274 h 352"/>
                  <a:gd name="T50" fmla="*/ 212 w 318"/>
                  <a:gd name="T51" fmla="*/ 256 h 352"/>
                  <a:gd name="T52" fmla="*/ 218 w 318"/>
                  <a:gd name="T53" fmla="*/ 236 h 352"/>
                  <a:gd name="T54" fmla="*/ 314 w 318"/>
                  <a:gd name="T55" fmla="*/ 236 h 352"/>
                  <a:gd name="T56" fmla="*/ 306 w 318"/>
                  <a:gd name="T57" fmla="*/ 270 h 352"/>
                  <a:gd name="T58" fmla="*/ 290 w 318"/>
                  <a:gd name="T59" fmla="*/ 300 h 352"/>
                  <a:gd name="T60" fmla="*/ 272 w 318"/>
                  <a:gd name="T61" fmla="*/ 318 h 352"/>
                  <a:gd name="T62" fmla="*/ 248 w 318"/>
                  <a:gd name="T63" fmla="*/ 334 h 352"/>
                  <a:gd name="T64" fmla="*/ 216 w 318"/>
                  <a:gd name="T65" fmla="*/ 346 h 352"/>
                  <a:gd name="T66" fmla="*/ 176 w 318"/>
                  <a:gd name="T67" fmla="*/ 352 h 352"/>
                  <a:gd name="T68" fmla="*/ 152 w 318"/>
                  <a:gd name="T69" fmla="*/ 352 h 352"/>
                  <a:gd name="T70" fmla="*/ 106 w 318"/>
                  <a:gd name="T71" fmla="*/ 348 h 352"/>
                  <a:gd name="T72" fmla="*/ 70 w 318"/>
                  <a:gd name="T73" fmla="*/ 336 h 352"/>
                  <a:gd name="T74" fmla="*/ 42 w 318"/>
                  <a:gd name="T75" fmla="*/ 316 h 352"/>
                  <a:gd name="T76" fmla="*/ 22 w 318"/>
                  <a:gd name="T77" fmla="*/ 292 h 352"/>
                  <a:gd name="T78" fmla="*/ 8 w 318"/>
                  <a:gd name="T79" fmla="*/ 262 h 352"/>
                  <a:gd name="T80" fmla="*/ 2 w 318"/>
                  <a:gd name="T81" fmla="*/ 230 h 352"/>
                  <a:gd name="T82" fmla="*/ 0 w 318"/>
                  <a:gd name="T83" fmla="*/ 194 h 352"/>
                  <a:gd name="T84" fmla="*/ 2 w 318"/>
                  <a:gd name="T85" fmla="*/ 160 h 352"/>
                  <a:gd name="T86" fmla="*/ 18 w 318"/>
                  <a:gd name="T87" fmla="*/ 102 h 352"/>
                  <a:gd name="T88" fmla="*/ 32 w 318"/>
                  <a:gd name="T89" fmla="*/ 74 h 352"/>
                  <a:gd name="T90" fmla="*/ 52 w 318"/>
                  <a:gd name="T91" fmla="*/ 50 h 352"/>
                  <a:gd name="T92" fmla="*/ 76 w 318"/>
                  <a:gd name="T93" fmla="*/ 30 h 352"/>
                  <a:gd name="T94" fmla="*/ 106 w 318"/>
                  <a:gd name="T95" fmla="*/ 14 h 352"/>
                  <a:gd name="T96" fmla="*/ 140 w 318"/>
                  <a:gd name="T97" fmla="*/ 4 h 352"/>
                  <a:gd name="T98" fmla="*/ 180 w 318"/>
                  <a:gd name="T99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18" h="352">
                    <a:moveTo>
                      <a:pt x="180" y="0"/>
                    </a:moveTo>
                    <a:lnTo>
                      <a:pt x="180" y="0"/>
                    </a:lnTo>
                    <a:lnTo>
                      <a:pt x="206" y="0"/>
                    </a:lnTo>
                    <a:lnTo>
                      <a:pt x="232" y="6"/>
                    </a:lnTo>
                    <a:lnTo>
                      <a:pt x="256" y="14"/>
                    </a:lnTo>
                    <a:lnTo>
                      <a:pt x="266" y="20"/>
                    </a:lnTo>
                    <a:lnTo>
                      <a:pt x="276" y="26"/>
                    </a:lnTo>
                    <a:lnTo>
                      <a:pt x="286" y="32"/>
                    </a:lnTo>
                    <a:lnTo>
                      <a:pt x="294" y="42"/>
                    </a:lnTo>
                    <a:lnTo>
                      <a:pt x="302" y="50"/>
                    </a:lnTo>
                    <a:lnTo>
                      <a:pt x="308" y="62"/>
                    </a:lnTo>
                    <a:lnTo>
                      <a:pt x="312" y="74"/>
                    </a:lnTo>
                    <a:lnTo>
                      <a:pt x="316" y="86"/>
                    </a:lnTo>
                    <a:lnTo>
                      <a:pt x="318" y="100"/>
                    </a:lnTo>
                    <a:lnTo>
                      <a:pt x="318" y="116"/>
                    </a:lnTo>
                    <a:lnTo>
                      <a:pt x="222" y="116"/>
                    </a:lnTo>
                    <a:lnTo>
                      <a:pt x="222" y="116"/>
                    </a:lnTo>
                    <a:lnTo>
                      <a:pt x="222" y="108"/>
                    </a:lnTo>
                    <a:lnTo>
                      <a:pt x="220" y="98"/>
                    </a:lnTo>
                    <a:lnTo>
                      <a:pt x="216" y="90"/>
                    </a:lnTo>
                    <a:lnTo>
                      <a:pt x="212" y="84"/>
                    </a:lnTo>
                    <a:lnTo>
                      <a:pt x="204" y="76"/>
                    </a:lnTo>
                    <a:lnTo>
                      <a:pt x="198" y="72"/>
                    </a:lnTo>
                    <a:lnTo>
                      <a:pt x="188" y="68"/>
                    </a:lnTo>
                    <a:lnTo>
                      <a:pt x="176" y="68"/>
                    </a:lnTo>
                    <a:lnTo>
                      <a:pt x="176" y="68"/>
                    </a:lnTo>
                    <a:lnTo>
                      <a:pt x="164" y="68"/>
                    </a:lnTo>
                    <a:lnTo>
                      <a:pt x="150" y="72"/>
                    </a:lnTo>
                    <a:lnTo>
                      <a:pt x="138" y="80"/>
                    </a:lnTo>
                    <a:lnTo>
                      <a:pt x="128" y="88"/>
                    </a:lnTo>
                    <a:lnTo>
                      <a:pt x="118" y="102"/>
                    </a:lnTo>
                    <a:lnTo>
                      <a:pt x="108" y="118"/>
                    </a:lnTo>
                    <a:lnTo>
                      <a:pt x="102" y="138"/>
                    </a:lnTo>
                    <a:lnTo>
                      <a:pt x="98" y="162"/>
                    </a:lnTo>
                    <a:lnTo>
                      <a:pt x="98" y="162"/>
                    </a:lnTo>
                    <a:lnTo>
                      <a:pt x="96" y="188"/>
                    </a:lnTo>
                    <a:lnTo>
                      <a:pt x="96" y="212"/>
                    </a:lnTo>
                    <a:lnTo>
                      <a:pt x="98" y="234"/>
                    </a:lnTo>
                    <a:lnTo>
                      <a:pt x="104" y="252"/>
                    </a:lnTo>
                    <a:lnTo>
                      <a:pt x="112" y="266"/>
                    </a:lnTo>
                    <a:lnTo>
                      <a:pt x="116" y="272"/>
                    </a:lnTo>
                    <a:lnTo>
                      <a:pt x="122" y="278"/>
                    </a:lnTo>
                    <a:lnTo>
                      <a:pt x="130" y="282"/>
                    </a:lnTo>
                    <a:lnTo>
                      <a:pt x="138" y="284"/>
                    </a:lnTo>
                    <a:lnTo>
                      <a:pt x="148" y="286"/>
                    </a:lnTo>
                    <a:lnTo>
                      <a:pt x="158" y="288"/>
                    </a:lnTo>
                    <a:lnTo>
                      <a:pt x="158" y="288"/>
                    </a:lnTo>
                    <a:lnTo>
                      <a:pt x="174" y="286"/>
                    </a:lnTo>
                    <a:lnTo>
                      <a:pt x="188" y="280"/>
                    </a:lnTo>
                    <a:lnTo>
                      <a:pt x="198" y="274"/>
                    </a:lnTo>
                    <a:lnTo>
                      <a:pt x="206" y="264"/>
                    </a:lnTo>
                    <a:lnTo>
                      <a:pt x="212" y="256"/>
                    </a:lnTo>
                    <a:lnTo>
                      <a:pt x="214" y="248"/>
                    </a:lnTo>
                    <a:lnTo>
                      <a:pt x="218" y="236"/>
                    </a:lnTo>
                    <a:lnTo>
                      <a:pt x="314" y="236"/>
                    </a:lnTo>
                    <a:lnTo>
                      <a:pt x="314" y="236"/>
                    </a:lnTo>
                    <a:lnTo>
                      <a:pt x="312" y="252"/>
                    </a:lnTo>
                    <a:lnTo>
                      <a:pt x="306" y="270"/>
                    </a:lnTo>
                    <a:lnTo>
                      <a:pt x="296" y="290"/>
                    </a:lnTo>
                    <a:lnTo>
                      <a:pt x="290" y="300"/>
                    </a:lnTo>
                    <a:lnTo>
                      <a:pt x="282" y="308"/>
                    </a:lnTo>
                    <a:lnTo>
                      <a:pt x="272" y="318"/>
                    </a:lnTo>
                    <a:lnTo>
                      <a:pt x="260" y="326"/>
                    </a:lnTo>
                    <a:lnTo>
                      <a:pt x="248" y="334"/>
                    </a:lnTo>
                    <a:lnTo>
                      <a:pt x="232" y="340"/>
                    </a:lnTo>
                    <a:lnTo>
                      <a:pt x="216" y="346"/>
                    </a:lnTo>
                    <a:lnTo>
                      <a:pt x="196" y="350"/>
                    </a:lnTo>
                    <a:lnTo>
                      <a:pt x="176" y="352"/>
                    </a:lnTo>
                    <a:lnTo>
                      <a:pt x="152" y="352"/>
                    </a:lnTo>
                    <a:lnTo>
                      <a:pt x="152" y="352"/>
                    </a:lnTo>
                    <a:lnTo>
                      <a:pt x="128" y="352"/>
                    </a:lnTo>
                    <a:lnTo>
                      <a:pt x="106" y="348"/>
                    </a:lnTo>
                    <a:lnTo>
                      <a:pt x="86" y="342"/>
                    </a:lnTo>
                    <a:lnTo>
                      <a:pt x="70" y="336"/>
                    </a:lnTo>
                    <a:lnTo>
                      <a:pt x="54" y="326"/>
                    </a:lnTo>
                    <a:lnTo>
                      <a:pt x="42" y="316"/>
                    </a:lnTo>
                    <a:lnTo>
                      <a:pt x="30" y="304"/>
                    </a:lnTo>
                    <a:lnTo>
                      <a:pt x="22" y="292"/>
                    </a:lnTo>
                    <a:lnTo>
                      <a:pt x="14" y="276"/>
                    </a:lnTo>
                    <a:lnTo>
                      <a:pt x="8" y="262"/>
                    </a:lnTo>
                    <a:lnTo>
                      <a:pt x="4" y="246"/>
                    </a:lnTo>
                    <a:lnTo>
                      <a:pt x="2" y="230"/>
                    </a:lnTo>
                    <a:lnTo>
                      <a:pt x="0" y="212"/>
                    </a:lnTo>
                    <a:lnTo>
                      <a:pt x="0" y="194"/>
                    </a:lnTo>
                    <a:lnTo>
                      <a:pt x="2" y="160"/>
                    </a:lnTo>
                    <a:lnTo>
                      <a:pt x="2" y="160"/>
                    </a:lnTo>
                    <a:lnTo>
                      <a:pt x="8" y="130"/>
                    </a:lnTo>
                    <a:lnTo>
                      <a:pt x="18" y="102"/>
                    </a:lnTo>
                    <a:lnTo>
                      <a:pt x="24" y="88"/>
                    </a:lnTo>
                    <a:lnTo>
                      <a:pt x="32" y="74"/>
                    </a:lnTo>
                    <a:lnTo>
                      <a:pt x="42" y="62"/>
                    </a:lnTo>
                    <a:lnTo>
                      <a:pt x="52" y="50"/>
                    </a:lnTo>
                    <a:lnTo>
                      <a:pt x="64" y="40"/>
                    </a:lnTo>
                    <a:lnTo>
                      <a:pt x="76" y="30"/>
                    </a:lnTo>
                    <a:lnTo>
                      <a:pt x="90" y="20"/>
                    </a:lnTo>
                    <a:lnTo>
                      <a:pt x="106" y="14"/>
                    </a:lnTo>
                    <a:lnTo>
                      <a:pt x="122" y="8"/>
                    </a:lnTo>
                    <a:lnTo>
                      <a:pt x="140" y="4"/>
                    </a:lnTo>
                    <a:lnTo>
                      <a:pt x="160" y="0"/>
                    </a:lnTo>
                    <a:lnTo>
                      <a:pt x="180" y="0"/>
                    </a:lnTo>
                    <a:lnTo>
                      <a:pt x="18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" name="Freeform 23"/>
              <p:cNvSpPr>
                <a:spLocks/>
              </p:cNvSpPr>
              <p:nvPr/>
            </p:nvSpPr>
            <p:spPr bwMode="auto">
              <a:xfrm>
                <a:off x="5229225" y="352425"/>
                <a:ext cx="177800" cy="542925"/>
              </a:xfrm>
              <a:custGeom>
                <a:avLst/>
                <a:gdLst>
                  <a:gd name="T0" fmla="*/ 0 w 112"/>
                  <a:gd name="T1" fmla="*/ 342 h 342"/>
                  <a:gd name="T2" fmla="*/ 24 w 112"/>
                  <a:gd name="T3" fmla="*/ 0 h 342"/>
                  <a:gd name="T4" fmla="*/ 112 w 112"/>
                  <a:gd name="T5" fmla="*/ 0 h 342"/>
                  <a:gd name="T6" fmla="*/ 88 w 112"/>
                  <a:gd name="T7" fmla="*/ 342 h 342"/>
                  <a:gd name="T8" fmla="*/ 0 w 112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2" y="0"/>
                    </a:lnTo>
                    <a:lnTo>
                      <a:pt x="88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24"/>
              <p:cNvSpPr>
                <a:spLocks/>
              </p:cNvSpPr>
              <p:nvPr/>
            </p:nvSpPr>
            <p:spPr bwMode="auto">
              <a:xfrm>
                <a:off x="5803900" y="517525"/>
                <a:ext cx="295275" cy="377825"/>
              </a:xfrm>
              <a:custGeom>
                <a:avLst/>
                <a:gdLst>
                  <a:gd name="T0" fmla="*/ 106 w 186"/>
                  <a:gd name="T1" fmla="*/ 34 h 238"/>
                  <a:gd name="T2" fmla="*/ 106 w 186"/>
                  <a:gd name="T3" fmla="*/ 34 h 238"/>
                  <a:gd name="T4" fmla="*/ 106 w 186"/>
                  <a:gd name="T5" fmla="*/ 34 h 238"/>
                  <a:gd name="T6" fmla="*/ 116 w 186"/>
                  <a:gd name="T7" fmla="*/ 24 h 238"/>
                  <a:gd name="T8" fmla="*/ 124 w 186"/>
                  <a:gd name="T9" fmla="*/ 16 h 238"/>
                  <a:gd name="T10" fmla="*/ 134 w 186"/>
                  <a:gd name="T11" fmla="*/ 10 h 238"/>
                  <a:gd name="T12" fmla="*/ 144 w 186"/>
                  <a:gd name="T13" fmla="*/ 6 h 238"/>
                  <a:gd name="T14" fmla="*/ 154 w 186"/>
                  <a:gd name="T15" fmla="*/ 4 h 238"/>
                  <a:gd name="T16" fmla="*/ 164 w 186"/>
                  <a:gd name="T17" fmla="*/ 2 h 238"/>
                  <a:gd name="T18" fmla="*/ 186 w 186"/>
                  <a:gd name="T19" fmla="*/ 0 h 238"/>
                  <a:gd name="T20" fmla="*/ 180 w 186"/>
                  <a:gd name="T21" fmla="*/ 76 h 238"/>
                  <a:gd name="T22" fmla="*/ 180 w 186"/>
                  <a:gd name="T23" fmla="*/ 76 h 238"/>
                  <a:gd name="T24" fmla="*/ 162 w 186"/>
                  <a:gd name="T25" fmla="*/ 76 h 238"/>
                  <a:gd name="T26" fmla="*/ 162 w 186"/>
                  <a:gd name="T27" fmla="*/ 76 h 238"/>
                  <a:gd name="T28" fmla="*/ 142 w 186"/>
                  <a:gd name="T29" fmla="*/ 78 h 238"/>
                  <a:gd name="T30" fmla="*/ 126 w 186"/>
                  <a:gd name="T31" fmla="*/ 82 h 238"/>
                  <a:gd name="T32" fmla="*/ 116 w 186"/>
                  <a:gd name="T33" fmla="*/ 88 h 238"/>
                  <a:gd name="T34" fmla="*/ 108 w 186"/>
                  <a:gd name="T35" fmla="*/ 98 h 238"/>
                  <a:gd name="T36" fmla="*/ 104 w 186"/>
                  <a:gd name="T37" fmla="*/ 108 h 238"/>
                  <a:gd name="T38" fmla="*/ 100 w 186"/>
                  <a:gd name="T39" fmla="*/ 120 h 238"/>
                  <a:gd name="T40" fmla="*/ 98 w 186"/>
                  <a:gd name="T41" fmla="*/ 148 h 238"/>
                  <a:gd name="T42" fmla="*/ 92 w 186"/>
                  <a:gd name="T43" fmla="*/ 238 h 238"/>
                  <a:gd name="T44" fmla="*/ 0 w 186"/>
                  <a:gd name="T45" fmla="*/ 238 h 238"/>
                  <a:gd name="T46" fmla="*/ 14 w 186"/>
                  <a:gd name="T47" fmla="*/ 62 h 238"/>
                  <a:gd name="T48" fmla="*/ 14 w 186"/>
                  <a:gd name="T49" fmla="*/ 62 h 238"/>
                  <a:gd name="T50" fmla="*/ 14 w 186"/>
                  <a:gd name="T51" fmla="*/ 32 h 238"/>
                  <a:gd name="T52" fmla="*/ 14 w 186"/>
                  <a:gd name="T53" fmla="*/ 0 h 238"/>
                  <a:gd name="T54" fmla="*/ 102 w 186"/>
                  <a:gd name="T55" fmla="*/ 0 h 238"/>
                  <a:gd name="T56" fmla="*/ 106 w 186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6" h="238">
                    <a:moveTo>
                      <a:pt x="106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6" y="24"/>
                    </a:lnTo>
                    <a:lnTo>
                      <a:pt x="124" y="16"/>
                    </a:lnTo>
                    <a:lnTo>
                      <a:pt x="134" y="10"/>
                    </a:lnTo>
                    <a:lnTo>
                      <a:pt x="144" y="6"/>
                    </a:lnTo>
                    <a:lnTo>
                      <a:pt x="154" y="4"/>
                    </a:lnTo>
                    <a:lnTo>
                      <a:pt x="164" y="2"/>
                    </a:lnTo>
                    <a:lnTo>
                      <a:pt x="186" y="0"/>
                    </a:lnTo>
                    <a:lnTo>
                      <a:pt x="180" y="76"/>
                    </a:lnTo>
                    <a:lnTo>
                      <a:pt x="180" y="76"/>
                    </a:lnTo>
                    <a:lnTo>
                      <a:pt x="162" y="76"/>
                    </a:lnTo>
                    <a:lnTo>
                      <a:pt x="162" y="76"/>
                    </a:lnTo>
                    <a:lnTo>
                      <a:pt x="142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4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6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984952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3E7FBFD-78E1-42FB-85FC-D9CE5E3DEF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270622" y="6413584"/>
            <a:ext cx="2165537" cy="271230"/>
            <a:chOff x="158750" y="276225"/>
            <a:chExt cx="6388100" cy="800100"/>
          </a:xfrm>
          <a:solidFill>
            <a:schemeClr val="accent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158750" y="276225"/>
              <a:ext cx="857250" cy="736600"/>
            </a:xfrm>
            <a:custGeom>
              <a:avLst/>
              <a:gdLst>
                <a:gd name="T0" fmla="*/ 298 w 540"/>
                <a:gd name="T1" fmla="*/ 0 h 464"/>
                <a:gd name="T2" fmla="*/ 374 w 540"/>
                <a:gd name="T3" fmla="*/ 18 h 464"/>
                <a:gd name="T4" fmla="*/ 442 w 540"/>
                <a:gd name="T5" fmla="*/ 52 h 464"/>
                <a:gd name="T6" fmla="*/ 494 w 540"/>
                <a:gd name="T7" fmla="*/ 102 h 464"/>
                <a:gd name="T8" fmla="*/ 528 w 540"/>
                <a:gd name="T9" fmla="*/ 162 h 464"/>
                <a:gd name="T10" fmla="*/ 540 w 540"/>
                <a:gd name="T11" fmla="*/ 232 h 464"/>
                <a:gd name="T12" fmla="*/ 534 w 540"/>
                <a:gd name="T13" fmla="*/ 278 h 464"/>
                <a:gd name="T14" fmla="*/ 506 w 540"/>
                <a:gd name="T15" fmla="*/ 342 h 464"/>
                <a:gd name="T16" fmla="*/ 460 w 540"/>
                <a:gd name="T17" fmla="*/ 396 h 464"/>
                <a:gd name="T18" fmla="*/ 398 w 540"/>
                <a:gd name="T19" fmla="*/ 436 h 464"/>
                <a:gd name="T20" fmla="*/ 324 w 540"/>
                <a:gd name="T21" fmla="*/ 460 h 464"/>
                <a:gd name="T22" fmla="*/ 270 w 540"/>
                <a:gd name="T23" fmla="*/ 464 h 464"/>
                <a:gd name="T24" fmla="*/ 190 w 540"/>
                <a:gd name="T25" fmla="*/ 454 h 464"/>
                <a:gd name="T26" fmla="*/ 118 w 540"/>
                <a:gd name="T27" fmla="*/ 424 h 464"/>
                <a:gd name="T28" fmla="*/ 62 w 540"/>
                <a:gd name="T29" fmla="*/ 380 h 464"/>
                <a:gd name="T30" fmla="*/ 20 w 540"/>
                <a:gd name="T31" fmla="*/ 322 h 464"/>
                <a:gd name="T32" fmla="*/ 2 w 540"/>
                <a:gd name="T33" fmla="*/ 256 h 464"/>
                <a:gd name="T34" fmla="*/ 2 w 540"/>
                <a:gd name="T35" fmla="*/ 208 h 464"/>
                <a:gd name="T36" fmla="*/ 20 w 540"/>
                <a:gd name="T37" fmla="*/ 142 h 464"/>
                <a:gd name="T38" fmla="*/ 62 w 540"/>
                <a:gd name="T39" fmla="*/ 84 h 464"/>
                <a:gd name="T40" fmla="*/ 118 w 540"/>
                <a:gd name="T41" fmla="*/ 40 h 464"/>
                <a:gd name="T42" fmla="*/ 190 w 540"/>
                <a:gd name="T43" fmla="*/ 10 h 464"/>
                <a:gd name="T44" fmla="*/ 270 w 540"/>
                <a:gd name="T45" fmla="*/ 0 h 464"/>
                <a:gd name="T46" fmla="*/ 270 w 540"/>
                <a:gd name="T47" fmla="*/ 232 h 464"/>
                <a:gd name="T48" fmla="*/ 220 w 540"/>
                <a:gd name="T49" fmla="*/ 196 h 464"/>
                <a:gd name="T50" fmla="*/ 208 w 540"/>
                <a:gd name="T51" fmla="*/ 176 h 464"/>
                <a:gd name="T52" fmla="*/ 156 w 540"/>
                <a:gd name="T53" fmla="*/ 130 h 464"/>
                <a:gd name="T54" fmla="*/ 76 w 540"/>
                <a:gd name="T55" fmla="*/ 152 h 464"/>
                <a:gd name="T56" fmla="*/ 130 w 540"/>
                <a:gd name="T57" fmla="*/ 204 h 464"/>
                <a:gd name="T58" fmla="*/ 138 w 540"/>
                <a:gd name="T59" fmla="*/ 230 h 464"/>
                <a:gd name="T60" fmla="*/ 132 w 540"/>
                <a:gd name="T61" fmla="*/ 244 h 464"/>
                <a:gd name="T62" fmla="*/ 108 w 540"/>
                <a:gd name="T63" fmla="*/ 250 h 464"/>
                <a:gd name="T64" fmla="*/ 38 w 540"/>
                <a:gd name="T65" fmla="*/ 330 h 464"/>
                <a:gd name="T66" fmla="*/ 146 w 540"/>
                <a:gd name="T67" fmla="*/ 330 h 464"/>
                <a:gd name="T68" fmla="*/ 186 w 540"/>
                <a:gd name="T69" fmla="*/ 320 h 464"/>
                <a:gd name="T70" fmla="*/ 214 w 540"/>
                <a:gd name="T71" fmla="*/ 296 h 464"/>
                <a:gd name="T72" fmla="*/ 320 w 540"/>
                <a:gd name="T73" fmla="*/ 390 h 464"/>
                <a:gd name="T74" fmla="*/ 326 w 540"/>
                <a:gd name="T75" fmla="*/ 296 h 464"/>
                <a:gd name="T76" fmla="*/ 352 w 540"/>
                <a:gd name="T77" fmla="*/ 320 h 464"/>
                <a:gd name="T78" fmla="*/ 392 w 540"/>
                <a:gd name="T79" fmla="*/ 330 h 464"/>
                <a:gd name="T80" fmla="*/ 500 w 540"/>
                <a:gd name="T81" fmla="*/ 250 h 464"/>
                <a:gd name="T82" fmla="*/ 432 w 540"/>
                <a:gd name="T83" fmla="*/ 250 h 464"/>
                <a:gd name="T84" fmla="*/ 408 w 540"/>
                <a:gd name="T85" fmla="*/ 244 h 464"/>
                <a:gd name="T86" fmla="*/ 400 w 540"/>
                <a:gd name="T87" fmla="*/ 230 h 464"/>
                <a:gd name="T88" fmla="*/ 410 w 540"/>
                <a:gd name="T89" fmla="*/ 204 h 464"/>
                <a:gd name="T90" fmla="*/ 462 w 540"/>
                <a:gd name="T91" fmla="*/ 152 h 464"/>
                <a:gd name="T92" fmla="*/ 382 w 540"/>
                <a:gd name="T93" fmla="*/ 130 h 464"/>
                <a:gd name="T94" fmla="*/ 330 w 540"/>
                <a:gd name="T95" fmla="*/ 176 h 464"/>
                <a:gd name="T96" fmla="*/ 320 w 540"/>
                <a:gd name="T97" fmla="*/ 19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40" h="464">
                  <a:moveTo>
                    <a:pt x="270" y="0"/>
                  </a:moveTo>
                  <a:lnTo>
                    <a:pt x="270" y="0"/>
                  </a:lnTo>
                  <a:lnTo>
                    <a:pt x="298" y="0"/>
                  </a:lnTo>
                  <a:lnTo>
                    <a:pt x="324" y="4"/>
                  </a:lnTo>
                  <a:lnTo>
                    <a:pt x="350" y="10"/>
                  </a:lnTo>
                  <a:lnTo>
                    <a:pt x="374" y="18"/>
                  </a:lnTo>
                  <a:lnTo>
                    <a:pt x="398" y="28"/>
                  </a:lnTo>
                  <a:lnTo>
                    <a:pt x="420" y="40"/>
                  </a:lnTo>
                  <a:lnTo>
                    <a:pt x="442" y="52"/>
                  </a:lnTo>
                  <a:lnTo>
                    <a:pt x="460" y="68"/>
                  </a:lnTo>
                  <a:lnTo>
                    <a:pt x="478" y="84"/>
                  </a:lnTo>
                  <a:lnTo>
                    <a:pt x="494" y="102"/>
                  </a:lnTo>
                  <a:lnTo>
                    <a:pt x="506" y="122"/>
                  </a:lnTo>
                  <a:lnTo>
                    <a:pt x="518" y="142"/>
                  </a:lnTo>
                  <a:lnTo>
                    <a:pt x="528" y="162"/>
                  </a:lnTo>
                  <a:lnTo>
                    <a:pt x="534" y="184"/>
                  </a:lnTo>
                  <a:lnTo>
                    <a:pt x="538" y="208"/>
                  </a:lnTo>
                  <a:lnTo>
                    <a:pt x="540" y="232"/>
                  </a:lnTo>
                  <a:lnTo>
                    <a:pt x="540" y="232"/>
                  </a:lnTo>
                  <a:lnTo>
                    <a:pt x="538" y="256"/>
                  </a:lnTo>
                  <a:lnTo>
                    <a:pt x="534" y="278"/>
                  </a:lnTo>
                  <a:lnTo>
                    <a:pt x="528" y="300"/>
                  </a:lnTo>
                  <a:lnTo>
                    <a:pt x="518" y="322"/>
                  </a:lnTo>
                  <a:lnTo>
                    <a:pt x="506" y="342"/>
                  </a:lnTo>
                  <a:lnTo>
                    <a:pt x="494" y="362"/>
                  </a:lnTo>
                  <a:lnTo>
                    <a:pt x="478" y="380"/>
                  </a:lnTo>
                  <a:lnTo>
                    <a:pt x="460" y="396"/>
                  </a:lnTo>
                  <a:lnTo>
                    <a:pt x="442" y="410"/>
                  </a:lnTo>
                  <a:lnTo>
                    <a:pt x="420" y="424"/>
                  </a:lnTo>
                  <a:lnTo>
                    <a:pt x="398" y="436"/>
                  </a:lnTo>
                  <a:lnTo>
                    <a:pt x="374" y="446"/>
                  </a:lnTo>
                  <a:lnTo>
                    <a:pt x="350" y="454"/>
                  </a:lnTo>
                  <a:lnTo>
                    <a:pt x="324" y="460"/>
                  </a:lnTo>
                  <a:lnTo>
                    <a:pt x="298" y="462"/>
                  </a:lnTo>
                  <a:lnTo>
                    <a:pt x="270" y="464"/>
                  </a:lnTo>
                  <a:lnTo>
                    <a:pt x="270" y="464"/>
                  </a:lnTo>
                  <a:lnTo>
                    <a:pt x="242" y="462"/>
                  </a:lnTo>
                  <a:lnTo>
                    <a:pt x="216" y="458"/>
                  </a:lnTo>
                  <a:lnTo>
                    <a:pt x="190" y="454"/>
                  </a:lnTo>
                  <a:lnTo>
                    <a:pt x="164" y="446"/>
                  </a:lnTo>
                  <a:lnTo>
                    <a:pt x="140" y="436"/>
                  </a:lnTo>
                  <a:lnTo>
                    <a:pt x="118" y="424"/>
                  </a:lnTo>
                  <a:lnTo>
                    <a:pt x="98" y="410"/>
                  </a:lnTo>
                  <a:lnTo>
                    <a:pt x="78" y="396"/>
                  </a:lnTo>
                  <a:lnTo>
                    <a:pt x="62" y="380"/>
                  </a:lnTo>
                  <a:lnTo>
                    <a:pt x="46" y="362"/>
                  </a:lnTo>
                  <a:lnTo>
                    <a:pt x="32" y="342"/>
                  </a:lnTo>
                  <a:lnTo>
                    <a:pt x="20" y="322"/>
                  </a:lnTo>
                  <a:lnTo>
                    <a:pt x="12" y="300"/>
                  </a:lnTo>
                  <a:lnTo>
                    <a:pt x="6" y="278"/>
                  </a:lnTo>
                  <a:lnTo>
                    <a:pt x="2" y="256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08"/>
                  </a:lnTo>
                  <a:lnTo>
                    <a:pt x="6" y="184"/>
                  </a:lnTo>
                  <a:lnTo>
                    <a:pt x="12" y="162"/>
                  </a:lnTo>
                  <a:lnTo>
                    <a:pt x="20" y="142"/>
                  </a:lnTo>
                  <a:lnTo>
                    <a:pt x="32" y="120"/>
                  </a:lnTo>
                  <a:lnTo>
                    <a:pt x="46" y="102"/>
                  </a:lnTo>
                  <a:lnTo>
                    <a:pt x="62" y="84"/>
                  </a:lnTo>
                  <a:lnTo>
                    <a:pt x="78" y="68"/>
                  </a:lnTo>
                  <a:lnTo>
                    <a:pt x="98" y="52"/>
                  </a:lnTo>
                  <a:lnTo>
                    <a:pt x="118" y="40"/>
                  </a:lnTo>
                  <a:lnTo>
                    <a:pt x="140" y="28"/>
                  </a:lnTo>
                  <a:lnTo>
                    <a:pt x="164" y="18"/>
                  </a:lnTo>
                  <a:lnTo>
                    <a:pt x="190" y="10"/>
                  </a:lnTo>
                  <a:lnTo>
                    <a:pt x="216" y="4"/>
                  </a:lnTo>
                  <a:lnTo>
                    <a:pt x="242" y="0"/>
                  </a:lnTo>
                  <a:lnTo>
                    <a:pt x="270" y="0"/>
                  </a:lnTo>
                  <a:lnTo>
                    <a:pt x="270" y="0"/>
                  </a:lnTo>
                  <a:close/>
                  <a:moveTo>
                    <a:pt x="270" y="232"/>
                  </a:moveTo>
                  <a:lnTo>
                    <a:pt x="270" y="232"/>
                  </a:lnTo>
                  <a:close/>
                  <a:moveTo>
                    <a:pt x="220" y="50"/>
                  </a:moveTo>
                  <a:lnTo>
                    <a:pt x="220" y="50"/>
                  </a:lnTo>
                  <a:lnTo>
                    <a:pt x="220" y="196"/>
                  </a:lnTo>
                  <a:lnTo>
                    <a:pt x="220" y="196"/>
                  </a:lnTo>
                  <a:lnTo>
                    <a:pt x="214" y="186"/>
                  </a:lnTo>
                  <a:lnTo>
                    <a:pt x="208" y="176"/>
                  </a:lnTo>
                  <a:lnTo>
                    <a:pt x="194" y="160"/>
                  </a:lnTo>
                  <a:lnTo>
                    <a:pt x="176" y="144"/>
                  </a:lnTo>
                  <a:lnTo>
                    <a:pt x="156" y="130"/>
                  </a:lnTo>
                  <a:lnTo>
                    <a:pt x="48" y="130"/>
                  </a:lnTo>
                  <a:lnTo>
                    <a:pt x="48" y="130"/>
                  </a:lnTo>
                  <a:lnTo>
                    <a:pt x="76" y="152"/>
                  </a:lnTo>
                  <a:lnTo>
                    <a:pt x="106" y="178"/>
                  </a:lnTo>
                  <a:lnTo>
                    <a:pt x="120" y="192"/>
                  </a:lnTo>
                  <a:lnTo>
                    <a:pt x="130" y="204"/>
                  </a:lnTo>
                  <a:lnTo>
                    <a:pt x="136" y="218"/>
                  </a:lnTo>
                  <a:lnTo>
                    <a:pt x="138" y="230"/>
                  </a:lnTo>
                  <a:lnTo>
                    <a:pt x="138" y="230"/>
                  </a:lnTo>
                  <a:lnTo>
                    <a:pt x="138" y="236"/>
                  </a:lnTo>
                  <a:lnTo>
                    <a:pt x="136" y="240"/>
                  </a:lnTo>
                  <a:lnTo>
                    <a:pt x="132" y="244"/>
                  </a:lnTo>
                  <a:lnTo>
                    <a:pt x="128" y="246"/>
                  </a:lnTo>
                  <a:lnTo>
                    <a:pt x="11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38" y="25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146" y="330"/>
                  </a:lnTo>
                  <a:lnTo>
                    <a:pt x="146" y="330"/>
                  </a:lnTo>
                  <a:lnTo>
                    <a:pt x="166" y="328"/>
                  </a:lnTo>
                  <a:lnTo>
                    <a:pt x="176" y="324"/>
                  </a:lnTo>
                  <a:lnTo>
                    <a:pt x="186" y="320"/>
                  </a:lnTo>
                  <a:lnTo>
                    <a:pt x="196" y="314"/>
                  </a:lnTo>
                  <a:lnTo>
                    <a:pt x="206" y="306"/>
                  </a:lnTo>
                  <a:lnTo>
                    <a:pt x="214" y="296"/>
                  </a:lnTo>
                  <a:lnTo>
                    <a:pt x="220" y="284"/>
                  </a:lnTo>
                  <a:lnTo>
                    <a:pt x="220" y="390"/>
                  </a:lnTo>
                  <a:lnTo>
                    <a:pt x="320" y="390"/>
                  </a:lnTo>
                  <a:lnTo>
                    <a:pt x="320" y="284"/>
                  </a:lnTo>
                  <a:lnTo>
                    <a:pt x="320" y="284"/>
                  </a:lnTo>
                  <a:lnTo>
                    <a:pt x="326" y="296"/>
                  </a:lnTo>
                  <a:lnTo>
                    <a:pt x="334" y="306"/>
                  </a:lnTo>
                  <a:lnTo>
                    <a:pt x="342" y="314"/>
                  </a:lnTo>
                  <a:lnTo>
                    <a:pt x="352" y="320"/>
                  </a:lnTo>
                  <a:lnTo>
                    <a:pt x="362" y="324"/>
                  </a:lnTo>
                  <a:lnTo>
                    <a:pt x="372" y="328"/>
                  </a:lnTo>
                  <a:lnTo>
                    <a:pt x="392" y="330"/>
                  </a:lnTo>
                  <a:lnTo>
                    <a:pt x="392" y="330"/>
                  </a:lnTo>
                  <a:lnTo>
                    <a:pt x="500" y="330"/>
                  </a:lnTo>
                  <a:lnTo>
                    <a:pt x="500" y="250"/>
                  </a:lnTo>
                  <a:lnTo>
                    <a:pt x="500" y="250"/>
                  </a:lnTo>
                  <a:lnTo>
                    <a:pt x="432" y="250"/>
                  </a:lnTo>
                  <a:lnTo>
                    <a:pt x="432" y="250"/>
                  </a:lnTo>
                  <a:lnTo>
                    <a:pt x="422" y="250"/>
                  </a:lnTo>
                  <a:lnTo>
                    <a:pt x="412" y="246"/>
                  </a:lnTo>
                  <a:lnTo>
                    <a:pt x="408" y="244"/>
                  </a:lnTo>
                  <a:lnTo>
                    <a:pt x="404" y="240"/>
                  </a:lnTo>
                  <a:lnTo>
                    <a:pt x="402" y="236"/>
                  </a:lnTo>
                  <a:lnTo>
                    <a:pt x="400" y="230"/>
                  </a:lnTo>
                  <a:lnTo>
                    <a:pt x="400" y="230"/>
                  </a:lnTo>
                  <a:lnTo>
                    <a:pt x="402" y="218"/>
                  </a:lnTo>
                  <a:lnTo>
                    <a:pt x="410" y="204"/>
                  </a:lnTo>
                  <a:lnTo>
                    <a:pt x="420" y="192"/>
                  </a:lnTo>
                  <a:lnTo>
                    <a:pt x="432" y="178"/>
                  </a:lnTo>
                  <a:lnTo>
                    <a:pt x="462" y="152"/>
                  </a:lnTo>
                  <a:lnTo>
                    <a:pt x="492" y="130"/>
                  </a:lnTo>
                  <a:lnTo>
                    <a:pt x="382" y="130"/>
                  </a:lnTo>
                  <a:lnTo>
                    <a:pt x="382" y="130"/>
                  </a:lnTo>
                  <a:lnTo>
                    <a:pt x="364" y="144"/>
                  </a:lnTo>
                  <a:lnTo>
                    <a:pt x="346" y="160"/>
                  </a:lnTo>
                  <a:lnTo>
                    <a:pt x="330" y="176"/>
                  </a:lnTo>
                  <a:lnTo>
                    <a:pt x="324" y="186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20" y="50"/>
                  </a:lnTo>
                  <a:lnTo>
                    <a:pt x="22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9" name="Group 8"/>
            <p:cNvGrpSpPr/>
            <p:nvPr/>
          </p:nvGrpSpPr>
          <p:grpSpPr>
            <a:xfrm>
              <a:off x="1314450" y="339725"/>
              <a:ext cx="5232400" cy="736600"/>
              <a:chOff x="1314450" y="339725"/>
              <a:chExt cx="5232400" cy="736600"/>
            </a:xfrm>
            <a:grpFill/>
          </p:grpSpPr>
          <p:sp>
            <p:nvSpPr>
              <p:cNvPr id="10" name="Freeform 9"/>
              <p:cNvSpPr>
                <a:spLocks/>
              </p:cNvSpPr>
              <p:nvPr/>
            </p:nvSpPr>
            <p:spPr bwMode="auto">
              <a:xfrm>
                <a:off x="1908175" y="352425"/>
                <a:ext cx="139700" cy="98425"/>
              </a:xfrm>
              <a:custGeom>
                <a:avLst/>
                <a:gdLst>
                  <a:gd name="T0" fmla="*/ 4 w 88"/>
                  <a:gd name="T1" fmla="*/ 0 h 62"/>
                  <a:gd name="T2" fmla="*/ 88 w 88"/>
                  <a:gd name="T3" fmla="*/ 0 h 62"/>
                  <a:gd name="T4" fmla="*/ 84 w 88"/>
                  <a:gd name="T5" fmla="*/ 62 h 62"/>
                  <a:gd name="T6" fmla="*/ 0 w 88"/>
                  <a:gd name="T7" fmla="*/ 62 h 62"/>
                  <a:gd name="T8" fmla="*/ 4 w 88"/>
                  <a:gd name="T9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" h="62">
                    <a:moveTo>
                      <a:pt x="4" y="0"/>
                    </a:moveTo>
                    <a:lnTo>
                      <a:pt x="88" y="0"/>
                    </a:lnTo>
                    <a:lnTo>
                      <a:pt x="84" y="62"/>
                    </a:lnTo>
                    <a:lnTo>
                      <a:pt x="0" y="6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Freeform 10"/>
              <p:cNvSpPr>
                <a:spLocks noEditPoints="1"/>
              </p:cNvSpPr>
              <p:nvPr/>
            </p:nvSpPr>
            <p:spPr bwMode="auto">
              <a:xfrm>
                <a:off x="5397500" y="504825"/>
                <a:ext cx="393700" cy="393700"/>
              </a:xfrm>
              <a:custGeom>
                <a:avLst/>
                <a:gdLst>
                  <a:gd name="T0" fmla="*/ 152 w 248"/>
                  <a:gd name="T1" fmla="*/ 216 h 248"/>
                  <a:gd name="T2" fmla="*/ 138 w 248"/>
                  <a:gd name="T3" fmla="*/ 228 h 248"/>
                  <a:gd name="T4" fmla="*/ 112 w 248"/>
                  <a:gd name="T5" fmla="*/ 242 h 248"/>
                  <a:gd name="T6" fmla="*/ 92 w 248"/>
                  <a:gd name="T7" fmla="*/ 246 h 248"/>
                  <a:gd name="T8" fmla="*/ 80 w 248"/>
                  <a:gd name="T9" fmla="*/ 248 h 248"/>
                  <a:gd name="T10" fmla="*/ 44 w 248"/>
                  <a:gd name="T11" fmla="*/ 242 h 248"/>
                  <a:gd name="T12" fmla="*/ 18 w 248"/>
                  <a:gd name="T13" fmla="*/ 226 h 248"/>
                  <a:gd name="T14" fmla="*/ 4 w 248"/>
                  <a:gd name="T15" fmla="*/ 202 h 248"/>
                  <a:gd name="T16" fmla="*/ 0 w 248"/>
                  <a:gd name="T17" fmla="*/ 174 h 248"/>
                  <a:gd name="T18" fmla="*/ 2 w 248"/>
                  <a:gd name="T19" fmla="*/ 156 h 248"/>
                  <a:gd name="T20" fmla="*/ 20 w 248"/>
                  <a:gd name="T21" fmla="*/ 128 h 248"/>
                  <a:gd name="T22" fmla="*/ 54 w 248"/>
                  <a:gd name="T23" fmla="*/ 108 h 248"/>
                  <a:gd name="T24" fmla="*/ 104 w 248"/>
                  <a:gd name="T25" fmla="*/ 98 h 248"/>
                  <a:gd name="T26" fmla="*/ 162 w 248"/>
                  <a:gd name="T27" fmla="*/ 96 h 248"/>
                  <a:gd name="T28" fmla="*/ 164 w 248"/>
                  <a:gd name="T29" fmla="*/ 78 h 248"/>
                  <a:gd name="T30" fmla="*/ 162 w 248"/>
                  <a:gd name="T31" fmla="*/ 60 h 248"/>
                  <a:gd name="T32" fmla="*/ 154 w 248"/>
                  <a:gd name="T33" fmla="*/ 46 h 248"/>
                  <a:gd name="T34" fmla="*/ 136 w 248"/>
                  <a:gd name="T35" fmla="*/ 40 h 248"/>
                  <a:gd name="T36" fmla="*/ 126 w 248"/>
                  <a:gd name="T37" fmla="*/ 42 h 248"/>
                  <a:gd name="T38" fmla="*/ 114 w 248"/>
                  <a:gd name="T39" fmla="*/ 48 h 248"/>
                  <a:gd name="T40" fmla="*/ 106 w 248"/>
                  <a:gd name="T41" fmla="*/ 66 h 248"/>
                  <a:gd name="T42" fmla="*/ 22 w 248"/>
                  <a:gd name="T43" fmla="*/ 76 h 248"/>
                  <a:gd name="T44" fmla="*/ 24 w 248"/>
                  <a:gd name="T45" fmla="*/ 66 h 248"/>
                  <a:gd name="T46" fmla="*/ 28 w 248"/>
                  <a:gd name="T47" fmla="*/ 46 h 248"/>
                  <a:gd name="T48" fmla="*/ 38 w 248"/>
                  <a:gd name="T49" fmla="*/ 30 h 248"/>
                  <a:gd name="T50" fmla="*/ 54 w 248"/>
                  <a:gd name="T51" fmla="*/ 18 h 248"/>
                  <a:gd name="T52" fmla="*/ 62 w 248"/>
                  <a:gd name="T53" fmla="*/ 14 h 248"/>
                  <a:gd name="T54" fmla="*/ 102 w 248"/>
                  <a:gd name="T55" fmla="*/ 2 h 248"/>
                  <a:gd name="T56" fmla="*/ 144 w 248"/>
                  <a:gd name="T57" fmla="*/ 0 h 248"/>
                  <a:gd name="T58" fmla="*/ 164 w 248"/>
                  <a:gd name="T59" fmla="*/ 0 h 248"/>
                  <a:gd name="T60" fmla="*/ 200 w 248"/>
                  <a:gd name="T61" fmla="*/ 10 h 248"/>
                  <a:gd name="T62" fmla="*/ 230 w 248"/>
                  <a:gd name="T63" fmla="*/ 30 h 248"/>
                  <a:gd name="T64" fmla="*/ 240 w 248"/>
                  <a:gd name="T65" fmla="*/ 44 h 248"/>
                  <a:gd name="T66" fmla="*/ 246 w 248"/>
                  <a:gd name="T67" fmla="*/ 62 h 248"/>
                  <a:gd name="T68" fmla="*/ 248 w 248"/>
                  <a:gd name="T69" fmla="*/ 82 h 248"/>
                  <a:gd name="T70" fmla="*/ 242 w 248"/>
                  <a:gd name="T71" fmla="*/ 196 h 248"/>
                  <a:gd name="T72" fmla="*/ 242 w 248"/>
                  <a:gd name="T73" fmla="*/ 246 h 248"/>
                  <a:gd name="T74" fmla="*/ 152 w 248"/>
                  <a:gd name="T75" fmla="*/ 216 h 248"/>
                  <a:gd name="T76" fmla="*/ 114 w 248"/>
                  <a:gd name="T77" fmla="*/ 200 h 248"/>
                  <a:gd name="T78" fmla="*/ 138 w 248"/>
                  <a:gd name="T79" fmla="*/ 194 h 248"/>
                  <a:gd name="T80" fmla="*/ 152 w 248"/>
                  <a:gd name="T81" fmla="*/ 176 h 248"/>
                  <a:gd name="T82" fmla="*/ 158 w 248"/>
                  <a:gd name="T83" fmla="*/ 154 h 248"/>
                  <a:gd name="T84" fmla="*/ 160 w 248"/>
                  <a:gd name="T85" fmla="*/ 130 h 248"/>
                  <a:gd name="T86" fmla="*/ 122 w 248"/>
                  <a:gd name="T87" fmla="*/ 132 h 248"/>
                  <a:gd name="T88" fmla="*/ 110 w 248"/>
                  <a:gd name="T89" fmla="*/ 134 h 248"/>
                  <a:gd name="T90" fmla="*/ 94 w 248"/>
                  <a:gd name="T91" fmla="*/ 148 h 248"/>
                  <a:gd name="T92" fmla="*/ 86 w 248"/>
                  <a:gd name="T93" fmla="*/ 170 h 248"/>
                  <a:gd name="T94" fmla="*/ 86 w 248"/>
                  <a:gd name="T95" fmla="*/ 176 h 248"/>
                  <a:gd name="T96" fmla="*/ 92 w 248"/>
                  <a:gd name="T97" fmla="*/ 192 h 248"/>
                  <a:gd name="T98" fmla="*/ 102 w 248"/>
                  <a:gd name="T99" fmla="*/ 198 h 248"/>
                  <a:gd name="T100" fmla="*/ 114 w 248"/>
                  <a:gd name="T101" fmla="*/ 20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8" h="248">
                    <a:moveTo>
                      <a:pt x="152" y="216"/>
                    </a:moveTo>
                    <a:lnTo>
                      <a:pt x="152" y="216"/>
                    </a:lnTo>
                    <a:lnTo>
                      <a:pt x="152" y="216"/>
                    </a:lnTo>
                    <a:lnTo>
                      <a:pt x="138" y="228"/>
                    </a:lnTo>
                    <a:lnTo>
                      <a:pt x="122" y="238"/>
                    </a:lnTo>
                    <a:lnTo>
                      <a:pt x="112" y="242"/>
                    </a:lnTo>
                    <a:lnTo>
                      <a:pt x="102" y="246"/>
                    </a:lnTo>
                    <a:lnTo>
                      <a:pt x="92" y="246"/>
                    </a:lnTo>
                    <a:lnTo>
                      <a:pt x="80" y="248"/>
                    </a:lnTo>
                    <a:lnTo>
                      <a:pt x="80" y="248"/>
                    </a:lnTo>
                    <a:lnTo>
                      <a:pt x="60" y="246"/>
                    </a:lnTo>
                    <a:lnTo>
                      <a:pt x="44" y="242"/>
                    </a:lnTo>
                    <a:lnTo>
                      <a:pt x="30" y="234"/>
                    </a:lnTo>
                    <a:lnTo>
                      <a:pt x="18" y="226"/>
                    </a:lnTo>
                    <a:lnTo>
                      <a:pt x="10" y="216"/>
                    </a:lnTo>
                    <a:lnTo>
                      <a:pt x="4" y="202"/>
                    </a:lnTo>
                    <a:lnTo>
                      <a:pt x="0" y="188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2" y="156"/>
                    </a:lnTo>
                    <a:lnTo>
                      <a:pt x="8" y="142"/>
                    </a:lnTo>
                    <a:lnTo>
                      <a:pt x="20" y="128"/>
                    </a:lnTo>
                    <a:lnTo>
                      <a:pt x="34" y="116"/>
                    </a:lnTo>
                    <a:lnTo>
                      <a:pt x="54" y="108"/>
                    </a:lnTo>
                    <a:lnTo>
                      <a:pt x="76" y="102"/>
                    </a:lnTo>
                    <a:lnTo>
                      <a:pt x="104" y="98"/>
                    </a:lnTo>
                    <a:lnTo>
                      <a:pt x="134" y="96"/>
                    </a:lnTo>
                    <a:lnTo>
                      <a:pt x="162" y="96"/>
                    </a:lnTo>
                    <a:lnTo>
                      <a:pt x="162" y="96"/>
                    </a:lnTo>
                    <a:lnTo>
                      <a:pt x="164" y="78"/>
                    </a:lnTo>
                    <a:lnTo>
                      <a:pt x="164" y="70"/>
                    </a:lnTo>
                    <a:lnTo>
                      <a:pt x="162" y="60"/>
                    </a:lnTo>
                    <a:lnTo>
                      <a:pt x="160" y="52"/>
                    </a:lnTo>
                    <a:lnTo>
                      <a:pt x="154" y="46"/>
                    </a:lnTo>
                    <a:lnTo>
                      <a:pt x="146" y="42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26" y="42"/>
                    </a:lnTo>
                    <a:lnTo>
                      <a:pt x="120" y="44"/>
                    </a:lnTo>
                    <a:lnTo>
                      <a:pt x="114" y="48"/>
                    </a:lnTo>
                    <a:lnTo>
                      <a:pt x="110" y="54"/>
                    </a:lnTo>
                    <a:lnTo>
                      <a:pt x="106" y="66"/>
                    </a:lnTo>
                    <a:lnTo>
                      <a:pt x="104" y="76"/>
                    </a:lnTo>
                    <a:lnTo>
                      <a:pt x="22" y="76"/>
                    </a:lnTo>
                    <a:lnTo>
                      <a:pt x="22" y="76"/>
                    </a:lnTo>
                    <a:lnTo>
                      <a:pt x="24" y="66"/>
                    </a:lnTo>
                    <a:lnTo>
                      <a:pt x="26" y="54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38" y="30"/>
                    </a:lnTo>
                    <a:lnTo>
                      <a:pt x="46" y="24"/>
                    </a:lnTo>
                    <a:lnTo>
                      <a:pt x="54" y="18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2" y="6"/>
                    </a:lnTo>
                    <a:lnTo>
                      <a:pt x="102" y="2"/>
                    </a:lnTo>
                    <a:lnTo>
                      <a:pt x="124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64" y="0"/>
                    </a:lnTo>
                    <a:lnTo>
                      <a:pt x="182" y="4"/>
                    </a:lnTo>
                    <a:lnTo>
                      <a:pt x="200" y="10"/>
                    </a:lnTo>
                    <a:lnTo>
                      <a:pt x="216" y="18"/>
                    </a:lnTo>
                    <a:lnTo>
                      <a:pt x="230" y="30"/>
                    </a:lnTo>
                    <a:lnTo>
                      <a:pt x="236" y="38"/>
                    </a:lnTo>
                    <a:lnTo>
                      <a:pt x="240" y="44"/>
                    </a:lnTo>
                    <a:lnTo>
                      <a:pt x="244" y="52"/>
                    </a:lnTo>
                    <a:lnTo>
                      <a:pt x="246" y="62"/>
                    </a:lnTo>
                    <a:lnTo>
                      <a:pt x="248" y="72"/>
                    </a:lnTo>
                    <a:lnTo>
                      <a:pt x="248" y="82"/>
                    </a:lnTo>
                    <a:lnTo>
                      <a:pt x="242" y="196"/>
                    </a:lnTo>
                    <a:lnTo>
                      <a:pt x="242" y="196"/>
                    </a:lnTo>
                    <a:lnTo>
                      <a:pt x="240" y="214"/>
                    </a:lnTo>
                    <a:lnTo>
                      <a:pt x="242" y="246"/>
                    </a:lnTo>
                    <a:lnTo>
                      <a:pt x="158" y="246"/>
                    </a:lnTo>
                    <a:lnTo>
                      <a:pt x="152" y="216"/>
                    </a:lnTo>
                    <a:close/>
                    <a:moveTo>
                      <a:pt x="114" y="200"/>
                    </a:moveTo>
                    <a:lnTo>
                      <a:pt x="114" y="200"/>
                    </a:lnTo>
                    <a:lnTo>
                      <a:pt x="128" y="198"/>
                    </a:lnTo>
                    <a:lnTo>
                      <a:pt x="138" y="194"/>
                    </a:lnTo>
                    <a:lnTo>
                      <a:pt x="146" y="186"/>
                    </a:lnTo>
                    <a:lnTo>
                      <a:pt x="152" y="176"/>
                    </a:lnTo>
                    <a:lnTo>
                      <a:pt x="156" y="166"/>
                    </a:lnTo>
                    <a:lnTo>
                      <a:pt x="158" y="154"/>
                    </a:lnTo>
                    <a:lnTo>
                      <a:pt x="160" y="130"/>
                    </a:lnTo>
                    <a:lnTo>
                      <a:pt x="160" y="130"/>
                    </a:lnTo>
                    <a:lnTo>
                      <a:pt x="134" y="130"/>
                    </a:lnTo>
                    <a:lnTo>
                      <a:pt x="122" y="132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2" y="140"/>
                    </a:lnTo>
                    <a:lnTo>
                      <a:pt x="94" y="148"/>
                    </a:lnTo>
                    <a:lnTo>
                      <a:pt x="88" y="158"/>
                    </a:lnTo>
                    <a:lnTo>
                      <a:pt x="86" y="170"/>
                    </a:lnTo>
                    <a:lnTo>
                      <a:pt x="86" y="170"/>
                    </a:lnTo>
                    <a:lnTo>
                      <a:pt x="86" y="176"/>
                    </a:lnTo>
                    <a:lnTo>
                      <a:pt x="88" y="182"/>
                    </a:lnTo>
                    <a:lnTo>
                      <a:pt x="92" y="192"/>
                    </a:lnTo>
                    <a:lnTo>
                      <a:pt x="96" y="194"/>
                    </a:lnTo>
                    <a:lnTo>
                      <a:pt x="102" y="198"/>
                    </a:lnTo>
                    <a:lnTo>
                      <a:pt x="108" y="200"/>
                    </a:lnTo>
                    <a:lnTo>
                      <a:pt x="114" y="200"/>
                    </a:lnTo>
                    <a:lnTo>
                      <a:pt x="114" y="2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11"/>
              <p:cNvSpPr>
                <a:spLocks noEditPoints="1"/>
              </p:cNvSpPr>
              <p:nvPr/>
            </p:nvSpPr>
            <p:spPr bwMode="auto">
              <a:xfrm>
                <a:off x="6092825" y="352425"/>
                <a:ext cx="454025" cy="542925"/>
              </a:xfrm>
              <a:custGeom>
                <a:avLst/>
                <a:gdLst>
                  <a:gd name="T0" fmla="*/ 0 w 286"/>
                  <a:gd name="T1" fmla="*/ 342 h 342"/>
                  <a:gd name="T2" fmla="*/ 24 w 286"/>
                  <a:gd name="T3" fmla="*/ 0 h 342"/>
                  <a:gd name="T4" fmla="*/ 114 w 286"/>
                  <a:gd name="T5" fmla="*/ 0 h 342"/>
                  <a:gd name="T6" fmla="*/ 90 w 286"/>
                  <a:gd name="T7" fmla="*/ 342 h 342"/>
                  <a:gd name="T8" fmla="*/ 0 w 286"/>
                  <a:gd name="T9" fmla="*/ 342 h 342"/>
                  <a:gd name="T10" fmla="*/ 100 w 286"/>
                  <a:gd name="T11" fmla="*/ 210 h 342"/>
                  <a:gd name="T12" fmla="*/ 184 w 286"/>
                  <a:gd name="T13" fmla="*/ 104 h 342"/>
                  <a:gd name="T14" fmla="*/ 286 w 286"/>
                  <a:gd name="T15" fmla="*/ 104 h 342"/>
                  <a:gd name="T16" fmla="*/ 194 w 286"/>
                  <a:gd name="T17" fmla="*/ 204 h 342"/>
                  <a:gd name="T18" fmla="*/ 282 w 286"/>
                  <a:gd name="T19" fmla="*/ 342 h 342"/>
                  <a:gd name="T20" fmla="*/ 170 w 286"/>
                  <a:gd name="T21" fmla="*/ 342 h 342"/>
                  <a:gd name="T22" fmla="*/ 100 w 286"/>
                  <a:gd name="T23" fmla="*/ 21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6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4" y="0"/>
                    </a:lnTo>
                    <a:lnTo>
                      <a:pt x="90" y="342"/>
                    </a:lnTo>
                    <a:lnTo>
                      <a:pt x="0" y="342"/>
                    </a:lnTo>
                    <a:close/>
                    <a:moveTo>
                      <a:pt x="100" y="210"/>
                    </a:moveTo>
                    <a:lnTo>
                      <a:pt x="184" y="104"/>
                    </a:lnTo>
                    <a:lnTo>
                      <a:pt x="286" y="104"/>
                    </a:lnTo>
                    <a:lnTo>
                      <a:pt x="194" y="204"/>
                    </a:lnTo>
                    <a:lnTo>
                      <a:pt x="282" y="342"/>
                    </a:lnTo>
                    <a:lnTo>
                      <a:pt x="170" y="342"/>
                    </a:lnTo>
                    <a:lnTo>
                      <a:pt x="10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12"/>
              <p:cNvSpPr>
                <a:spLocks/>
              </p:cNvSpPr>
              <p:nvPr/>
            </p:nvSpPr>
            <p:spPr bwMode="auto">
              <a:xfrm>
                <a:off x="3606800" y="517525"/>
                <a:ext cx="292100" cy="377825"/>
              </a:xfrm>
              <a:custGeom>
                <a:avLst/>
                <a:gdLst>
                  <a:gd name="T0" fmla="*/ 104 w 184"/>
                  <a:gd name="T1" fmla="*/ 34 h 238"/>
                  <a:gd name="T2" fmla="*/ 106 w 184"/>
                  <a:gd name="T3" fmla="*/ 34 h 238"/>
                  <a:gd name="T4" fmla="*/ 106 w 184"/>
                  <a:gd name="T5" fmla="*/ 34 h 238"/>
                  <a:gd name="T6" fmla="*/ 114 w 184"/>
                  <a:gd name="T7" fmla="*/ 24 h 238"/>
                  <a:gd name="T8" fmla="*/ 124 w 184"/>
                  <a:gd name="T9" fmla="*/ 16 h 238"/>
                  <a:gd name="T10" fmla="*/ 132 w 184"/>
                  <a:gd name="T11" fmla="*/ 10 h 238"/>
                  <a:gd name="T12" fmla="*/ 142 w 184"/>
                  <a:gd name="T13" fmla="*/ 6 h 238"/>
                  <a:gd name="T14" fmla="*/ 152 w 184"/>
                  <a:gd name="T15" fmla="*/ 4 h 238"/>
                  <a:gd name="T16" fmla="*/ 162 w 184"/>
                  <a:gd name="T17" fmla="*/ 2 h 238"/>
                  <a:gd name="T18" fmla="*/ 184 w 184"/>
                  <a:gd name="T19" fmla="*/ 0 h 238"/>
                  <a:gd name="T20" fmla="*/ 178 w 184"/>
                  <a:gd name="T21" fmla="*/ 76 h 238"/>
                  <a:gd name="T22" fmla="*/ 178 w 184"/>
                  <a:gd name="T23" fmla="*/ 76 h 238"/>
                  <a:gd name="T24" fmla="*/ 160 w 184"/>
                  <a:gd name="T25" fmla="*/ 76 h 238"/>
                  <a:gd name="T26" fmla="*/ 160 w 184"/>
                  <a:gd name="T27" fmla="*/ 76 h 238"/>
                  <a:gd name="T28" fmla="*/ 140 w 184"/>
                  <a:gd name="T29" fmla="*/ 78 h 238"/>
                  <a:gd name="T30" fmla="*/ 126 w 184"/>
                  <a:gd name="T31" fmla="*/ 82 h 238"/>
                  <a:gd name="T32" fmla="*/ 116 w 184"/>
                  <a:gd name="T33" fmla="*/ 88 h 238"/>
                  <a:gd name="T34" fmla="*/ 108 w 184"/>
                  <a:gd name="T35" fmla="*/ 98 h 238"/>
                  <a:gd name="T36" fmla="*/ 102 w 184"/>
                  <a:gd name="T37" fmla="*/ 108 h 238"/>
                  <a:gd name="T38" fmla="*/ 100 w 184"/>
                  <a:gd name="T39" fmla="*/ 120 h 238"/>
                  <a:gd name="T40" fmla="*/ 98 w 184"/>
                  <a:gd name="T41" fmla="*/ 148 h 238"/>
                  <a:gd name="T42" fmla="*/ 92 w 184"/>
                  <a:gd name="T43" fmla="*/ 238 h 238"/>
                  <a:gd name="T44" fmla="*/ 0 w 184"/>
                  <a:gd name="T45" fmla="*/ 238 h 238"/>
                  <a:gd name="T46" fmla="*/ 12 w 184"/>
                  <a:gd name="T47" fmla="*/ 62 h 238"/>
                  <a:gd name="T48" fmla="*/ 12 w 184"/>
                  <a:gd name="T49" fmla="*/ 62 h 238"/>
                  <a:gd name="T50" fmla="*/ 14 w 184"/>
                  <a:gd name="T51" fmla="*/ 32 h 238"/>
                  <a:gd name="T52" fmla="*/ 14 w 184"/>
                  <a:gd name="T53" fmla="*/ 0 h 238"/>
                  <a:gd name="T54" fmla="*/ 102 w 184"/>
                  <a:gd name="T55" fmla="*/ 0 h 238"/>
                  <a:gd name="T56" fmla="*/ 104 w 184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4" h="238">
                    <a:moveTo>
                      <a:pt x="104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4" y="24"/>
                    </a:lnTo>
                    <a:lnTo>
                      <a:pt x="124" y="16"/>
                    </a:lnTo>
                    <a:lnTo>
                      <a:pt x="132" y="10"/>
                    </a:lnTo>
                    <a:lnTo>
                      <a:pt x="142" y="6"/>
                    </a:lnTo>
                    <a:lnTo>
                      <a:pt x="152" y="4"/>
                    </a:lnTo>
                    <a:lnTo>
                      <a:pt x="162" y="2"/>
                    </a:lnTo>
                    <a:lnTo>
                      <a:pt x="184" y="0"/>
                    </a:lnTo>
                    <a:lnTo>
                      <a:pt x="178" y="76"/>
                    </a:lnTo>
                    <a:lnTo>
                      <a:pt x="178" y="76"/>
                    </a:lnTo>
                    <a:lnTo>
                      <a:pt x="160" y="76"/>
                    </a:lnTo>
                    <a:lnTo>
                      <a:pt x="160" y="76"/>
                    </a:lnTo>
                    <a:lnTo>
                      <a:pt x="140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2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4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13"/>
              <p:cNvSpPr>
                <a:spLocks/>
              </p:cNvSpPr>
              <p:nvPr/>
            </p:nvSpPr>
            <p:spPr bwMode="auto">
              <a:xfrm>
                <a:off x="3889375" y="352425"/>
                <a:ext cx="174625" cy="542925"/>
              </a:xfrm>
              <a:custGeom>
                <a:avLst/>
                <a:gdLst>
                  <a:gd name="T0" fmla="*/ 0 w 110"/>
                  <a:gd name="T1" fmla="*/ 342 h 342"/>
                  <a:gd name="T2" fmla="*/ 24 w 110"/>
                  <a:gd name="T3" fmla="*/ 0 h 342"/>
                  <a:gd name="T4" fmla="*/ 110 w 110"/>
                  <a:gd name="T5" fmla="*/ 0 h 342"/>
                  <a:gd name="T6" fmla="*/ 86 w 110"/>
                  <a:gd name="T7" fmla="*/ 342 h 342"/>
                  <a:gd name="T8" fmla="*/ 0 w 110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0" y="0"/>
                    </a:lnTo>
                    <a:lnTo>
                      <a:pt x="86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14"/>
              <p:cNvSpPr>
                <a:spLocks noEditPoints="1"/>
              </p:cNvSpPr>
              <p:nvPr/>
            </p:nvSpPr>
            <p:spPr bwMode="auto">
              <a:xfrm>
                <a:off x="2740025" y="352425"/>
                <a:ext cx="438150" cy="546100"/>
              </a:xfrm>
              <a:custGeom>
                <a:avLst/>
                <a:gdLst>
                  <a:gd name="T0" fmla="*/ 112 w 276"/>
                  <a:gd name="T1" fmla="*/ 0 h 344"/>
                  <a:gd name="T2" fmla="*/ 104 w 276"/>
                  <a:gd name="T3" fmla="*/ 136 h 344"/>
                  <a:gd name="T4" fmla="*/ 120 w 276"/>
                  <a:gd name="T5" fmla="*/ 122 h 344"/>
                  <a:gd name="T6" fmla="*/ 146 w 276"/>
                  <a:gd name="T7" fmla="*/ 104 h 344"/>
                  <a:gd name="T8" fmla="*/ 168 w 276"/>
                  <a:gd name="T9" fmla="*/ 98 h 344"/>
                  <a:gd name="T10" fmla="*/ 180 w 276"/>
                  <a:gd name="T11" fmla="*/ 98 h 344"/>
                  <a:gd name="T12" fmla="*/ 206 w 276"/>
                  <a:gd name="T13" fmla="*/ 100 h 344"/>
                  <a:gd name="T14" fmla="*/ 226 w 276"/>
                  <a:gd name="T15" fmla="*/ 108 h 344"/>
                  <a:gd name="T16" fmla="*/ 244 w 276"/>
                  <a:gd name="T17" fmla="*/ 120 h 344"/>
                  <a:gd name="T18" fmla="*/ 258 w 276"/>
                  <a:gd name="T19" fmla="*/ 136 h 344"/>
                  <a:gd name="T20" fmla="*/ 274 w 276"/>
                  <a:gd name="T21" fmla="*/ 176 h 344"/>
                  <a:gd name="T22" fmla="*/ 276 w 276"/>
                  <a:gd name="T23" fmla="*/ 220 h 344"/>
                  <a:gd name="T24" fmla="*/ 274 w 276"/>
                  <a:gd name="T25" fmla="*/ 242 h 344"/>
                  <a:gd name="T26" fmla="*/ 260 w 276"/>
                  <a:gd name="T27" fmla="*/ 284 h 344"/>
                  <a:gd name="T28" fmla="*/ 240 w 276"/>
                  <a:gd name="T29" fmla="*/ 312 h 344"/>
                  <a:gd name="T30" fmla="*/ 222 w 276"/>
                  <a:gd name="T31" fmla="*/ 328 h 344"/>
                  <a:gd name="T32" fmla="*/ 202 w 276"/>
                  <a:gd name="T33" fmla="*/ 338 h 344"/>
                  <a:gd name="T34" fmla="*/ 176 w 276"/>
                  <a:gd name="T35" fmla="*/ 344 h 344"/>
                  <a:gd name="T36" fmla="*/ 160 w 276"/>
                  <a:gd name="T37" fmla="*/ 344 h 344"/>
                  <a:gd name="T38" fmla="*/ 140 w 276"/>
                  <a:gd name="T39" fmla="*/ 342 h 344"/>
                  <a:gd name="T40" fmla="*/ 106 w 276"/>
                  <a:gd name="T41" fmla="*/ 324 h 344"/>
                  <a:gd name="T42" fmla="*/ 92 w 276"/>
                  <a:gd name="T43" fmla="*/ 312 h 344"/>
                  <a:gd name="T44" fmla="*/ 0 w 276"/>
                  <a:gd name="T45" fmla="*/ 342 h 344"/>
                  <a:gd name="T46" fmla="*/ 94 w 276"/>
                  <a:gd name="T47" fmla="*/ 226 h 344"/>
                  <a:gd name="T48" fmla="*/ 96 w 276"/>
                  <a:gd name="T49" fmla="*/ 250 h 344"/>
                  <a:gd name="T50" fmla="*/ 102 w 276"/>
                  <a:gd name="T51" fmla="*/ 272 h 344"/>
                  <a:gd name="T52" fmla="*/ 114 w 276"/>
                  <a:gd name="T53" fmla="*/ 288 h 344"/>
                  <a:gd name="T54" fmla="*/ 134 w 276"/>
                  <a:gd name="T55" fmla="*/ 296 h 344"/>
                  <a:gd name="T56" fmla="*/ 148 w 276"/>
                  <a:gd name="T57" fmla="*/ 294 h 344"/>
                  <a:gd name="T58" fmla="*/ 168 w 276"/>
                  <a:gd name="T59" fmla="*/ 282 h 344"/>
                  <a:gd name="T60" fmla="*/ 180 w 276"/>
                  <a:gd name="T61" fmla="*/ 260 h 344"/>
                  <a:gd name="T62" fmla="*/ 186 w 276"/>
                  <a:gd name="T63" fmla="*/ 222 h 344"/>
                  <a:gd name="T64" fmla="*/ 186 w 276"/>
                  <a:gd name="T65" fmla="*/ 198 h 344"/>
                  <a:gd name="T66" fmla="*/ 180 w 276"/>
                  <a:gd name="T67" fmla="*/ 174 h 344"/>
                  <a:gd name="T68" fmla="*/ 168 w 276"/>
                  <a:gd name="T69" fmla="*/ 156 h 344"/>
                  <a:gd name="T70" fmla="*/ 146 w 276"/>
                  <a:gd name="T71" fmla="*/ 150 h 344"/>
                  <a:gd name="T72" fmla="*/ 132 w 276"/>
                  <a:gd name="T73" fmla="*/ 152 h 344"/>
                  <a:gd name="T74" fmla="*/ 112 w 276"/>
                  <a:gd name="T75" fmla="*/ 166 h 344"/>
                  <a:gd name="T76" fmla="*/ 100 w 276"/>
                  <a:gd name="T77" fmla="*/ 188 h 344"/>
                  <a:gd name="T78" fmla="*/ 94 w 276"/>
                  <a:gd name="T79" fmla="*/ 226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6" h="344">
                    <a:moveTo>
                      <a:pt x="24" y="0"/>
                    </a:moveTo>
                    <a:lnTo>
                      <a:pt x="112" y="0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20" y="122"/>
                    </a:lnTo>
                    <a:lnTo>
                      <a:pt x="138" y="108"/>
                    </a:lnTo>
                    <a:lnTo>
                      <a:pt x="146" y="104"/>
                    </a:lnTo>
                    <a:lnTo>
                      <a:pt x="158" y="100"/>
                    </a:lnTo>
                    <a:lnTo>
                      <a:pt x="168" y="98"/>
                    </a:lnTo>
                    <a:lnTo>
                      <a:pt x="180" y="98"/>
                    </a:lnTo>
                    <a:lnTo>
                      <a:pt x="180" y="98"/>
                    </a:lnTo>
                    <a:lnTo>
                      <a:pt x="194" y="98"/>
                    </a:lnTo>
                    <a:lnTo>
                      <a:pt x="206" y="100"/>
                    </a:lnTo>
                    <a:lnTo>
                      <a:pt x="216" y="104"/>
                    </a:lnTo>
                    <a:lnTo>
                      <a:pt x="226" y="108"/>
                    </a:lnTo>
                    <a:lnTo>
                      <a:pt x="236" y="114"/>
                    </a:lnTo>
                    <a:lnTo>
                      <a:pt x="244" y="120"/>
                    </a:lnTo>
                    <a:lnTo>
                      <a:pt x="250" y="128"/>
                    </a:lnTo>
                    <a:lnTo>
                      <a:pt x="258" y="136"/>
                    </a:lnTo>
                    <a:lnTo>
                      <a:pt x="266" y="156"/>
                    </a:lnTo>
                    <a:lnTo>
                      <a:pt x="274" y="176"/>
                    </a:lnTo>
                    <a:lnTo>
                      <a:pt x="276" y="198"/>
                    </a:lnTo>
                    <a:lnTo>
                      <a:pt x="276" y="220"/>
                    </a:lnTo>
                    <a:lnTo>
                      <a:pt x="276" y="220"/>
                    </a:lnTo>
                    <a:lnTo>
                      <a:pt x="274" y="242"/>
                    </a:lnTo>
                    <a:lnTo>
                      <a:pt x="268" y="264"/>
                    </a:lnTo>
                    <a:lnTo>
                      <a:pt x="260" y="284"/>
                    </a:lnTo>
                    <a:lnTo>
                      <a:pt x="248" y="304"/>
                    </a:lnTo>
                    <a:lnTo>
                      <a:pt x="240" y="312"/>
                    </a:lnTo>
                    <a:lnTo>
                      <a:pt x="232" y="320"/>
                    </a:lnTo>
                    <a:lnTo>
                      <a:pt x="222" y="328"/>
                    </a:lnTo>
                    <a:lnTo>
                      <a:pt x="212" y="334"/>
                    </a:lnTo>
                    <a:lnTo>
                      <a:pt x="202" y="338"/>
                    </a:lnTo>
                    <a:lnTo>
                      <a:pt x="188" y="342"/>
                    </a:lnTo>
                    <a:lnTo>
                      <a:pt x="176" y="344"/>
                    </a:lnTo>
                    <a:lnTo>
                      <a:pt x="160" y="344"/>
                    </a:lnTo>
                    <a:lnTo>
                      <a:pt x="160" y="344"/>
                    </a:lnTo>
                    <a:lnTo>
                      <a:pt x="150" y="344"/>
                    </a:lnTo>
                    <a:lnTo>
                      <a:pt x="140" y="342"/>
                    </a:lnTo>
                    <a:lnTo>
                      <a:pt x="122" y="336"/>
                    </a:lnTo>
                    <a:lnTo>
                      <a:pt x="106" y="324"/>
                    </a:lnTo>
                    <a:lnTo>
                      <a:pt x="94" y="312"/>
                    </a:lnTo>
                    <a:lnTo>
                      <a:pt x="92" y="312"/>
                    </a:lnTo>
                    <a:lnTo>
                      <a:pt x="88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  <a:moveTo>
                      <a:pt x="94" y="226"/>
                    </a:moveTo>
                    <a:lnTo>
                      <a:pt x="94" y="226"/>
                    </a:lnTo>
                    <a:lnTo>
                      <a:pt x="96" y="250"/>
                    </a:lnTo>
                    <a:lnTo>
                      <a:pt x="98" y="260"/>
                    </a:lnTo>
                    <a:lnTo>
                      <a:pt x="102" y="272"/>
                    </a:lnTo>
                    <a:lnTo>
                      <a:pt x="106" y="282"/>
                    </a:lnTo>
                    <a:lnTo>
                      <a:pt x="114" y="288"/>
                    </a:lnTo>
                    <a:lnTo>
                      <a:pt x="122" y="294"/>
                    </a:lnTo>
                    <a:lnTo>
                      <a:pt x="134" y="296"/>
                    </a:lnTo>
                    <a:lnTo>
                      <a:pt x="134" y="296"/>
                    </a:lnTo>
                    <a:lnTo>
                      <a:pt x="148" y="294"/>
                    </a:lnTo>
                    <a:lnTo>
                      <a:pt x="158" y="288"/>
                    </a:lnTo>
                    <a:lnTo>
                      <a:pt x="168" y="282"/>
                    </a:lnTo>
                    <a:lnTo>
                      <a:pt x="174" y="272"/>
                    </a:lnTo>
                    <a:lnTo>
                      <a:pt x="180" y="260"/>
                    </a:lnTo>
                    <a:lnTo>
                      <a:pt x="184" y="248"/>
                    </a:lnTo>
                    <a:lnTo>
                      <a:pt x="186" y="222"/>
                    </a:lnTo>
                    <a:lnTo>
                      <a:pt x="186" y="222"/>
                    </a:lnTo>
                    <a:lnTo>
                      <a:pt x="186" y="198"/>
                    </a:lnTo>
                    <a:lnTo>
                      <a:pt x="184" y="186"/>
                    </a:lnTo>
                    <a:lnTo>
                      <a:pt x="180" y="174"/>
                    </a:lnTo>
                    <a:lnTo>
                      <a:pt x="176" y="164"/>
                    </a:lnTo>
                    <a:lnTo>
                      <a:pt x="168" y="156"/>
                    </a:lnTo>
                    <a:lnTo>
                      <a:pt x="158" y="152"/>
                    </a:lnTo>
                    <a:lnTo>
                      <a:pt x="146" y="150"/>
                    </a:lnTo>
                    <a:lnTo>
                      <a:pt x="146" y="150"/>
                    </a:lnTo>
                    <a:lnTo>
                      <a:pt x="132" y="152"/>
                    </a:lnTo>
                    <a:lnTo>
                      <a:pt x="120" y="156"/>
                    </a:lnTo>
                    <a:lnTo>
                      <a:pt x="112" y="166"/>
                    </a:lnTo>
                    <a:lnTo>
                      <a:pt x="104" y="176"/>
                    </a:lnTo>
                    <a:lnTo>
                      <a:pt x="100" y="188"/>
                    </a:lnTo>
                    <a:lnTo>
                      <a:pt x="98" y="200"/>
                    </a:lnTo>
                    <a:lnTo>
                      <a:pt x="94" y="226"/>
                    </a:lnTo>
                    <a:lnTo>
                      <a:pt x="94" y="2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15"/>
              <p:cNvSpPr>
                <a:spLocks noEditPoints="1"/>
              </p:cNvSpPr>
              <p:nvPr/>
            </p:nvSpPr>
            <p:spPr bwMode="auto">
              <a:xfrm>
                <a:off x="3197225" y="504825"/>
                <a:ext cx="406400" cy="396875"/>
              </a:xfrm>
              <a:custGeom>
                <a:avLst/>
                <a:gdLst>
                  <a:gd name="T0" fmla="*/ 86 w 256"/>
                  <a:gd name="T1" fmla="*/ 142 h 250"/>
                  <a:gd name="T2" fmla="*/ 86 w 256"/>
                  <a:gd name="T3" fmla="*/ 166 h 250"/>
                  <a:gd name="T4" fmla="*/ 90 w 256"/>
                  <a:gd name="T5" fmla="*/ 184 h 250"/>
                  <a:gd name="T6" fmla="*/ 102 w 256"/>
                  <a:gd name="T7" fmla="*/ 196 h 250"/>
                  <a:gd name="T8" fmla="*/ 124 w 256"/>
                  <a:gd name="T9" fmla="*/ 202 h 250"/>
                  <a:gd name="T10" fmla="*/ 132 w 256"/>
                  <a:gd name="T11" fmla="*/ 200 h 250"/>
                  <a:gd name="T12" fmla="*/ 148 w 256"/>
                  <a:gd name="T13" fmla="*/ 196 h 250"/>
                  <a:gd name="T14" fmla="*/ 158 w 256"/>
                  <a:gd name="T15" fmla="*/ 186 h 250"/>
                  <a:gd name="T16" fmla="*/ 164 w 256"/>
                  <a:gd name="T17" fmla="*/ 174 h 250"/>
                  <a:gd name="T18" fmla="*/ 248 w 256"/>
                  <a:gd name="T19" fmla="*/ 170 h 250"/>
                  <a:gd name="T20" fmla="*/ 246 w 256"/>
                  <a:gd name="T21" fmla="*/ 180 h 250"/>
                  <a:gd name="T22" fmla="*/ 238 w 256"/>
                  <a:gd name="T23" fmla="*/ 198 h 250"/>
                  <a:gd name="T24" fmla="*/ 218 w 256"/>
                  <a:gd name="T25" fmla="*/ 222 h 250"/>
                  <a:gd name="T26" fmla="*/ 202 w 256"/>
                  <a:gd name="T27" fmla="*/ 234 h 250"/>
                  <a:gd name="T28" fmla="*/ 168 w 256"/>
                  <a:gd name="T29" fmla="*/ 246 h 250"/>
                  <a:gd name="T30" fmla="*/ 128 w 256"/>
                  <a:gd name="T31" fmla="*/ 250 h 250"/>
                  <a:gd name="T32" fmla="*/ 96 w 256"/>
                  <a:gd name="T33" fmla="*/ 248 h 250"/>
                  <a:gd name="T34" fmla="*/ 66 w 256"/>
                  <a:gd name="T35" fmla="*/ 242 h 250"/>
                  <a:gd name="T36" fmla="*/ 44 w 256"/>
                  <a:gd name="T37" fmla="*/ 232 h 250"/>
                  <a:gd name="T38" fmla="*/ 26 w 256"/>
                  <a:gd name="T39" fmla="*/ 218 h 250"/>
                  <a:gd name="T40" fmla="*/ 12 w 256"/>
                  <a:gd name="T41" fmla="*/ 200 h 250"/>
                  <a:gd name="T42" fmla="*/ 4 w 256"/>
                  <a:gd name="T43" fmla="*/ 178 h 250"/>
                  <a:gd name="T44" fmla="*/ 0 w 256"/>
                  <a:gd name="T45" fmla="*/ 150 h 250"/>
                  <a:gd name="T46" fmla="*/ 0 w 256"/>
                  <a:gd name="T47" fmla="*/ 118 h 250"/>
                  <a:gd name="T48" fmla="*/ 4 w 256"/>
                  <a:gd name="T49" fmla="*/ 92 h 250"/>
                  <a:gd name="T50" fmla="*/ 14 w 256"/>
                  <a:gd name="T51" fmla="*/ 68 h 250"/>
                  <a:gd name="T52" fmla="*/ 26 w 256"/>
                  <a:gd name="T53" fmla="*/ 48 h 250"/>
                  <a:gd name="T54" fmla="*/ 44 w 256"/>
                  <a:gd name="T55" fmla="*/ 32 h 250"/>
                  <a:gd name="T56" fmla="*/ 86 w 256"/>
                  <a:gd name="T57" fmla="*/ 8 h 250"/>
                  <a:gd name="T58" fmla="*/ 138 w 256"/>
                  <a:gd name="T59" fmla="*/ 0 h 250"/>
                  <a:gd name="T60" fmla="*/ 154 w 256"/>
                  <a:gd name="T61" fmla="*/ 2 h 250"/>
                  <a:gd name="T62" fmla="*/ 184 w 256"/>
                  <a:gd name="T63" fmla="*/ 6 h 250"/>
                  <a:gd name="T64" fmla="*/ 208 w 256"/>
                  <a:gd name="T65" fmla="*/ 18 h 250"/>
                  <a:gd name="T66" fmla="*/ 228 w 256"/>
                  <a:gd name="T67" fmla="*/ 32 h 250"/>
                  <a:gd name="T68" fmla="*/ 242 w 256"/>
                  <a:gd name="T69" fmla="*/ 50 h 250"/>
                  <a:gd name="T70" fmla="*/ 250 w 256"/>
                  <a:gd name="T71" fmla="*/ 72 h 250"/>
                  <a:gd name="T72" fmla="*/ 256 w 256"/>
                  <a:gd name="T73" fmla="*/ 112 h 250"/>
                  <a:gd name="T74" fmla="*/ 86 w 256"/>
                  <a:gd name="T75" fmla="*/ 142 h 250"/>
                  <a:gd name="T76" fmla="*/ 172 w 256"/>
                  <a:gd name="T77" fmla="*/ 98 h 250"/>
                  <a:gd name="T78" fmla="*/ 170 w 256"/>
                  <a:gd name="T79" fmla="*/ 78 h 250"/>
                  <a:gd name="T80" fmla="*/ 164 w 256"/>
                  <a:gd name="T81" fmla="*/ 62 h 250"/>
                  <a:gd name="T82" fmla="*/ 158 w 256"/>
                  <a:gd name="T83" fmla="*/ 56 h 250"/>
                  <a:gd name="T84" fmla="*/ 142 w 256"/>
                  <a:gd name="T85" fmla="*/ 48 h 250"/>
                  <a:gd name="T86" fmla="*/ 134 w 256"/>
                  <a:gd name="T87" fmla="*/ 46 h 250"/>
                  <a:gd name="T88" fmla="*/ 114 w 256"/>
                  <a:gd name="T89" fmla="*/ 52 h 250"/>
                  <a:gd name="T90" fmla="*/ 102 w 256"/>
                  <a:gd name="T91" fmla="*/ 62 h 250"/>
                  <a:gd name="T92" fmla="*/ 94 w 256"/>
                  <a:gd name="T93" fmla="*/ 78 h 250"/>
                  <a:gd name="T94" fmla="*/ 172 w 256"/>
                  <a:gd name="T95" fmla="*/ 98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6" h="250">
                    <a:moveTo>
                      <a:pt x="86" y="142"/>
                    </a:moveTo>
                    <a:lnTo>
                      <a:pt x="86" y="142"/>
                    </a:lnTo>
                    <a:lnTo>
                      <a:pt x="84" y="154"/>
                    </a:lnTo>
                    <a:lnTo>
                      <a:pt x="86" y="166"/>
                    </a:lnTo>
                    <a:lnTo>
                      <a:pt x="88" y="176"/>
                    </a:lnTo>
                    <a:lnTo>
                      <a:pt x="90" y="184"/>
                    </a:lnTo>
                    <a:lnTo>
                      <a:pt x="96" y="192"/>
                    </a:lnTo>
                    <a:lnTo>
                      <a:pt x="102" y="196"/>
                    </a:lnTo>
                    <a:lnTo>
                      <a:pt x="112" y="200"/>
                    </a:lnTo>
                    <a:lnTo>
                      <a:pt x="124" y="202"/>
                    </a:lnTo>
                    <a:lnTo>
                      <a:pt x="124" y="202"/>
                    </a:lnTo>
                    <a:lnTo>
                      <a:pt x="132" y="200"/>
                    </a:lnTo>
                    <a:lnTo>
                      <a:pt x="140" y="198"/>
                    </a:lnTo>
                    <a:lnTo>
                      <a:pt x="148" y="196"/>
                    </a:lnTo>
                    <a:lnTo>
                      <a:pt x="154" y="192"/>
                    </a:lnTo>
                    <a:lnTo>
                      <a:pt x="158" y="186"/>
                    </a:lnTo>
                    <a:lnTo>
                      <a:pt x="162" y="180"/>
                    </a:lnTo>
                    <a:lnTo>
                      <a:pt x="164" y="174"/>
                    </a:lnTo>
                    <a:lnTo>
                      <a:pt x="164" y="170"/>
                    </a:lnTo>
                    <a:lnTo>
                      <a:pt x="248" y="170"/>
                    </a:lnTo>
                    <a:lnTo>
                      <a:pt x="248" y="170"/>
                    </a:lnTo>
                    <a:lnTo>
                      <a:pt x="246" y="180"/>
                    </a:lnTo>
                    <a:lnTo>
                      <a:pt x="242" y="190"/>
                    </a:lnTo>
                    <a:lnTo>
                      <a:pt x="238" y="198"/>
                    </a:lnTo>
                    <a:lnTo>
                      <a:pt x="232" y="208"/>
                    </a:lnTo>
                    <a:lnTo>
                      <a:pt x="218" y="222"/>
                    </a:lnTo>
                    <a:lnTo>
                      <a:pt x="202" y="234"/>
                    </a:lnTo>
                    <a:lnTo>
                      <a:pt x="202" y="234"/>
                    </a:lnTo>
                    <a:lnTo>
                      <a:pt x="186" y="242"/>
                    </a:lnTo>
                    <a:lnTo>
                      <a:pt x="168" y="246"/>
                    </a:lnTo>
                    <a:lnTo>
                      <a:pt x="148" y="248"/>
                    </a:lnTo>
                    <a:lnTo>
                      <a:pt x="128" y="250"/>
                    </a:lnTo>
                    <a:lnTo>
                      <a:pt x="128" y="250"/>
                    </a:lnTo>
                    <a:lnTo>
                      <a:pt x="96" y="248"/>
                    </a:lnTo>
                    <a:lnTo>
                      <a:pt x="80" y="244"/>
                    </a:lnTo>
                    <a:lnTo>
                      <a:pt x="66" y="242"/>
                    </a:lnTo>
                    <a:lnTo>
                      <a:pt x="54" y="238"/>
                    </a:lnTo>
                    <a:lnTo>
                      <a:pt x="44" y="232"/>
                    </a:lnTo>
                    <a:lnTo>
                      <a:pt x="34" y="226"/>
                    </a:lnTo>
                    <a:lnTo>
                      <a:pt x="26" y="218"/>
                    </a:lnTo>
                    <a:lnTo>
                      <a:pt x="18" y="210"/>
                    </a:lnTo>
                    <a:lnTo>
                      <a:pt x="12" y="200"/>
                    </a:lnTo>
                    <a:lnTo>
                      <a:pt x="8" y="190"/>
                    </a:lnTo>
                    <a:lnTo>
                      <a:pt x="4" y="178"/>
                    </a:lnTo>
                    <a:lnTo>
                      <a:pt x="2" y="164"/>
                    </a:lnTo>
                    <a:lnTo>
                      <a:pt x="0" y="150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2" y="106"/>
                    </a:lnTo>
                    <a:lnTo>
                      <a:pt x="4" y="92"/>
                    </a:lnTo>
                    <a:lnTo>
                      <a:pt x="8" y="80"/>
                    </a:lnTo>
                    <a:lnTo>
                      <a:pt x="14" y="68"/>
                    </a:lnTo>
                    <a:lnTo>
                      <a:pt x="20" y="58"/>
                    </a:lnTo>
                    <a:lnTo>
                      <a:pt x="26" y="48"/>
                    </a:lnTo>
                    <a:lnTo>
                      <a:pt x="34" y="40"/>
                    </a:lnTo>
                    <a:lnTo>
                      <a:pt x="44" y="32"/>
                    </a:lnTo>
                    <a:lnTo>
                      <a:pt x="64" y="18"/>
                    </a:lnTo>
                    <a:lnTo>
                      <a:pt x="86" y="8"/>
                    </a:lnTo>
                    <a:lnTo>
                      <a:pt x="110" y="2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4" y="2"/>
                    </a:lnTo>
                    <a:lnTo>
                      <a:pt x="170" y="4"/>
                    </a:lnTo>
                    <a:lnTo>
                      <a:pt x="184" y="6"/>
                    </a:lnTo>
                    <a:lnTo>
                      <a:pt x="196" y="12"/>
                    </a:lnTo>
                    <a:lnTo>
                      <a:pt x="208" y="18"/>
                    </a:lnTo>
                    <a:lnTo>
                      <a:pt x="218" y="24"/>
                    </a:lnTo>
                    <a:lnTo>
                      <a:pt x="228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46" y="60"/>
                    </a:lnTo>
                    <a:lnTo>
                      <a:pt x="250" y="72"/>
                    </a:lnTo>
                    <a:lnTo>
                      <a:pt x="254" y="84"/>
                    </a:lnTo>
                    <a:lnTo>
                      <a:pt x="256" y="112"/>
                    </a:lnTo>
                    <a:lnTo>
                      <a:pt x="254" y="142"/>
                    </a:lnTo>
                    <a:lnTo>
                      <a:pt x="86" y="142"/>
                    </a:lnTo>
                    <a:close/>
                    <a:moveTo>
                      <a:pt x="172" y="98"/>
                    </a:moveTo>
                    <a:lnTo>
                      <a:pt x="172" y="98"/>
                    </a:lnTo>
                    <a:lnTo>
                      <a:pt x="172" y="88"/>
                    </a:lnTo>
                    <a:lnTo>
                      <a:pt x="170" y="78"/>
                    </a:lnTo>
                    <a:lnTo>
                      <a:pt x="168" y="70"/>
                    </a:lnTo>
                    <a:lnTo>
                      <a:pt x="164" y="62"/>
                    </a:lnTo>
                    <a:lnTo>
                      <a:pt x="164" y="62"/>
                    </a:lnTo>
                    <a:lnTo>
                      <a:pt x="158" y="56"/>
                    </a:lnTo>
                    <a:lnTo>
                      <a:pt x="150" y="50"/>
                    </a:lnTo>
                    <a:lnTo>
                      <a:pt x="142" y="48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22" y="48"/>
                    </a:lnTo>
                    <a:lnTo>
                      <a:pt x="114" y="52"/>
                    </a:lnTo>
                    <a:lnTo>
                      <a:pt x="106" y="56"/>
                    </a:lnTo>
                    <a:lnTo>
                      <a:pt x="102" y="62"/>
                    </a:lnTo>
                    <a:lnTo>
                      <a:pt x="96" y="70"/>
                    </a:lnTo>
                    <a:lnTo>
                      <a:pt x="94" y="78"/>
                    </a:lnTo>
                    <a:lnTo>
                      <a:pt x="90" y="98"/>
                    </a:lnTo>
                    <a:lnTo>
                      <a:pt x="172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16"/>
              <p:cNvSpPr>
                <a:spLocks/>
              </p:cNvSpPr>
              <p:nvPr/>
            </p:nvSpPr>
            <p:spPr bwMode="auto">
              <a:xfrm>
                <a:off x="1314450" y="352425"/>
                <a:ext cx="196850" cy="542925"/>
              </a:xfrm>
              <a:custGeom>
                <a:avLst/>
                <a:gdLst>
                  <a:gd name="T0" fmla="*/ 24 w 124"/>
                  <a:gd name="T1" fmla="*/ 0 h 342"/>
                  <a:gd name="T2" fmla="*/ 124 w 124"/>
                  <a:gd name="T3" fmla="*/ 0 h 342"/>
                  <a:gd name="T4" fmla="*/ 100 w 124"/>
                  <a:gd name="T5" fmla="*/ 342 h 342"/>
                  <a:gd name="T6" fmla="*/ 0 w 124"/>
                  <a:gd name="T7" fmla="*/ 342 h 342"/>
                  <a:gd name="T8" fmla="*/ 24 w 124"/>
                  <a:gd name="T9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342">
                    <a:moveTo>
                      <a:pt x="24" y="0"/>
                    </a:moveTo>
                    <a:lnTo>
                      <a:pt x="124" y="0"/>
                    </a:lnTo>
                    <a:lnTo>
                      <a:pt x="100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17"/>
              <p:cNvSpPr>
                <a:spLocks/>
              </p:cNvSpPr>
              <p:nvPr/>
            </p:nvSpPr>
            <p:spPr bwMode="auto">
              <a:xfrm>
                <a:off x="1498600" y="352425"/>
                <a:ext cx="368300" cy="542925"/>
              </a:xfrm>
              <a:custGeom>
                <a:avLst/>
                <a:gdLst>
                  <a:gd name="T0" fmla="*/ 120 w 232"/>
                  <a:gd name="T1" fmla="*/ 0 h 342"/>
                  <a:gd name="T2" fmla="*/ 0 w 232"/>
                  <a:gd name="T3" fmla="*/ 152 h 342"/>
                  <a:gd name="T4" fmla="*/ 106 w 232"/>
                  <a:gd name="T5" fmla="*/ 342 h 342"/>
                  <a:gd name="T6" fmla="*/ 226 w 232"/>
                  <a:gd name="T7" fmla="*/ 342 h 342"/>
                  <a:gd name="T8" fmla="*/ 106 w 232"/>
                  <a:gd name="T9" fmla="*/ 148 h 342"/>
                  <a:gd name="T10" fmla="*/ 232 w 232"/>
                  <a:gd name="T11" fmla="*/ 0 h 342"/>
                  <a:gd name="T12" fmla="*/ 120 w 232"/>
                  <a:gd name="T13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2" h="342">
                    <a:moveTo>
                      <a:pt x="120" y="0"/>
                    </a:moveTo>
                    <a:lnTo>
                      <a:pt x="0" y="152"/>
                    </a:lnTo>
                    <a:lnTo>
                      <a:pt x="106" y="342"/>
                    </a:lnTo>
                    <a:lnTo>
                      <a:pt x="226" y="342"/>
                    </a:lnTo>
                    <a:lnTo>
                      <a:pt x="106" y="148"/>
                    </a:lnTo>
                    <a:lnTo>
                      <a:pt x="232" y="0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18"/>
              <p:cNvSpPr>
                <a:spLocks/>
              </p:cNvSpPr>
              <p:nvPr/>
            </p:nvSpPr>
            <p:spPr bwMode="auto">
              <a:xfrm>
                <a:off x="1876425" y="517525"/>
                <a:ext cx="158750" cy="377825"/>
              </a:xfrm>
              <a:custGeom>
                <a:avLst/>
                <a:gdLst>
                  <a:gd name="T0" fmla="*/ 16 w 100"/>
                  <a:gd name="T1" fmla="*/ 0 h 238"/>
                  <a:gd name="T2" fmla="*/ 100 w 100"/>
                  <a:gd name="T3" fmla="*/ 0 h 238"/>
                  <a:gd name="T4" fmla="*/ 84 w 100"/>
                  <a:gd name="T5" fmla="*/ 238 h 238"/>
                  <a:gd name="T6" fmla="*/ 0 w 100"/>
                  <a:gd name="T7" fmla="*/ 238 h 238"/>
                  <a:gd name="T8" fmla="*/ 16 w 100"/>
                  <a:gd name="T9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238">
                    <a:moveTo>
                      <a:pt x="16" y="0"/>
                    </a:moveTo>
                    <a:lnTo>
                      <a:pt x="100" y="0"/>
                    </a:lnTo>
                    <a:lnTo>
                      <a:pt x="84" y="238"/>
                    </a:lnTo>
                    <a:lnTo>
                      <a:pt x="0" y="238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19"/>
              <p:cNvSpPr>
                <a:spLocks/>
              </p:cNvSpPr>
              <p:nvPr/>
            </p:nvSpPr>
            <p:spPr bwMode="auto">
              <a:xfrm>
                <a:off x="2038350" y="504825"/>
                <a:ext cx="692150" cy="390525"/>
              </a:xfrm>
              <a:custGeom>
                <a:avLst/>
                <a:gdLst>
                  <a:gd name="T0" fmla="*/ 106 w 436"/>
                  <a:gd name="T1" fmla="*/ 40 h 246"/>
                  <a:gd name="T2" fmla="*/ 106 w 436"/>
                  <a:gd name="T3" fmla="*/ 40 h 246"/>
                  <a:gd name="T4" fmla="*/ 128 w 436"/>
                  <a:gd name="T5" fmla="*/ 20 h 246"/>
                  <a:gd name="T6" fmla="*/ 150 w 436"/>
                  <a:gd name="T7" fmla="*/ 8 h 246"/>
                  <a:gd name="T8" fmla="*/ 172 w 436"/>
                  <a:gd name="T9" fmla="*/ 2 h 246"/>
                  <a:gd name="T10" fmla="*/ 192 w 436"/>
                  <a:gd name="T11" fmla="*/ 2 h 246"/>
                  <a:gd name="T12" fmla="*/ 216 w 436"/>
                  <a:gd name="T13" fmla="*/ 6 h 246"/>
                  <a:gd name="T14" fmla="*/ 238 w 436"/>
                  <a:gd name="T15" fmla="*/ 14 h 246"/>
                  <a:gd name="T16" fmla="*/ 254 w 436"/>
                  <a:gd name="T17" fmla="*/ 28 h 246"/>
                  <a:gd name="T18" fmla="*/ 264 w 436"/>
                  <a:gd name="T19" fmla="*/ 44 h 246"/>
                  <a:gd name="T20" fmla="*/ 272 w 436"/>
                  <a:gd name="T21" fmla="*/ 34 h 246"/>
                  <a:gd name="T22" fmla="*/ 290 w 436"/>
                  <a:gd name="T23" fmla="*/ 18 h 246"/>
                  <a:gd name="T24" fmla="*/ 312 w 436"/>
                  <a:gd name="T25" fmla="*/ 8 h 246"/>
                  <a:gd name="T26" fmla="*/ 338 w 436"/>
                  <a:gd name="T27" fmla="*/ 2 h 246"/>
                  <a:gd name="T28" fmla="*/ 352 w 436"/>
                  <a:gd name="T29" fmla="*/ 0 h 246"/>
                  <a:gd name="T30" fmla="*/ 386 w 436"/>
                  <a:gd name="T31" fmla="*/ 6 h 246"/>
                  <a:gd name="T32" fmla="*/ 414 w 436"/>
                  <a:gd name="T33" fmla="*/ 24 h 246"/>
                  <a:gd name="T34" fmla="*/ 432 w 436"/>
                  <a:gd name="T35" fmla="*/ 50 h 246"/>
                  <a:gd name="T36" fmla="*/ 436 w 436"/>
                  <a:gd name="T37" fmla="*/ 86 h 246"/>
                  <a:gd name="T38" fmla="*/ 332 w 436"/>
                  <a:gd name="T39" fmla="*/ 246 h 246"/>
                  <a:gd name="T40" fmla="*/ 342 w 436"/>
                  <a:gd name="T41" fmla="*/ 106 h 246"/>
                  <a:gd name="T42" fmla="*/ 342 w 436"/>
                  <a:gd name="T43" fmla="*/ 80 h 246"/>
                  <a:gd name="T44" fmla="*/ 336 w 436"/>
                  <a:gd name="T45" fmla="*/ 66 h 246"/>
                  <a:gd name="T46" fmla="*/ 322 w 436"/>
                  <a:gd name="T47" fmla="*/ 58 h 246"/>
                  <a:gd name="T48" fmla="*/ 312 w 436"/>
                  <a:gd name="T49" fmla="*/ 58 h 246"/>
                  <a:gd name="T50" fmla="*/ 288 w 436"/>
                  <a:gd name="T51" fmla="*/ 66 h 246"/>
                  <a:gd name="T52" fmla="*/ 276 w 436"/>
                  <a:gd name="T53" fmla="*/ 82 h 246"/>
                  <a:gd name="T54" fmla="*/ 270 w 436"/>
                  <a:gd name="T55" fmla="*/ 100 h 246"/>
                  <a:gd name="T56" fmla="*/ 260 w 436"/>
                  <a:gd name="T57" fmla="*/ 246 h 246"/>
                  <a:gd name="T58" fmla="*/ 180 w 436"/>
                  <a:gd name="T59" fmla="*/ 106 h 246"/>
                  <a:gd name="T60" fmla="*/ 178 w 436"/>
                  <a:gd name="T61" fmla="*/ 88 h 246"/>
                  <a:gd name="T62" fmla="*/ 174 w 436"/>
                  <a:gd name="T63" fmla="*/ 72 h 246"/>
                  <a:gd name="T64" fmla="*/ 164 w 436"/>
                  <a:gd name="T65" fmla="*/ 62 h 246"/>
                  <a:gd name="T66" fmla="*/ 148 w 436"/>
                  <a:gd name="T67" fmla="*/ 58 h 246"/>
                  <a:gd name="T68" fmla="*/ 132 w 436"/>
                  <a:gd name="T69" fmla="*/ 60 h 246"/>
                  <a:gd name="T70" fmla="*/ 114 w 436"/>
                  <a:gd name="T71" fmla="*/ 72 h 246"/>
                  <a:gd name="T72" fmla="*/ 104 w 436"/>
                  <a:gd name="T73" fmla="*/ 92 h 246"/>
                  <a:gd name="T74" fmla="*/ 102 w 436"/>
                  <a:gd name="T75" fmla="*/ 110 h 246"/>
                  <a:gd name="T76" fmla="*/ 0 w 436"/>
                  <a:gd name="T77" fmla="*/ 246 h 246"/>
                  <a:gd name="T78" fmla="*/ 106 w 436"/>
                  <a:gd name="T79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36" h="246">
                    <a:moveTo>
                      <a:pt x="106" y="8"/>
                    </a:moveTo>
                    <a:lnTo>
                      <a:pt x="106" y="40"/>
                    </a:lnTo>
                    <a:lnTo>
                      <a:pt x="106" y="40"/>
                    </a:lnTo>
                    <a:lnTo>
                      <a:pt x="106" y="40"/>
                    </a:lnTo>
                    <a:lnTo>
                      <a:pt x="118" y="28"/>
                    </a:lnTo>
                    <a:lnTo>
                      <a:pt x="128" y="20"/>
                    </a:lnTo>
                    <a:lnTo>
                      <a:pt x="140" y="12"/>
                    </a:lnTo>
                    <a:lnTo>
                      <a:pt x="150" y="8"/>
                    </a:lnTo>
                    <a:lnTo>
                      <a:pt x="162" y="4"/>
                    </a:lnTo>
                    <a:lnTo>
                      <a:pt x="172" y="2"/>
                    </a:lnTo>
                    <a:lnTo>
                      <a:pt x="192" y="2"/>
                    </a:lnTo>
                    <a:lnTo>
                      <a:pt x="192" y="2"/>
                    </a:lnTo>
                    <a:lnTo>
                      <a:pt x="204" y="2"/>
                    </a:lnTo>
                    <a:lnTo>
                      <a:pt x="216" y="6"/>
                    </a:lnTo>
                    <a:lnTo>
                      <a:pt x="228" y="8"/>
                    </a:lnTo>
                    <a:lnTo>
                      <a:pt x="238" y="14"/>
                    </a:lnTo>
                    <a:lnTo>
                      <a:pt x="246" y="20"/>
                    </a:lnTo>
                    <a:lnTo>
                      <a:pt x="254" y="28"/>
                    </a:lnTo>
                    <a:lnTo>
                      <a:pt x="260" y="36"/>
                    </a:lnTo>
                    <a:lnTo>
                      <a:pt x="264" y="44"/>
                    </a:lnTo>
                    <a:lnTo>
                      <a:pt x="264" y="44"/>
                    </a:lnTo>
                    <a:lnTo>
                      <a:pt x="272" y="34"/>
                    </a:lnTo>
                    <a:lnTo>
                      <a:pt x="280" y="26"/>
                    </a:lnTo>
                    <a:lnTo>
                      <a:pt x="290" y="18"/>
                    </a:lnTo>
                    <a:lnTo>
                      <a:pt x="302" y="12"/>
                    </a:lnTo>
                    <a:lnTo>
                      <a:pt x="312" y="8"/>
                    </a:lnTo>
                    <a:lnTo>
                      <a:pt x="326" y="4"/>
                    </a:lnTo>
                    <a:lnTo>
                      <a:pt x="338" y="2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70" y="2"/>
                    </a:lnTo>
                    <a:lnTo>
                      <a:pt x="386" y="6"/>
                    </a:lnTo>
                    <a:lnTo>
                      <a:pt x="402" y="14"/>
                    </a:lnTo>
                    <a:lnTo>
                      <a:pt x="414" y="24"/>
                    </a:lnTo>
                    <a:lnTo>
                      <a:pt x="424" y="36"/>
                    </a:lnTo>
                    <a:lnTo>
                      <a:pt x="432" y="50"/>
                    </a:lnTo>
                    <a:lnTo>
                      <a:pt x="436" y="68"/>
                    </a:lnTo>
                    <a:lnTo>
                      <a:pt x="436" y="86"/>
                    </a:lnTo>
                    <a:lnTo>
                      <a:pt x="424" y="246"/>
                    </a:lnTo>
                    <a:lnTo>
                      <a:pt x="332" y="246"/>
                    </a:lnTo>
                    <a:lnTo>
                      <a:pt x="342" y="106"/>
                    </a:lnTo>
                    <a:lnTo>
                      <a:pt x="342" y="106"/>
                    </a:lnTo>
                    <a:lnTo>
                      <a:pt x="342" y="88"/>
                    </a:lnTo>
                    <a:lnTo>
                      <a:pt x="342" y="80"/>
                    </a:lnTo>
                    <a:lnTo>
                      <a:pt x="340" y="74"/>
                    </a:lnTo>
                    <a:lnTo>
                      <a:pt x="336" y="66"/>
                    </a:lnTo>
                    <a:lnTo>
                      <a:pt x="330" y="62"/>
                    </a:lnTo>
                    <a:lnTo>
                      <a:pt x="322" y="58"/>
                    </a:lnTo>
                    <a:lnTo>
                      <a:pt x="312" y="58"/>
                    </a:lnTo>
                    <a:lnTo>
                      <a:pt x="312" y="58"/>
                    </a:lnTo>
                    <a:lnTo>
                      <a:pt x="298" y="60"/>
                    </a:lnTo>
                    <a:lnTo>
                      <a:pt x="288" y="66"/>
                    </a:lnTo>
                    <a:lnTo>
                      <a:pt x="280" y="72"/>
                    </a:lnTo>
                    <a:lnTo>
                      <a:pt x="276" y="82"/>
                    </a:lnTo>
                    <a:lnTo>
                      <a:pt x="272" y="92"/>
                    </a:lnTo>
                    <a:lnTo>
                      <a:pt x="270" y="100"/>
                    </a:lnTo>
                    <a:lnTo>
                      <a:pt x="270" y="110"/>
                    </a:lnTo>
                    <a:lnTo>
                      <a:pt x="260" y="246"/>
                    </a:lnTo>
                    <a:lnTo>
                      <a:pt x="170" y="246"/>
                    </a:lnTo>
                    <a:lnTo>
                      <a:pt x="180" y="106"/>
                    </a:lnTo>
                    <a:lnTo>
                      <a:pt x="180" y="106"/>
                    </a:lnTo>
                    <a:lnTo>
                      <a:pt x="178" y="88"/>
                    </a:lnTo>
                    <a:lnTo>
                      <a:pt x="178" y="80"/>
                    </a:lnTo>
                    <a:lnTo>
                      <a:pt x="174" y="72"/>
                    </a:lnTo>
                    <a:lnTo>
                      <a:pt x="170" y="66"/>
                    </a:lnTo>
                    <a:lnTo>
                      <a:pt x="164" y="62"/>
                    </a:lnTo>
                    <a:lnTo>
                      <a:pt x="15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32" y="60"/>
                    </a:lnTo>
                    <a:lnTo>
                      <a:pt x="122" y="66"/>
                    </a:lnTo>
                    <a:lnTo>
                      <a:pt x="114" y="72"/>
                    </a:lnTo>
                    <a:lnTo>
                      <a:pt x="108" y="82"/>
                    </a:lnTo>
                    <a:lnTo>
                      <a:pt x="104" y="92"/>
                    </a:lnTo>
                    <a:lnTo>
                      <a:pt x="104" y="100"/>
                    </a:lnTo>
                    <a:lnTo>
                      <a:pt x="102" y="110"/>
                    </a:lnTo>
                    <a:lnTo>
                      <a:pt x="94" y="246"/>
                    </a:lnTo>
                    <a:lnTo>
                      <a:pt x="0" y="246"/>
                    </a:lnTo>
                    <a:lnTo>
                      <a:pt x="16" y="8"/>
                    </a:lnTo>
                    <a:lnTo>
                      <a:pt x="106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20"/>
              <p:cNvSpPr>
                <a:spLocks/>
              </p:cNvSpPr>
              <p:nvPr/>
            </p:nvSpPr>
            <p:spPr bwMode="auto">
              <a:xfrm>
                <a:off x="4064000" y="517525"/>
                <a:ext cx="454025" cy="558800"/>
              </a:xfrm>
              <a:custGeom>
                <a:avLst/>
                <a:gdLst>
                  <a:gd name="T0" fmla="*/ 116 w 286"/>
                  <a:gd name="T1" fmla="*/ 352 h 352"/>
                  <a:gd name="T2" fmla="*/ 34 w 286"/>
                  <a:gd name="T3" fmla="*/ 352 h 352"/>
                  <a:gd name="T4" fmla="*/ 86 w 286"/>
                  <a:gd name="T5" fmla="*/ 242 h 352"/>
                  <a:gd name="T6" fmla="*/ 0 w 286"/>
                  <a:gd name="T7" fmla="*/ 0 h 352"/>
                  <a:gd name="T8" fmla="*/ 100 w 286"/>
                  <a:gd name="T9" fmla="*/ 0 h 352"/>
                  <a:gd name="T10" fmla="*/ 140 w 286"/>
                  <a:gd name="T11" fmla="*/ 148 h 352"/>
                  <a:gd name="T12" fmla="*/ 202 w 286"/>
                  <a:gd name="T13" fmla="*/ 0 h 352"/>
                  <a:gd name="T14" fmla="*/ 286 w 286"/>
                  <a:gd name="T15" fmla="*/ 0 h 352"/>
                  <a:gd name="T16" fmla="*/ 116 w 286"/>
                  <a:gd name="T17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6" h="352">
                    <a:moveTo>
                      <a:pt x="116" y="352"/>
                    </a:moveTo>
                    <a:lnTo>
                      <a:pt x="34" y="352"/>
                    </a:lnTo>
                    <a:lnTo>
                      <a:pt x="86" y="242"/>
                    </a:lnTo>
                    <a:lnTo>
                      <a:pt x="0" y="0"/>
                    </a:lnTo>
                    <a:lnTo>
                      <a:pt x="100" y="0"/>
                    </a:lnTo>
                    <a:lnTo>
                      <a:pt x="140" y="148"/>
                    </a:lnTo>
                    <a:lnTo>
                      <a:pt x="202" y="0"/>
                    </a:lnTo>
                    <a:lnTo>
                      <a:pt x="286" y="0"/>
                    </a:lnTo>
                    <a:lnTo>
                      <a:pt x="116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21"/>
              <p:cNvSpPr>
                <a:spLocks/>
              </p:cNvSpPr>
              <p:nvPr/>
            </p:nvSpPr>
            <p:spPr bwMode="auto">
              <a:xfrm>
                <a:off x="4473575" y="593725"/>
                <a:ext cx="241300" cy="117475"/>
              </a:xfrm>
              <a:custGeom>
                <a:avLst/>
                <a:gdLst>
                  <a:gd name="T0" fmla="*/ 36 w 152"/>
                  <a:gd name="T1" fmla="*/ 0 h 74"/>
                  <a:gd name="T2" fmla="*/ 152 w 152"/>
                  <a:gd name="T3" fmla="*/ 0 h 74"/>
                  <a:gd name="T4" fmla="*/ 114 w 152"/>
                  <a:gd name="T5" fmla="*/ 74 h 74"/>
                  <a:gd name="T6" fmla="*/ 0 w 152"/>
                  <a:gd name="T7" fmla="*/ 74 h 74"/>
                  <a:gd name="T8" fmla="*/ 36 w 152"/>
                  <a:gd name="T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74">
                    <a:moveTo>
                      <a:pt x="36" y="0"/>
                    </a:moveTo>
                    <a:lnTo>
                      <a:pt x="152" y="0"/>
                    </a:lnTo>
                    <a:lnTo>
                      <a:pt x="114" y="74"/>
                    </a:lnTo>
                    <a:lnTo>
                      <a:pt x="0" y="7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22"/>
              <p:cNvSpPr>
                <a:spLocks/>
              </p:cNvSpPr>
              <p:nvPr/>
            </p:nvSpPr>
            <p:spPr bwMode="auto">
              <a:xfrm>
                <a:off x="4721225" y="339725"/>
                <a:ext cx="504825" cy="558800"/>
              </a:xfrm>
              <a:custGeom>
                <a:avLst/>
                <a:gdLst>
                  <a:gd name="T0" fmla="*/ 180 w 318"/>
                  <a:gd name="T1" fmla="*/ 0 h 352"/>
                  <a:gd name="T2" fmla="*/ 232 w 318"/>
                  <a:gd name="T3" fmla="*/ 6 h 352"/>
                  <a:gd name="T4" fmla="*/ 266 w 318"/>
                  <a:gd name="T5" fmla="*/ 20 h 352"/>
                  <a:gd name="T6" fmla="*/ 286 w 318"/>
                  <a:gd name="T7" fmla="*/ 32 h 352"/>
                  <a:gd name="T8" fmla="*/ 302 w 318"/>
                  <a:gd name="T9" fmla="*/ 50 h 352"/>
                  <a:gd name="T10" fmla="*/ 312 w 318"/>
                  <a:gd name="T11" fmla="*/ 74 h 352"/>
                  <a:gd name="T12" fmla="*/ 318 w 318"/>
                  <a:gd name="T13" fmla="*/ 100 h 352"/>
                  <a:gd name="T14" fmla="*/ 222 w 318"/>
                  <a:gd name="T15" fmla="*/ 116 h 352"/>
                  <a:gd name="T16" fmla="*/ 222 w 318"/>
                  <a:gd name="T17" fmla="*/ 108 h 352"/>
                  <a:gd name="T18" fmla="*/ 216 w 318"/>
                  <a:gd name="T19" fmla="*/ 90 h 352"/>
                  <a:gd name="T20" fmla="*/ 204 w 318"/>
                  <a:gd name="T21" fmla="*/ 76 h 352"/>
                  <a:gd name="T22" fmla="*/ 188 w 318"/>
                  <a:gd name="T23" fmla="*/ 68 h 352"/>
                  <a:gd name="T24" fmla="*/ 176 w 318"/>
                  <a:gd name="T25" fmla="*/ 68 h 352"/>
                  <a:gd name="T26" fmla="*/ 150 w 318"/>
                  <a:gd name="T27" fmla="*/ 72 h 352"/>
                  <a:gd name="T28" fmla="*/ 128 w 318"/>
                  <a:gd name="T29" fmla="*/ 88 h 352"/>
                  <a:gd name="T30" fmla="*/ 108 w 318"/>
                  <a:gd name="T31" fmla="*/ 118 h 352"/>
                  <a:gd name="T32" fmla="*/ 98 w 318"/>
                  <a:gd name="T33" fmla="*/ 162 h 352"/>
                  <a:gd name="T34" fmla="*/ 96 w 318"/>
                  <a:gd name="T35" fmla="*/ 188 h 352"/>
                  <a:gd name="T36" fmla="*/ 98 w 318"/>
                  <a:gd name="T37" fmla="*/ 234 h 352"/>
                  <a:gd name="T38" fmla="*/ 112 w 318"/>
                  <a:gd name="T39" fmla="*/ 266 h 352"/>
                  <a:gd name="T40" fmla="*/ 122 w 318"/>
                  <a:gd name="T41" fmla="*/ 278 h 352"/>
                  <a:gd name="T42" fmla="*/ 138 w 318"/>
                  <a:gd name="T43" fmla="*/ 284 h 352"/>
                  <a:gd name="T44" fmla="*/ 158 w 318"/>
                  <a:gd name="T45" fmla="*/ 288 h 352"/>
                  <a:gd name="T46" fmla="*/ 174 w 318"/>
                  <a:gd name="T47" fmla="*/ 286 h 352"/>
                  <a:gd name="T48" fmla="*/ 198 w 318"/>
                  <a:gd name="T49" fmla="*/ 274 h 352"/>
                  <a:gd name="T50" fmla="*/ 212 w 318"/>
                  <a:gd name="T51" fmla="*/ 256 h 352"/>
                  <a:gd name="T52" fmla="*/ 218 w 318"/>
                  <a:gd name="T53" fmla="*/ 236 h 352"/>
                  <a:gd name="T54" fmla="*/ 314 w 318"/>
                  <a:gd name="T55" fmla="*/ 236 h 352"/>
                  <a:gd name="T56" fmla="*/ 306 w 318"/>
                  <a:gd name="T57" fmla="*/ 270 h 352"/>
                  <a:gd name="T58" fmla="*/ 290 w 318"/>
                  <a:gd name="T59" fmla="*/ 300 h 352"/>
                  <a:gd name="T60" fmla="*/ 272 w 318"/>
                  <a:gd name="T61" fmla="*/ 318 h 352"/>
                  <a:gd name="T62" fmla="*/ 248 w 318"/>
                  <a:gd name="T63" fmla="*/ 334 h 352"/>
                  <a:gd name="T64" fmla="*/ 216 w 318"/>
                  <a:gd name="T65" fmla="*/ 346 h 352"/>
                  <a:gd name="T66" fmla="*/ 176 w 318"/>
                  <a:gd name="T67" fmla="*/ 352 h 352"/>
                  <a:gd name="T68" fmla="*/ 152 w 318"/>
                  <a:gd name="T69" fmla="*/ 352 h 352"/>
                  <a:gd name="T70" fmla="*/ 106 w 318"/>
                  <a:gd name="T71" fmla="*/ 348 h 352"/>
                  <a:gd name="T72" fmla="*/ 70 w 318"/>
                  <a:gd name="T73" fmla="*/ 336 h 352"/>
                  <a:gd name="T74" fmla="*/ 42 w 318"/>
                  <a:gd name="T75" fmla="*/ 316 h 352"/>
                  <a:gd name="T76" fmla="*/ 22 w 318"/>
                  <a:gd name="T77" fmla="*/ 292 h 352"/>
                  <a:gd name="T78" fmla="*/ 8 w 318"/>
                  <a:gd name="T79" fmla="*/ 262 h 352"/>
                  <a:gd name="T80" fmla="*/ 2 w 318"/>
                  <a:gd name="T81" fmla="*/ 230 h 352"/>
                  <a:gd name="T82" fmla="*/ 0 w 318"/>
                  <a:gd name="T83" fmla="*/ 194 h 352"/>
                  <a:gd name="T84" fmla="*/ 2 w 318"/>
                  <a:gd name="T85" fmla="*/ 160 h 352"/>
                  <a:gd name="T86" fmla="*/ 18 w 318"/>
                  <a:gd name="T87" fmla="*/ 102 h 352"/>
                  <a:gd name="T88" fmla="*/ 32 w 318"/>
                  <a:gd name="T89" fmla="*/ 74 h 352"/>
                  <a:gd name="T90" fmla="*/ 52 w 318"/>
                  <a:gd name="T91" fmla="*/ 50 h 352"/>
                  <a:gd name="T92" fmla="*/ 76 w 318"/>
                  <a:gd name="T93" fmla="*/ 30 h 352"/>
                  <a:gd name="T94" fmla="*/ 106 w 318"/>
                  <a:gd name="T95" fmla="*/ 14 h 352"/>
                  <a:gd name="T96" fmla="*/ 140 w 318"/>
                  <a:gd name="T97" fmla="*/ 4 h 352"/>
                  <a:gd name="T98" fmla="*/ 180 w 318"/>
                  <a:gd name="T99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18" h="352">
                    <a:moveTo>
                      <a:pt x="180" y="0"/>
                    </a:moveTo>
                    <a:lnTo>
                      <a:pt x="180" y="0"/>
                    </a:lnTo>
                    <a:lnTo>
                      <a:pt x="206" y="0"/>
                    </a:lnTo>
                    <a:lnTo>
                      <a:pt x="232" y="6"/>
                    </a:lnTo>
                    <a:lnTo>
                      <a:pt x="256" y="14"/>
                    </a:lnTo>
                    <a:lnTo>
                      <a:pt x="266" y="20"/>
                    </a:lnTo>
                    <a:lnTo>
                      <a:pt x="276" y="26"/>
                    </a:lnTo>
                    <a:lnTo>
                      <a:pt x="286" y="32"/>
                    </a:lnTo>
                    <a:lnTo>
                      <a:pt x="294" y="42"/>
                    </a:lnTo>
                    <a:lnTo>
                      <a:pt x="302" y="50"/>
                    </a:lnTo>
                    <a:lnTo>
                      <a:pt x="308" y="62"/>
                    </a:lnTo>
                    <a:lnTo>
                      <a:pt x="312" y="74"/>
                    </a:lnTo>
                    <a:lnTo>
                      <a:pt x="316" y="86"/>
                    </a:lnTo>
                    <a:lnTo>
                      <a:pt x="318" y="100"/>
                    </a:lnTo>
                    <a:lnTo>
                      <a:pt x="318" y="116"/>
                    </a:lnTo>
                    <a:lnTo>
                      <a:pt x="222" y="116"/>
                    </a:lnTo>
                    <a:lnTo>
                      <a:pt x="222" y="116"/>
                    </a:lnTo>
                    <a:lnTo>
                      <a:pt x="222" y="108"/>
                    </a:lnTo>
                    <a:lnTo>
                      <a:pt x="220" y="98"/>
                    </a:lnTo>
                    <a:lnTo>
                      <a:pt x="216" y="90"/>
                    </a:lnTo>
                    <a:lnTo>
                      <a:pt x="212" y="84"/>
                    </a:lnTo>
                    <a:lnTo>
                      <a:pt x="204" y="76"/>
                    </a:lnTo>
                    <a:lnTo>
                      <a:pt x="198" y="72"/>
                    </a:lnTo>
                    <a:lnTo>
                      <a:pt x="188" y="68"/>
                    </a:lnTo>
                    <a:lnTo>
                      <a:pt x="176" y="68"/>
                    </a:lnTo>
                    <a:lnTo>
                      <a:pt x="176" y="68"/>
                    </a:lnTo>
                    <a:lnTo>
                      <a:pt x="164" y="68"/>
                    </a:lnTo>
                    <a:lnTo>
                      <a:pt x="150" y="72"/>
                    </a:lnTo>
                    <a:lnTo>
                      <a:pt x="138" y="80"/>
                    </a:lnTo>
                    <a:lnTo>
                      <a:pt x="128" y="88"/>
                    </a:lnTo>
                    <a:lnTo>
                      <a:pt x="118" y="102"/>
                    </a:lnTo>
                    <a:lnTo>
                      <a:pt x="108" y="118"/>
                    </a:lnTo>
                    <a:lnTo>
                      <a:pt x="102" y="138"/>
                    </a:lnTo>
                    <a:lnTo>
                      <a:pt x="98" y="162"/>
                    </a:lnTo>
                    <a:lnTo>
                      <a:pt x="98" y="162"/>
                    </a:lnTo>
                    <a:lnTo>
                      <a:pt x="96" y="188"/>
                    </a:lnTo>
                    <a:lnTo>
                      <a:pt x="96" y="212"/>
                    </a:lnTo>
                    <a:lnTo>
                      <a:pt x="98" y="234"/>
                    </a:lnTo>
                    <a:lnTo>
                      <a:pt x="104" y="252"/>
                    </a:lnTo>
                    <a:lnTo>
                      <a:pt x="112" y="266"/>
                    </a:lnTo>
                    <a:lnTo>
                      <a:pt x="116" y="272"/>
                    </a:lnTo>
                    <a:lnTo>
                      <a:pt x="122" y="278"/>
                    </a:lnTo>
                    <a:lnTo>
                      <a:pt x="130" y="282"/>
                    </a:lnTo>
                    <a:lnTo>
                      <a:pt x="138" y="284"/>
                    </a:lnTo>
                    <a:lnTo>
                      <a:pt x="148" y="286"/>
                    </a:lnTo>
                    <a:lnTo>
                      <a:pt x="158" y="288"/>
                    </a:lnTo>
                    <a:lnTo>
                      <a:pt x="158" y="288"/>
                    </a:lnTo>
                    <a:lnTo>
                      <a:pt x="174" y="286"/>
                    </a:lnTo>
                    <a:lnTo>
                      <a:pt x="188" y="280"/>
                    </a:lnTo>
                    <a:lnTo>
                      <a:pt x="198" y="274"/>
                    </a:lnTo>
                    <a:lnTo>
                      <a:pt x="206" y="264"/>
                    </a:lnTo>
                    <a:lnTo>
                      <a:pt x="212" y="256"/>
                    </a:lnTo>
                    <a:lnTo>
                      <a:pt x="214" y="248"/>
                    </a:lnTo>
                    <a:lnTo>
                      <a:pt x="218" y="236"/>
                    </a:lnTo>
                    <a:lnTo>
                      <a:pt x="314" y="236"/>
                    </a:lnTo>
                    <a:lnTo>
                      <a:pt x="314" y="236"/>
                    </a:lnTo>
                    <a:lnTo>
                      <a:pt x="312" y="252"/>
                    </a:lnTo>
                    <a:lnTo>
                      <a:pt x="306" y="270"/>
                    </a:lnTo>
                    <a:lnTo>
                      <a:pt x="296" y="290"/>
                    </a:lnTo>
                    <a:lnTo>
                      <a:pt x="290" y="300"/>
                    </a:lnTo>
                    <a:lnTo>
                      <a:pt x="282" y="308"/>
                    </a:lnTo>
                    <a:lnTo>
                      <a:pt x="272" y="318"/>
                    </a:lnTo>
                    <a:lnTo>
                      <a:pt x="260" y="326"/>
                    </a:lnTo>
                    <a:lnTo>
                      <a:pt x="248" y="334"/>
                    </a:lnTo>
                    <a:lnTo>
                      <a:pt x="232" y="340"/>
                    </a:lnTo>
                    <a:lnTo>
                      <a:pt x="216" y="346"/>
                    </a:lnTo>
                    <a:lnTo>
                      <a:pt x="196" y="350"/>
                    </a:lnTo>
                    <a:lnTo>
                      <a:pt x="176" y="352"/>
                    </a:lnTo>
                    <a:lnTo>
                      <a:pt x="152" y="352"/>
                    </a:lnTo>
                    <a:lnTo>
                      <a:pt x="152" y="352"/>
                    </a:lnTo>
                    <a:lnTo>
                      <a:pt x="128" y="352"/>
                    </a:lnTo>
                    <a:lnTo>
                      <a:pt x="106" y="348"/>
                    </a:lnTo>
                    <a:lnTo>
                      <a:pt x="86" y="342"/>
                    </a:lnTo>
                    <a:lnTo>
                      <a:pt x="70" y="336"/>
                    </a:lnTo>
                    <a:lnTo>
                      <a:pt x="54" y="326"/>
                    </a:lnTo>
                    <a:lnTo>
                      <a:pt x="42" y="316"/>
                    </a:lnTo>
                    <a:lnTo>
                      <a:pt x="30" y="304"/>
                    </a:lnTo>
                    <a:lnTo>
                      <a:pt x="22" y="292"/>
                    </a:lnTo>
                    <a:lnTo>
                      <a:pt x="14" y="276"/>
                    </a:lnTo>
                    <a:lnTo>
                      <a:pt x="8" y="262"/>
                    </a:lnTo>
                    <a:lnTo>
                      <a:pt x="4" y="246"/>
                    </a:lnTo>
                    <a:lnTo>
                      <a:pt x="2" y="230"/>
                    </a:lnTo>
                    <a:lnTo>
                      <a:pt x="0" y="212"/>
                    </a:lnTo>
                    <a:lnTo>
                      <a:pt x="0" y="194"/>
                    </a:lnTo>
                    <a:lnTo>
                      <a:pt x="2" y="160"/>
                    </a:lnTo>
                    <a:lnTo>
                      <a:pt x="2" y="160"/>
                    </a:lnTo>
                    <a:lnTo>
                      <a:pt x="8" y="130"/>
                    </a:lnTo>
                    <a:lnTo>
                      <a:pt x="18" y="102"/>
                    </a:lnTo>
                    <a:lnTo>
                      <a:pt x="24" y="88"/>
                    </a:lnTo>
                    <a:lnTo>
                      <a:pt x="32" y="74"/>
                    </a:lnTo>
                    <a:lnTo>
                      <a:pt x="42" y="62"/>
                    </a:lnTo>
                    <a:lnTo>
                      <a:pt x="52" y="50"/>
                    </a:lnTo>
                    <a:lnTo>
                      <a:pt x="64" y="40"/>
                    </a:lnTo>
                    <a:lnTo>
                      <a:pt x="76" y="30"/>
                    </a:lnTo>
                    <a:lnTo>
                      <a:pt x="90" y="20"/>
                    </a:lnTo>
                    <a:lnTo>
                      <a:pt x="106" y="14"/>
                    </a:lnTo>
                    <a:lnTo>
                      <a:pt x="122" y="8"/>
                    </a:lnTo>
                    <a:lnTo>
                      <a:pt x="140" y="4"/>
                    </a:lnTo>
                    <a:lnTo>
                      <a:pt x="160" y="0"/>
                    </a:lnTo>
                    <a:lnTo>
                      <a:pt x="180" y="0"/>
                    </a:lnTo>
                    <a:lnTo>
                      <a:pt x="18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" name="Freeform 23"/>
              <p:cNvSpPr>
                <a:spLocks/>
              </p:cNvSpPr>
              <p:nvPr/>
            </p:nvSpPr>
            <p:spPr bwMode="auto">
              <a:xfrm>
                <a:off x="5229225" y="352425"/>
                <a:ext cx="177800" cy="542925"/>
              </a:xfrm>
              <a:custGeom>
                <a:avLst/>
                <a:gdLst>
                  <a:gd name="T0" fmla="*/ 0 w 112"/>
                  <a:gd name="T1" fmla="*/ 342 h 342"/>
                  <a:gd name="T2" fmla="*/ 24 w 112"/>
                  <a:gd name="T3" fmla="*/ 0 h 342"/>
                  <a:gd name="T4" fmla="*/ 112 w 112"/>
                  <a:gd name="T5" fmla="*/ 0 h 342"/>
                  <a:gd name="T6" fmla="*/ 88 w 112"/>
                  <a:gd name="T7" fmla="*/ 342 h 342"/>
                  <a:gd name="T8" fmla="*/ 0 w 112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2" y="0"/>
                    </a:lnTo>
                    <a:lnTo>
                      <a:pt x="88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24"/>
              <p:cNvSpPr>
                <a:spLocks/>
              </p:cNvSpPr>
              <p:nvPr/>
            </p:nvSpPr>
            <p:spPr bwMode="auto">
              <a:xfrm>
                <a:off x="5803900" y="517525"/>
                <a:ext cx="295275" cy="377825"/>
              </a:xfrm>
              <a:custGeom>
                <a:avLst/>
                <a:gdLst>
                  <a:gd name="T0" fmla="*/ 106 w 186"/>
                  <a:gd name="T1" fmla="*/ 34 h 238"/>
                  <a:gd name="T2" fmla="*/ 106 w 186"/>
                  <a:gd name="T3" fmla="*/ 34 h 238"/>
                  <a:gd name="T4" fmla="*/ 106 w 186"/>
                  <a:gd name="T5" fmla="*/ 34 h 238"/>
                  <a:gd name="T6" fmla="*/ 116 w 186"/>
                  <a:gd name="T7" fmla="*/ 24 h 238"/>
                  <a:gd name="T8" fmla="*/ 124 w 186"/>
                  <a:gd name="T9" fmla="*/ 16 h 238"/>
                  <a:gd name="T10" fmla="*/ 134 w 186"/>
                  <a:gd name="T11" fmla="*/ 10 h 238"/>
                  <a:gd name="T12" fmla="*/ 144 w 186"/>
                  <a:gd name="T13" fmla="*/ 6 h 238"/>
                  <a:gd name="T14" fmla="*/ 154 w 186"/>
                  <a:gd name="T15" fmla="*/ 4 h 238"/>
                  <a:gd name="T16" fmla="*/ 164 w 186"/>
                  <a:gd name="T17" fmla="*/ 2 h 238"/>
                  <a:gd name="T18" fmla="*/ 186 w 186"/>
                  <a:gd name="T19" fmla="*/ 0 h 238"/>
                  <a:gd name="T20" fmla="*/ 180 w 186"/>
                  <a:gd name="T21" fmla="*/ 76 h 238"/>
                  <a:gd name="T22" fmla="*/ 180 w 186"/>
                  <a:gd name="T23" fmla="*/ 76 h 238"/>
                  <a:gd name="T24" fmla="*/ 162 w 186"/>
                  <a:gd name="T25" fmla="*/ 76 h 238"/>
                  <a:gd name="T26" fmla="*/ 162 w 186"/>
                  <a:gd name="T27" fmla="*/ 76 h 238"/>
                  <a:gd name="T28" fmla="*/ 142 w 186"/>
                  <a:gd name="T29" fmla="*/ 78 h 238"/>
                  <a:gd name="T30" fmla="*/ 126 w 186"/>
                  <a:gd name="T31" fmla="*/ 82 h 238"/>
                  <a:gd name="T32" fmla="*/ 116 w 186"/>
                  <a:gd name="T33" fmla="*/ 88 h 238"/>
                  <a:gd name="T34" fmla="*/ 108 w 186"/>
                  <a:gd name="T35" fmla="*/ 98 h 238"/>
                  <a:gd name="T36" fmla="*/ 104 w 186"/>
                  <a:gd name="T37" fmla="*/ 108 h 238"/>
                  <a:gd name="T38" fmla="*/ 100 w 186"/>
                  <a:gd name="T39" fmla="*/ 120 h 238"/>
                  <a:gd name="T40" fmla="*/ 98 w 186"/>
                  <a:gd name="T41" fmla="*/ 148 h 238"/>
                  <a:gd name="T42" fmla="*/ 92 w 186"/>
                  <a:gd name="T43" fmla="*/ 238 h 238"/>
                  <a:gd name="T44" fmla="*/ 0 w 186"/>
                  <a:gd name="T45" fmla="*/ 238 h 238"/>
                  <a:gd name="T46" fmla="*/ 14 w 186"/>
                  <a:gd name="T47" fmla="*/ 62 h 238"/>
                  <a:gd name="T48" fmla="*/ 14 w 186"/>
                  <a:gd name="T49" fmla="*/ 62 h 238"/>
                  <a:gd name="T50" fmla="*/ 14 w 186"/>
                  <a:gd name="T51" fmla="*/ 32 h 238"/>
                  <a:gd name="T52" fmla="*/ 14 w 186"/>
                  <a:gd name="T53" fmla="*/ 0 h 238"/>
                  <a:gd name="T54" fmla="*/ 102 w 186"/>
                  <a:gd name="T55" fmla="*/ 0 h 238"/>
                  <a:gd name="T56" fmla="*/ 106 w 186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6" h="238">
                    <a:moveTo>
                      <a:pt x="106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6" y="24"/>
                    </a:lnTo>
                    <a:lnTo>
                      <a:pt x="124" y="16"/>
                    </a:lnTo>
                    <a:lnTo>
                      <a:pt x="134" y="10"/>
                    </a:lnTo>
                    <a:lnTo>
                      <a:pt x="144" y="6"/>
                    </a:lnTo>
                    <a:lnTo>
                      <a:pt x="154" y="4"/>
                    </a:lnTo>
                    <a:lnTo>
                      <a:pt x="164" y="2"/>
                    </a:lnTo>
                    <a:lnTo>
                      <a:pt x="186" y="0"/>
                    </a:lnTo>
                    <a:lnTo>
                      <a:pt x="180" y="76"/>
                    </a:lnTo>
                    <a:lnTo>
                      <a:pt x="180" y="76"/>
                    </a:lnTo>
                    <a:lnTo>
                      <a:pt x="162" y="76"/>
                    </a:lnTo>
                    <a:lnTo>
                      <a:pt x="162" y="76"/>
                    </a:lnTo>
                    <a:lnTo>
                      <a:pt x="142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4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6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283629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3E7FBFD-78E1-42FB-85FC-D9CE5E3DEF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270622" y="6413584"/>
            <a:ext cx="2165537" cy="271230"/>
            <a:chOff x="158750" y="276225"/>
            <a:chExt cx="6388100" cy="800100"/>
          </a:xfrm>
          <a:solidFill>
            <a:schemeClr val="bg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158750" y="276225"/>
              <a:ext cx="857250" cy="736600"/>
            </a:xfrm>
            <a:custGeom>
              <a:avLst/>
              <a:gdLst>
                <a:gd name="T0" fmla="*/ 298 w 540"/>
                <a:gd name="T1" fmla="*/ 0 h 464"/>
                <a:gd name="T2" fmla="*/ 374 w 540"/>
                <a:gd name="T3" fmla="*/ 18 h 464"/>
                <a:gd name="T4" fmla="*/ 442 w 540"/>
                <a:gd name="T5" fmla="*/ 52 h 464"/>
                <a:gd name="T6" fmla="*/ 494 w 540"/>
                <a:gd name="T7" fmla="*/ 102 h 464"/>
                <a:gd name="T8" fmla="*/ 528 w 540"/>
                <a:gd name="T9" fmla="*/ 162 h 464"/>
                <a:gd name="T10" fmla="*/ 540 w 540"/>
                <a:gd name="T11" fmla="*/ 232 h 464"/>
                <a:gd name="T12" fmla="*/ 534 w 540"/>
                <a:gd name="T13" fmla="*/ 278 h 464"/>
                <a:gd name="T14" fmla="*/ 506 w 540"/>
                <a:gd name="T15" fmla="*/ 342 h 464"/>
                <a:gd name="T16" fmla="*/ 460 w 540"/>
                <a:gd name="T17" fmla="*/ 396 h 464"/>
                <a:gd name="T18" fmla="*/ 398 w 540"/>
                <a:gd name="T19" fmla="*/ 436 h 464"/>
                <a:gd name="T20" fmla="*/ 324 w 540"/>
                <a:gd name="T21" fmla="*/ 460 h 464"/>
                <a:gd name="T22" fmla="*/ 270 w 540"/>
                <a:gd name="T23" fmla="*/ 464 h 464"/>
                <a:gd name="T24" fmla="*/ 190 w 540"/>
                <a:gd name="T25" fmla="*/ 454 h 464"/>
                <a:gd name="T26" fmla="*/ 118 w 540"/>
                <a:gd name="T27" fmla="*/ 424 h 464"/>
                <a:gd name="T28" fmla="*/ 62 w 540"/>
                <a:gd name="T29" fmla="*/ 380 h 464"/>
                <a:gd name="T30" fmla="*/ 20 w 540"/>
                <a:gd name="T31" fmla="*/ 322 h 464"/>
                <a:gd name="T32" fmla="*/ 2 w 540"/>
                <a:gd name="T33" fmla="*/ 256 h 464"/>
                <a:gd name="T34" fmla="*/ 2 w 540"/>
                <a:gd name="T35" fmla="*/ 208 h 464"/>
                <a:gd name="T36" fmla="*/ 20 w 540"/>
                <a:gd name="T37" fmla="*/ 142 h 464"/>
                <a:gd name="T38" fmla="*/ 62 w 540"/>
                <a:gd name="T39" fmla="*/ 84 h 464"/>
                <a:gd name="T40" fmla="*/ 118 w 540"/>
                <a:gd name="T41" fmla="*/ 40 h 464"/>
                <a:gd name="T42" fmla="*/ 190 w 540"/>
                <a:gd name="T43" fmla="*/ 10 h 464"/>
                <a:gd name="T44" fmla="*/ 270 w 540"/>
                <a:gd name="T45" fmla="*/ 0 h 464"/>
                <a:gd name="T46" fmla="*/ 270 w 540"/>
                <a:gd name="T47" fmla="*/ 232 h 464"/>
                <a:gd name="T48" fmla="*/ 220 w 540"/>
                <a:gd name="T49" fmla="*/ 196 h 464"/>
                <a:gd name="T50" fmla="*/ 208 w 540"/>
                <a:gd name="T51" fmla="*/ 176 h 464"/>
                <a:gd name="T52" fmla="*/ 156 w 540"/>
                <a:gd name="T53" fmla="*/ 130 h 464"/>
                <a:gd name="T54" fmla="*/ 76 w 540"/>
                <a:gd name="T55" fmla="*/ 152 h 464"/>
                <a:gd name="T56" fmla="*/ 130 w 540"/>
                <a:gd name="T57" fmla="*/ 204 h 464"/>
                <a:gd name="T58" fmla="*/ 138 w 540"/>
                <a:gd name="T59" fmla="*/ 230 h 464"/>
                <a:gd name="T60" fmla="*/ 132 w 540"/>
                <a:gd name="T61" fmla="*/ 244 h 464"/>
                <a:gd name="T62" fmla="*/ 108 w 540"/>
                <a:gd name="T63" fmla="*/ 250 h 464"/>
                <a:gd name="T64" fmla="*/ 38 w 540"/>
                <a:gd name="T65" fmla="*/ 330 h 464"/>
                <a:gd name="T66" fmla="*/ 146 w 540"/>
                <a:gd name="T67" fmla="*/ 330 h 464"/>
                <a:gd name="T68" fmla="*/ 186 w 540"/>
                <a:gd name="T69" fmla="*/ 320 h 464"/>
                <a:gd name="T70" fmla="*/ 214 w 540"/>
                <a:gd name="T71" fmla="*/ 296 h 464"/>
                <a:gd name="T72" fmla="*/ 320 w 540"/>
                <a:gd name="T73" fmla="*/ 390 h 464"/>
                <a:gd name="T74" fmla="*/ 326 w 540"/>
                <a:gd name="T75" fmla="*/ 296 h 464"/>
                <a:gd name="T76" fmla="*/ 352 w 540"/>
                <a:gd name="T77" fmla="*/ 320 h 464"/>
                <a:gd name="T78" fmla="*/ 392 w 540"/>
                <a:gd name="T79" fmla="*/ 330 h 464"/>
                <a:gd name="T80" fmla="*/ 500 w 540"/>
                <a:gd name="T81" fmla="*/ 250 h 464"/>
                <a:gd name="T82" fmla="*/ 432 w 540"/>
                <a:gd name="T83" fmla="*/ 250 h 464"/>
                <a:gd name="T84" fmla="*/ 408 w 540"/>
                <a:gd name="T85" fmla="*/ 244 h 464"/>
                <a:gd name="T86" fmla="*/ 400 w 540"/>
                <a:gd name="T87" fmla="*/ 230 h 464"/>
                <a:gd name="T88" fmla="*/ 410 w 540"/>
                <a:gd name="T89" fmla="*/ 204 h 464"/>
                <a:gd name="T90" fmla="*/ 462 w 540"/>
                <a:gd name="T91" fmla="*/ 152 h 464"/>
                <a:gd name="T92" fmla="*/ 382 w 540"/>
                <a:gd name="T93" fmla="*/ 130 h 464"/>
                <a:gd name="T94" fmla="*/ 330 w 540"/>
                <a:gd name="T95" fmla="*/ 176 h 464"/>
                <a:gd name="T96" fmla="*/ 320 w 540"/>
                <a:gd name="T97" fmla="*/ 19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40" h="464">
                  <a:moveTo>
                    <a:pt x="270" y="0"/>
                  </a:moveTo>
                  <a:lnTo>
                    <a:pt x="270" y="0"/>
                  </a:lnTo>
                  <a:lnTo>
                    <a:pt x="298" y="0"/>
                  </a:lnTo>
                  <a:lnTo>
                    <a:pt x="324" y="4"/>
                  </a:lnTo>
                  <a:lnTo>
                    <a:pt x="350" y="10"/>
                  </a:lnTo>
                  <a:lnTo>
                    <a:pt x="374" y="18"/>
                  </a:lnTo>
                  <a:lnTo>
                    <a:pt x="398" y="28"/>
                  </a:lnTo>
                  <a:lnTo>
                    <a:pt x="420" y="40"/>
                  </a:lnTo>
                  <a:lnTo>
                    <a:pt x="442" y="52"/>
                  </a:lnTo>
                  <a:lnTo>
                    <a:pt x="460" y="68"/>
                  </a:lnTo>
                  <a:lnTo>
                    <a:pt x="478" y="84"/>
                  </a:lnTo>
                  <a:lnTo>
                    <a:pt x="494" y="102"/>
                  </a:lnTo>
                  <a:lnTo>
                    <a:pt x="506" y="122"/>
                  </a:lnTo>
                  <a:lnTo>
                    <a:pt x="518" y="142"/>
                  </a:lnTo>
                  <a:lnTo>
                    <a:pt x="528" y="162"/>
                  </a:lnTo>
                  <a:lnTo>
                    <a:pt x="534" y="184"/>
                  </a:lnTo>
                  <a:lnTo>
                    <a:pt x="538" y="208"/>
                  </a:lnTo>
                  <a:lnTo>
                    <a:pt x="540" y="232"/>
                  </a:lnTo>
                  <a:lnTo>
                    <a:pt x="540" y="232"/>
                  </a:lnTo>
                  <a:lnTo>
                    <a:pt x="538" y="256"/>
                  </a:lnTo>
                  <a:lnTo>
                    <a:pt x="534" y="278"/>
                  </a:lnTo>
                  <a:lnTo>
                    <a:pt x="528" y="300"/>
                  </a:lnTo>
                  <a:lnTo>
                    <a:pt x="518" y="322"/>
                  </a:lnTo>
                  <a:lnTo>
                    <a:pt x="506" y="342"/>
                  </a:lnTo>
                  <a:lnTo>
                    <a:pt x="494" y="362"/>
                  </a:lnTo>
                  <a:lnTo>
                    <a:pt x="478" y="380"/>
                  </a:lnTo>
                  <a:lnTo>
                    <a:pt x="460" y="396"/>
                  </a:lnTo>
                  <a:lnTo>
                    <a:pt x="442" y="410"/>
                  </a:lnTo>
                  <a:lnTo>
                    <a:pt x="420" y="424"/>
                  </a:lnTo>
                  <a:lnTo>
                    <a:pt x="398" y="436"/>
                  </a:lnTo>
                  <a:lnTo>
                    <a:pt x="374" y="446"/>
                  </a:lnTo>
                  <a:lnTo>
                    <a:pt x="350" y="454"/>
                  </a:lnTo>
                  <a:lnTo>
                    <a:pt x="324" y="460"/>
                  </a:lnTo>
                  <a:lnTo>
                    <a:pt x="298" y="462"/>
                  </a:lnTo>
                  <a:lnTo>
                    <a:pt x="270" y="464"/>
                  </a:lnTo>
                  <a:lnTo>
                    <a:pt x="270" y="464"/>
                  </a:lnTo>
                  <a:lnTo>
                    <a:pt x="242" y="462"/>
                  </a:lnTo>
                  <a:lnTo>
                    <a:pt x="216" y="458"/>
                  </a:lnTo>
                  <a:lnTo>
                    <a:pt x="190" y="454"/>
                  </a:lnTo>
                  <a:lnTo>
                    <a:pt x="164" y="446"/>
                  </a:lnTo>
                  <a:lnTo>
                    <a:pt x="140" y="436"/>
                  </a:lnTo>
                  <a:lnTo>
                    <a:pt x="118" y="424"/>
                  </a:lnTo>
                  <a:lnTo>
                    <a:pt x="98" y="410"/>
                  </a:lnTo>
                  <a:lnTo>
                    <a:pt x="78" y="396"/>
                  </a:lnTo>
                  <a:lnTo>
                    <a:pt x="62" y="380"/>
                  </a:lnTo>
                  <a:lnTo>
                    <a:pt x="46" y="362"/>
                  </a:lnTo>
                  <a:lnTo>
                    <a:pt x="32" y="342"/>
                  </a:lnTo>
                  <a:lnTo>
                    <a:pt x="20" y="322"/>
                  </a:lnTo>
                  <a:lnTo>
                    <a:pt x="12" y="300"/>
                  </a:lnTo>
                  <a:lnTo>
                    <a:pt x="6" y="278"/>
                  </a:lnTo>
                  <a:lnTo>
                    <a:pt x="2" y="256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08"/>
                  </a:lnTo>
                  <a:lnTo>
                    <a:pt x="6" y="184"/>
                  </a:lnTo>
                  <a:lnTo>
                    <a:pt x="12" y="162"/>
                  </a:lnTo>
                  <a:lnTo>
                    <a:pt x="20" y="142"/>
                  </a:lnTo>
                  <a:lnTo>
                    <a:pt x="32" y="120"/>
                  </a:lnTo>
                  <a:lnTo>
                    <a:pt x="46" y="102"/>
                  </a:lnTo>
                  <a:lnTo>
                    <a:pt x="62" y="84"/>
                  </a:lnTo>
                  <a:lnTo>
                    <a:pt x="78" y="68"/>
                  </a:lnTo>
                  <a:lnTo>
                    <a:pt x="98" y="52"/>
                  </a:lnTo>
                  <a:lnTo>
                    <a:pt x="118" y="40"/>
                  </a:lnTo>
                  <a:lnTo>
                    <a:pt x="140" y="28"/>
                  </a:lnTo>
                  <a:lnTo>
                    <a:pt x="164" y="18"/>
                  </a:lnTo>
                  <a:lnTo>
                    <a:pt x="190" y="10"/>
                  </a:lnTo>
                  <a:lnTo>
                    <a:pt x="216" y="4"/>
                  </a:lnTo>
                  <a:lnTo>
                    <a:pt x="242" y="0"/>
                  </a:lnTo>
                  <a:lnTo>
                    <a:pt x="270" y="0"/>
                  </a:lnTo>
                  <a:lnTo>
                    <a:pt x="270" y="0"/>
                  </a:lnTo>
                  <a:close/>
                  <a:moveTo>
                    <a:pt x="270" y="232"/>
                  </a:moveTo>
                  <a:lnTo>
                    <a:pt x="270" y="232"/>
                  </a:lnTo>
                  <a:close/>
                  <a:moveTo>
                    <a:pt x="220" y="50"/>
                  </a:moveTo>
                  <a:lnTo>
                    <a:pt x="220" y="50"/>
                  </a:lnTo>
                  <a:lnTo>
                    <a:pt x="220" y="196"/>
                  </a:lnTo>
                  <a:lnTo>
                    <a:pt x="220" y="196"/>
                  </a:lnTo>
                  <a:lnTo>
                    <a:pt x="214" y="186"/>
                  </a:lnTo>
                  <a:lnTo>
                    <a:pt x="208" y="176"/>
                  </a:lnTo>
                  <a:lnTo>
                    <a:pt x="194" y="160"/>
                  </a:lnTo>
                  <a:lnTo>
                    <a:pt x="176" y="144"/>
                  </a:lnTo>
                  <a:lnTo>
                    <a:pt x="156" y="130"/>
                  </a:lnTo>
                  <a:lnTo>
                    <a:pt x="48" y="130"/>
                  </a:lnTo>
                  <a:lnTo>
                    <a:pt x="48" y="130"/>
                  </a:lnTo>
                  <a:lnTo>
                    <a:pt x="76" y="152"/>
                  </a:lnTo>
                  <a:lnTo>
                    <a:pt x="106" y="178"/>
                  </a:lnTo>
                  <a:lnTo>
                    <a:pt x="120" y="192"/>
                  </a:lnTo>
                  <a:lnTo>
                    <a:pt x="130" y="204"/>
                  </a:lnTo>
                  <a:lnTo>
                    <a:pt x="136" y="218"/>
                  </a:lnTo>
                  <a:lnTo>
                    <a:pt x="138" y="230"/>
                  </a:lnTo>
                  <a:lnTo>
                    <a:pt x="138" y="230"/>
                  </a:lnTo>
                  <a:lnTo>
                    <a:pt x="138" y="236"/>
                  </a:lnTo>
                  <a:lnTo>
                    <a:pt x="136" y="240"/>
                  </a:lnTo>
                  <a:lnTo>
                    <a:pt x="132" y="244"/>
                  </a:lnTo>
                  <a:lnTo>
                    <a:pt x="128" y="246"/>
                  </a:lnTo>
                  <a:lnTo>
                    <a:pt x="11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38" y="25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146" y="330"/>
                  </a:lnTo>
                  <a:lnTo>
                    <a:pt x="146" y="330"/>
                  </a:lnTo>
                  <a:lnTo>
                    <a:pt x="166" y="328"/>
                  </a:lnTo>
                  <a:lnTo>
                    <a:pt x="176" y="324"/>
                  </a:lnTo>
                  <a:lnTo>
                    <a:pt x="186" y="320"/>
                  </a:lnTo>
                  <a:lnTo>
                    <a:pt x="196" y="314"/>
                  </a:lnTo>
                  <a:lnTo>
                    <a:pt x="206" y="306"/>
                  </a:lnTo>
                  <a:lnTo>
                    <a:pt x="214" y="296"/>
                  </a:lnTo>
                  <a:lnTo>
                    <a:pt x="220" y="284"/>
                  </a:lnTo>
                  <a:lnTo>
                    <a:pt x="220" y="390"/>
                  </a:lnTo>
                  <a:lnTo>
                    <a:pt x="320" y="390"/>
                  </a:lnTo>
                  <a:lnTo>
                    <a:pt x="320" y="284"/>
                  </a:lnTo>
                  <a:lnTo>
                    <a:pt x="320" y="284"/>
                  </a:lnTo>
                  <a:lnTo>
                    <a:pt x="326" y="296"/>
                  </a:lnTo>
                  <a:lnTo>
                    <a:pt x="334" y="306"/>
                  </a:lnTo>
                  <a:lnTo>
                    <a:pt x="342" y="314"/>
                  </a:lnTo>
                  <a:lnTo>
                    <a:pt x="352" y="320"/>
                  </a:lnTo>
                  <a:lnTo>
                    <a:pt x="362" y="324"/>
                  </a:lnTo>
                  <a:lnTo>
                    <a:pt x="372" y="328"/>
                  </a:lnTo>
                  <a:lnTo>
                    <a:pt x="392" y="330"/>
                  </a:lnTo>
                  <a:lnTo>
                    <a:pt x="392" y="330"/>
                  </a:lnTo>
                  <a:lnTo>
                    <a:pt x="500" y="330"/>
                  </a:lnTo>
                  <a:lnTo>
                    <a:pt x="500" y="250"/>
                  </a:lnTo>
                  <a:lnTo>
                    <a:pt x="500" y="250"/>
                  </a:lnTo>
                  <a:lnTo>
                    <a:pt x="432" y="250"/>
                  </a:lnTo>
                  <a:lnTo>
                    <a:pt x="432" y="250"/>
                  </a:lnTo>
                  <a:lnTo>
                    <a:pt x="422" y="250"/>
                  </a:lnTo>
                  <a:lnTo>
                    <a:pt x="412" y="246"/>
                  </a:lnTo>
                  <a:lnTo>
                    <a:pt x="408" y="244"/>
                  </a:lnTo>
                  <a:lnTo>
                    <a:pt x="404" y="240"/>
                  </a:lnTo>
                  <a:lnTo>
                    <a:pt x="402" y="236"/>
                  </a:lnTo>
                  <a:lnTo>
                    <a:pt x="400" y="230"/>
                  </a:lnTo>
                  <a:lnTo>
                    <a:pt x="400" y="230"/>
                  </a:lnTo>
                  <a:lnTo>
                    <a:pt x="402" y="218"/>
                  </a:lnTo>
                  <a:lnTo>
                    <a:pt x="410" y="204"/>
                  </a:lnTo>
                  <a:lnTo>
                    <a:pt x="420" y="192"/>
                  </a:lnTo>
                  <a:lnTo>
                    <a:pt x="432" y="178"/>
                  </a:lnTo>
                  <a:lnTo>
                    <a:pt x="462" y="152"/>
                  </a:lnTo>
                  <a:lnTo>
                    <a:pt x="492" y="130"/>
                  </a:lnTo>
                  <a:lnTo>
                    <a:pt x="382" y="130"/>
                  </a:lnTo>
                  <a:lnTo>
                    <a:pt x="382" y="130"/>
                  </a:lnTo>
                  <a:lnTo>
                    <a:pt x="364" y="144"/>
                  </a:lnTo>
                  <a:lnTo>
                    <a:pt x="346" y="160"/>
                  </a:lnTo>
                  <a:lnTo>
                    <a:pt x="330" y="176"/>
                  </a:lnTo>
                  <a:lnTo>
                    <a:pt x="324" y="186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20" y="50"/>
                  </a:lnTo>
                  <a:lnTo>
                    <a:pt x="22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9" name="Group 8"/>
            <p:cNvGrpSpPr/>
            <p:nvPr/>
          </p:nvGrpSpPr>
          <p:grpSpPr>
            <a:xfrm>
              <a:off x="1314450" y="339725"/>
              <a:ext cx="5232400" cy="736600"/>
              <a:chOff x="1314450" y="339725"/>
              <a:chExt cx="5232400" cy="736600"/>
            </a:xfrm>
            <a:grpFill/>
          </p:grpSpPr>
          <p:sp>
            <p:nvSpPr>
              <p:cNvPr id="10" name="Freeform 9"/>
              <p:cNvSpPr>
                <a:spLocks/>
              </p:cNvSpPr>
              <p:nvPr/>
            </p:nvSpPr>
            <p:spPr bwMode="auto">
              <a:xfrm>
                <a:off x="1908175" y="352425"/>
                <a:ext cx="139700" cy="98425"/>
              </a:xfrm>
              <a:custGeom>
                <a:avLst/>
                <a:gdLst>
                  <a:gd name="T0" fmla="*/ 4 w 88"/>
                  <a:gd name="T1" fmla="*/ 0 h 62"/>
                  <a:gd name="T2" fmla="*/ 88 w 88"/>
                  <a:gd name="T3" fmla="*/ 0 h 62"/>
                  <a:gd name="T4" fmla="*/ 84 w 88"/>
                  <a:gd name="T5" fmla="*/ 62 h 62"/>
                  <a:gd name="T6" fmla="*/ 0 w 88"/>
                  <a:gd name="T7" fmla="*/ 62 h 62"/>
                  <a:gd name="T8" fmla="*/ 4 w 88"/>
                  <a:gd name="T9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" h="62">
                    <a:moveTo>
                      <a:pt x="4" y="0"/>
                    </a:moveTo>
                    <a:lnTo>
                      <a:pt x="88" y="0"/>
                    </a:lnTo>
                    <a:lnTo>
                      <a:pt x="84" y="62"/>
                    </a:lnTo>
                    <a:lnTo>
                      <a:pt x="0" y="6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Freeform 10"/>
              <p:cNvSpPr>
                <a:spLocks noEditPoints="1"/>
              </p:cNvSpPr>
              <p:nvPr/>
            </p:nvSpPr>
            <p:spPr bwMode="auto">
              <a:xfrm>
                <a:off x="5397500" y="504825"/>
                <a:ext cx="393700" cy="393700"/>
              </a:xfrm>
              <a:custGeom>
                <a:avLst/>
                <a:gdLst>
                  <a:gd name="T0" fmla="*/ 152 w 248"/>
                  <a:gd name="T1" fmla="*/ 216 h 248"/>
                  <a:gd name="T2" fmla="*/ 138 w 248"/>
                  <a:gd name="T3" fmla="*/ 228 h 248"/>
                  <a:gd name="T4" fmla="*/ 112 w 248"/>
                  <a:gd name="T5" fmla="*/ 242 h 248"/>
                  <a:gd name="T6" fmla="*/ 92 w 248"/>
                  <a:gd name="T7" fmla="*/ 246 h 248"/>
                  <a:gd name="T8" fmla="*/ 80 w 248"/>
                  <a:gd name="T9" fmla="*/ 248 h 248"/>
                  <a:gd name="T10" fmla="*/ 44 w 248"/>
                  <a:gd name="T11" fmla="*/ 242 h 248"/>
                  <a:gd name="T12" fmla="*/ 18 w 248"/>
                  <a:gd name="T13" fmla="*/ 226 h 248"/>
                  <a:gd name="T14" fmla="*/ 4 w 248"/>
                  <a:gd name="T15" fmla="*/ 202 h 248"/>
                  <a:gd name="T16" fmla="*/ 0 w 248"/>
                  <a:gd name="T17" fmla="*/ 174 h 248"/>
                  <a:gd name="T18" fmla="*/ 2 w 248"/>
                  <a:gd name="T19" fmla="*/ 156 h 248"/>
                  <a:gd name="T20" fmla="*/ 20 w 248"/>
                  <a:gd name="T21" fmla="*/ 128 h 248"/>
                  <a:gd name="T22" fmla="*/ 54 w 248"/>
                  <a:gd name="T23" fmla="*/ 108 h 248"/>
                  <a:gd name="T24" fmla="*/ 104 w 248"/>
                  <a:gd name="T25" fmla="*/ 98 h 248"/>
                  <a:gd name="T26" fmla="*/ 162 w 248"/>
                  <a:gd name="T27" fmla="*/ 96 h 248"/>
                  <a:gd name="T28" fmla="*/ 164 w 248"/>
                  <a:gd name="T29" fmla="*/ 78 h 248"/>
                  <a:gd name="T30" fmla="*/ 162 w 248"/>
                  <a:gd name="T31" fmla="*/ 60 h 248"/>
                  <a:gd name="T32" fmla="*/ 154 w 248"/>
                  <a:gd name="T33" fmla="*/ 46 h 248"/>
                  <a:gd name="T34" fmla="*/ 136 w 248"/>
                  <a:gd name="T35" fmla="*/ 40 h 248"/>
                  <a:gd name="T36" fmla="*/ 126 w 248"/>
                  <a:gd name="T37" fmla="*/ 42 h 248"/>
                  <a:gd name="T38" fmla="*/ 114 w 248"/>
                  <a:gd name="T39" fmla="*/ 48 h 248"/>
                  <a:gd name="T40" fmla="*/ 106 w 248"/>
                  <a:gd name="T41" fmla="*/ 66 h 248"/>
                  <a:gd name="T42" fmla="*/ 22 w 248"/>
                  <a:gd name="T43" fmla="*/ 76 h 248"/>
                  <a:gd name="T44" fmla="*/ 24 w 248"/>
                  <a:gd name="T45" fmla="*/ 66 h 248"/>
                  <a:gd name="T46" fmla="*/ 28 w 248"/>
                  <a:gd name="T47" fmla="*/ 46 h 248"/>
                  <a:gd name="T48" fmla="*/ 38 w 248"/>
                  <a:gd name="T49" fmla="*/ 30 h 248"/>
                  <a:gd name="T50" fmla="*/ 54 w 248"/>
                  <a:gd name="T51" fmla="*/ 18 h 248"/>
                  <a:gd name="T52" fmla="*/ 62 w 248"/>
                  <a:gd name="T53" fmla="*/ 14 h 248"/>
                  <a:gd name="T54" fmla="*/ 102 w 248"/>
                  <a:gd name="T55" fmla="*/ 2 h 248"/>
                  <a:gd name="T56" fmla="*/ 144 w 248"/>
                  <a:gd name="T57" fmla="*/ 0 h 248"/>
                  <a:gd name="T58" fmla="*/ 164 w 248"/>
                  <a:gd name="T59" fmla="*/ 0 h 248"/>
                  <a:gd name="T60" fmla="*/ 200 w 248"/>
                  <a:gd name="T61" fmla="*/ 10 h 248"/>
                  <a:gd name="T62" fmla="*/ 230 w 248"/>
                  <a:gd name="T63" fmla="*/ 30 h 248"/>
                  <a:gd name="T64" fmla="*/ 240 w 248"/>
                  <a:gd name="T65" fmla="*/ 44 h 248"/>
                  <a:gd name="T66" fmla="*/ 246 w 248"/>
                  <a:gd name="T67" fmla="*/ 62 h 248"/>
                  <a:gd name="T68" fmla="*/ 248 w 248"/>
                  <a:gd name="T69" fmla="*/ 82 h 248"/>
                  <a:gd name="T70" fmla="*/ 242 w 248"/>
                  <a:gd name="T71" fmla="*/ 196 h 248"/>
                  <a:gd name="T72" fmla="*/ 242 w 248"/>
                  <a:gd name="T73" fmla="*/ 246 h 248"/>
                  <a:gd name="T74" fmla="*/ 152 w 248"/>
                  <a:gd name="T75" fmla="*/ 216 h 248"/>
                  <a:gd name="T76" fmla="*/ 114 w 248"/>
                  <a:gd name="T77" fmla="*/ 200 h 248"/>
                  <a:gd name="T78" fmla="*/ 138 w 248"/>
                  <a:gd name="T79" fmla="*/ 194 h 248"/>
                  <a:gd name="T80" fmla="*/ 152 w 248"/>
                  <a:gd name="T81" fmla="*/ 176 h 248"/>
                  <a:gd name="T82" fmla="*/ 158 w 248"/>
                  <a:gd name="T83" fmla="*/ 154 h 248"/>
                  <a:gd name="T84" fmla="*/ 160 w 248"/>
                  <a:gd name="T85" fmla="*/ 130 h 248"/>
                  <a:gd name="T86" fmla="*/ 122 w 248"/>
                  <a:gd name="T87" fmla="*/ 132 h 248"/>
                  <a:gd name="T88" fmla="*/ 110 w 248"/>
                  <a:gd name="T89" fmla="*/ 134 h 248"/>
                  <a:gd name="T90" fmla="*/ 94 w 248"/>
                  <a:gd name="T91" fmla="*/ 148 h 248"/>
                  <a:gd name="T92" fmla="*/ 86 w 248"/>
                  <a:gd name="T93" fmla="*/ 170 h 248"/>
                  <a:gd name="T94" fmla="*/ 86 w 248"/>
                  <a:gd name="T95" fmla="*/ 176 h 248"/>
                  <a:gd name="T96" fmla="*/ 92 w 248"/>
                  <a:gd name="T97" fmla="*/ 192 h 248"/>
                  <a:gd name="T98" fmla="*/ 102 w 248"/>
                  <a:gd name="T99" fmla="*/ 198 h 248"/>
                  <a:gd name="T100" fmla="*/ 114 w 248"/>
                  <a:gd name="T101" fmla="*/ 20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8" h="248">
                    <a:moveTo>
                      <a:pt x="152" y="216"/>
                    </a:moveTo>
                    <a:lnTo>
                      <a:pt x="152" y="216"/>
                    </a:lnTo>
                    <a:lnTo>
                      <a:pt x="152" y="216"/>
                    </a:lnTo>
                    <a:lnTo>
                      <a:pt x="138" y="228"/>
                    </a:lnTo>
                    <a:lnTo>
                      <a:pt x="122" y="238"/>
                    </a:lnTo>
                    <a:lnTo>
                      <a:pt x="112" y="242"/>
                    </a:lnTo>
                    <a:lnTo>
                      <a:pt x="102" y="246"/>
                    </a:lnTo>
                    <a:lnTo>
                      <a:pt x="92" y="246"/>
                    </a:lnTo>
                    <a:lnTo>
                      <a:pt x="80" y="248"/>
                    </a:lnTo>
                    <a:lnTo>
                      <a:pt x="80" y="248"/>
                    </a:lnTo>
                    <a:lnTo>
                      <a:pt x="60" y="246"/>
                    </a:lnTo>
                    <a:lnTo>
                      <a:pt x="44" y="242"/>
                    </a:lnTo>
                    <a:lnTo>
                      <a:pt x="30" y="234"/>
                    </a:lnTo>
                    <a:lnTo>
                      <a:pt x="18" y="226"/>
                    </a:lnTo>
                    <a:lnTo>
                      <a:pt x="10" y="216"/>
                    </a:lnTo>
                    <a:lnTo>
                      <a:pt x="4" y="202"/>
                    </a:lnTo>
                    <a:lnTo>
                      <a:pt x="0" y="188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2" y="156"/>
                    </a:lnTo>
                    <a:lnTo>
                      <a:pt x="8" y="142"/>
                    </a:lnTo>
                    <a:lnTo>
                      <a:pt x="20" y="128"/>
                    </a:lnTo>
                    <a:lnTo>
                      <a:pt x="34" y="116"/>
                    </a:lnTo>
                    <a:lnTo>
                      <a:pt x="54" y="108"/>
                    </a:lnTo>
                    <a:lnTo>
                      <a:pt x="76" y="102"/>
                    </a:lnTo>
                    <a:lnTo>
                      <a:pt x="104" y="98"/>
                    </a:lnTo>
                    <a:lnTo>
                      <a:pt x="134" y="96"/>
                    </a:lnTo>
                    <a:lnTo>
                      <a:pt x="162" y="96"/>
                    </a:lnTo>
                    <a:lnTo>
                      <a:pt x="162" y="96"/>
                    </a:lnTo>
                    <a:lnTo>
                      <a:pt x="164" y="78"/>
                    </a:lnTo>
                    <a:lnTo>
                      <a:pt x="164" y="70"/>
                    </a:lnTo>
                    <a:lnTo>
                      <a:pt x="162" y="60"/>
                    </a:lnTo>
                    <a:lnTo>
                      <a:pt x="160" y="52"/>
                    </a:lnTo>
                    <a:lnTo>
                      <a:pt x="154" y="46"/>
                    </a:lnTo>
                    <a:lnTo>
                      <a:pt x="146" y="42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26" y="42"/>
                    </a:lnTo>
                    <a:lnTo>
                      <a:pt x="120" y="44"/>
                    </a:lnTo>
                    <a:lnTo>
                      <a:pt x="114" y="48"/>
                    </a:lnTo>
                    <a:lnTo>
                      <a:pt x="110" y="54"/>
                    </a:lnTo>
                    <a:lnTo>
                      <a:pt x="106" y="66"/>
                    </a:lnTo>
                    <a:lnTo>
                      <a:pt x="104" y="76"/>
                    </a:lnTo>
                    <a:lnTo>
                      <a:pt x="22" y="76"/>
                    </a:lnTo>
                    <a:lnTo>
                      <a:pt x="22" y="76"/>
                    </a:lnTo>
                    <a:lnTo>
                      <a:pt x="24" y="66"/>
                    </a:lnTo>
                    <a:lnTo>
                      <a:pt x="26" y="54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38" y="30"/>
                    </a:lnTo>
                    <a:lnTo>
                      <a:pt x="46" y="24"/>
                    </a:lnTo>
                    <a:lnTo>
                      <a:pt x="54" y="18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2" y="6"/>
                    </a:lnTo>
                    <a:lnTo>
                      <a:pt x="102" y="2"/>
                    </a:lnTo>
                    <a:lnTo>
                      <a:pt x="124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64" y="0"/>
                    </a:lnTo>
                    <a:lnTo>
                      <a:pt x="182" y="4"/>
                    </a:lnTo>
                    <a:lnTo>
                      <a:pt x="200" y="10"/>
                    </a:lnTo>
                    <a:lnTo>
                      <a:pt x="216" y="18"/>
                    </a:lnTo>
                    <a:lnTo>
                      <a:pt x="230" y="30"/>
                    </a:lnTo>
                    <a:lnTo>
                      <a:pt x="236" y="38"/>
                    </a:lnTo>
                    <a:lnTo>
                      <a:pt x="240" y="44"/>
                    </a:lnTo>
                    <a:lnTo>
                      <a:pt x="244" y="52"/>
                    </a:lnTo>
                    <a:lnTo>
                      <a:pt x="246" y="62"/>
                    </a:lnTo>
                    <a:lnTo>
                      <a:pt x="248" y="72"/>
                    </a:lnTo>
                    <a:lnTo>
                      <a:pt x="248" y="82"/>
                    </a:lnTo>
                    <a:lnTo>
                      <a:pt x="242" y="196"/>
                    </a:lnTo>
                    <a:lnTo>
                      <a:pt x="242" y="196"/>
                    </a:lnTo>
                    <a:lnTo>
                      <a:pt x="240" y="214"/>
                    </a:lnTo>
                    <a:lnTo>
                      <a:pt x="242" y="246"/>
                    </a:lnTo>
                    <a:lnTo>
                      <a:pt x="158" y="246"/>
                    </a:lnTo>
                    <a:lnTo>
                      <a:pt x="152" y="216"/>
                    </a:lnTo>
                    <a:close/>
                    <a:moveTo>
                      <a:pt x="114" y="200"/>
                    </a:moveTo>
                    <a:lnTo>
                      <a:pt x="114" y="200"/>
                    </a:lnTo>
                    <a:lnTo>
                      <a:pt x="128" y="198"/>
                    </a:lnTo>
                    <a:lnTo>
                      <a:pt x="138" y="194"/>
                    </a:lnTo>
                    <a:lnTo>
                      <a:pt x="146" y="186"/>
                    </a:lnTo>
                    <a:lnTo>
                      <a:pt x="152" y="176"/>
                    </a:lnTo>
                    <a:lnTo>
                      <a:pt x="156" y="166"/>
                    </a:lnTo>
                    <a:lnTo>
                      <a:pt x="158" y="154"/>
                    </a:lnTo>
                    <a:lnTo>
                      <a:pt x="160" y="130"/>
                    </a:lnTo>
                    <a:lnTo>
                      <a:pt x="160" y="130"/>
                    </a:lnTo>
                    <a:lnTo>
                      <a:pt x="134" y="130"/>
                    </a:lnTo>
                    <a:lnTo>
                      <a:pt x="122" y="132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2" y="140"/>
                    </a:lnTo>
                    <a:lnTo>
                      <a:pt x="94" y="148"/>
                    </a:lnTo>
                    <a:lnTo>
                      <a:pt x="88" y="158"/>
                    </a:lnTo>
                    <a:lnTo>
                      <a:pt x="86" y="170"/>
                    </a:lnTo>
                    <a:lnTo>
                      <a:pt x="86" y="170"/>
                    </a:lnTo>
                    <a:lnTo>
                      <a:pt x="86" y="176"/>
                    </a:lnTo>
                    <a:lnTo>
                      <a:pt x="88" y="182"/>
                    </a:lnTo>
                    <a:lnTo>
                      <a:pt x="92" y="192"/>
                    </a:lnTo>
                    <a:lnTo>
                      <a:pt x="96" y="194"/>
                    </a:lnTo>
                    <a:lnTo>
                      <a:pt x="102" y="198"/>
                    </a:lnTo>
                    <a:lnTo>
                      <a:pt x="108" y="200"/>
                    </a:lnTo>
                    <a:lnTo>
                      <a:pt x="114" y="200"/>
                    </a:lnTo>
                    <a:lnTo>
                      <a:pt x="114" y="2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11"/>
              <p:cNvSpPr>
                <a:spLocks noEditPoints="1"/>
              </p:cNvSpPr>
              <p:nvPr/>
            </p:nvSpPr>
            <p:spPr bwMode="auto">
              <a:xfrm>
                <a:off x="6092825" y="352425"/>
                <a:ext cx="454025" cy="542925"/>
              </a:xfrm>
              <a:custGeom>
                <a:avLst/>
                <a:gdLst>
                  <a:gd name="T0" fmla="*/ 0 w 286"/>
                  <a:gd name="T1" fmla="*/ 342 h 342"/>
                  <a:gd name="T2" fmla="*/ 24 w 286"/>
                  <a:gd name="T3" fmla="*/ 0 h 342"/>
                  <a:gd name="T4" fmla="*/ 114 w 286"/>
                  <a:gd name="T5" fmla="*/ 0 h 342"/>
                  <a:gd name="T6" fmla="*/ 90 w 286"/>
                  <a:gd name="T7" fmla="*/ 342 h 342"/>
                  <a:gd name="T8" fmla="*/ 0 w 286"/>
                  <a:gd name="T9" fmla="*/ 342 h 342"/>
                  <a:gd name="T10" fmla="*/ 100 w 286"/>
                  <a:gd name="T11" fmla="*/ 210 h 342"/>
                  <a:gd name="T12" fmla="*/ 184 w 286"/>
                  <a:gd name="T13" fmla="*/ 104 h 342"/>
                  <a:gd name="T14" fmla="*/ 286 w 286"/>
                  <a:gd name="T15" fmla="*/ 104 h 342"/>
                  <a:gd name="T16" fmla="*/ 194 w 286"/>
                  <a:gd name="T17" fmla="*/ 204 h 342"/>
                  <a:gd name="T18" fmla="*/ 282 w 286"/>
                  <a:gd name="T19" fmla="*/ 342 h 342"/>
                  <a:gd name="T20" fmla="*/ 170 w 286"/>
                  <a:gd name="T21" fmla="*/ 342 h 342"/>
                  <a:gd name="T22" fmla="*/ 100 w 286"/>
                  <a:gd name="T23" fmla="*/ 21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6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4" y="0"/>
                    </a:lnTo>
                    <a:lnTo>
                      <a:pt x="90" y="342"/>
                    </a:lnTo>
                    <a:lnTo>
                      <a:pt x="0" y="342"/>
                    </a:lnTo>
                    <a:close/>
                    <a:moveTo>
                      <a:pt x="100" y="210"/>
                    </a:moveTo>
                    <a:lnTo>
                      <a:pt x="184" y="104"/>
                    </a:lnTo>
                    <a:lnTo>
                      <a:pt x="286" y="104"/>
                    </a:lnTo>
                    <a:lnTo>
                      <a:pt x="194" y="204"/>
                    </a:lnTo>
                    <a:lnTo>
                      <a:pt x="282" y="342"/>
                    </a:lnTo>
                    <a:lnTo>
                      <a:pt x="170" y="342"/>
                    </a:lnTo>
                    <a:lnTo>
                      <a:pt x="10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12"/>
              <p:cNvSpPr>
                <a:spLocks/>
              </p:cNvSpPr>
              <p:nvPr/>
            </p:nvSpPr>
            <p:spPr bwMode="auto">
              <a:xfrm>
                <a:off x="3606800" y="517525"/>
                <a:ext cx="292100" cy="377825"/>
              </a:xfrm>
              <a:custGeom>
                <a:avLst/>
                <a:gdLst>
                  <a:gd name="T0" fmla="*/ 104 w 184"/>
                  <a:gd name="T1" fmla="*/ 34 h 238"/>
                  <a:gd name="T2" fmla="*/ 106 w 184"/>
                  <a:gd name="T3" fmla="*/ 34 h 238"/>
                  <a:gd name="T4" fmla="*/ 106 w 184"/>
                  <a:gd name="T5" fmla="*/ 34 h 238"/>
                  <a:gd name="T6" fmla="*/ 114 w 184"/>
                  <a:gd name="T7" fmla="*/ 24 h 238"/>
                  <a:gd name="T8" fmla="*/ 124 w 184"/>
                  <a:gd name="T9" fmla="*/ 16 h 238"/>
                  <a:gd name="T10" fmla="*/ 132 w 184"/>
                  <a:gd name="T11" fmla="*/ 10 h 238"/>
                  <a:gd name="T12" fmla="*/ 142 w 184"/>
                  <a:gd name="T13" fmla="*/ 6 h 238"/>
                  <a:gd name="T14" fmla="*/ 152 w 184"/>
                  <a:gd name="T15" fmla="*/ 4 h 238"/>
                  <a:gd name="T16" fmla="*/ 162 w 184"/>
                  <a:gd name="T17" fmla="*/ 2 h 238"/>
                  <a:gd name="T18" fmla="*/ 184 w 184"/>
                  <a:gd name="T19" fmla="*/ 0 h 238"/>
                  <a:gd name="T20" fmla="*/ 178 w 184"/>
                  <a:gd name="T21" fmla="*/ 76 h 238"/>
                  <a:gd name="T22" fmla="*/ 178 w 184"/>
                  <a:gd name="T23" fmla="*/ 76 h 238"/>
                  <a:gd name="T24" fmla="*/ 160 w 184"/>
                  <a:gd name="T25" fmla="*/ 76 h 238"/>
                  <a:gd name="T26" fmla="*/ 160 w 184"/>
                  <a:gd name="T27" fmla="*/ 76 h 238"/>
                  <a:gd name="T28" fmla="*/ 140 w 184"/>
                  <a:gd name="T29" fmla="*/ 78 h 238"/>
                  <a:gd name="T30" fmla="*/ 126 w 184"/>
                  <a:gd name="T31" fmla="*/ 82 h 238"/>
                  <a:gd name="T32" fmla="*/ 116 w 184"/>
                  <a:gd name="T33" fmla="*/ 88 h 238"/>
                  <a:gd name="T34" fmla="*/ 108 w 184"/>
                  <a:gd name="T35" fmla="*/ 98 h 238"/>
                  <a:gd name="T36" fmla="*/ 102 w 184"/>
                  <a:gd name="T37" fmla="*/ 108 h 238"/>
                  <a:gd name="T38" fmla="*/ 100 w 184"/>
                  <a:gd name="T39" fmla="*/ 120 h 238"/>
                  <a:gd name="T40" fmla="*/ 98 w 184"/>
                  <a:gd name="T41" fmla="*/ 148 h 238"/>
                  <a:gd name="T42" fmla="*/ 92 w 184"/>
                  <a:gd name="T43" fmla="*/ 238 h 238"/>
                  <a:gd name="T44" fmla="*/ 0 w 184"/>
                  <a:gd name="T45" fmla="*/ 238 h 238"/>
                  <a:gd name="T46" fmla="*/ 12 w 184"/>
                  <a:gd name="T47" fmla="*/ 62 h 238"/>
                  <a:gd name="T48" fmla="*/ 12 w 184"/>
                  <a:gd name="T49" fmla="*/ 62 h 238"/>
                  <a:gd name="T50" fmla="*/ 14 w 184"/>
                  <a:gd name="T51" fmla="*/ 32 h 238"/>
                  <a:gd name="T52" fmla="*/ 14 w 184"/>
                  <a:gd name="T53" fmla="*/ 0 h 238"/>
                  <a:gd name="T54" fmla="*/ 102 w 184"/>
                  <a:gd name="T55" fmla="*/ 0 h 238"/>
                  <a:gd name="T56" fmla="*/ 104 w 184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4" h="238">
                    <a:moveTo>
                      <a:pt x="104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4" y="24"/>
                    </a:lnTo>
                    <a:lnTo>
                      <a:pt x="124" y="16"/>
                    </a:lnTo>
                    <a:lnTo>
                      <a:pt x="132" y="10"/>
                    </a:lnTo>
                    <a:lnTo>
                      <a:pt x="142" y="6"/>
                    </a:lnTo>
                    <a:lnTo>
                      <a:pt x="152" y="4"/>
                    </a:lnTo>
                    <a:lnTo>
                      <a:pt x="162" y="2"/>
                    </a:lnTo>
                    <a:lnTo>
                      <a:pt x="184" y="0"/>
                    </a:lnTo>
                    <a:lnTo>
                      <a:pt x="178" y="76"/>
                    </a:lnTo>
                    <a:lnTo>
                      <a:pt x="178" y="76"/>
                    </a:lnTo>
                    <a:lnTo>
                      <a:pt x="160" y="76"/>
                    </a:lnTo>
                    <a:lnTo>
                      <a:pt x="160" y="76"/>
                    </a:lnTo>
                    <a:lnTo>
                      <a:pt x="140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2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4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13"/>
              <p:cNvSpPr>
                <a:spLocks/>
              </p:cNvSpPr>
              <p:nvPr/>
            </p:nvSpPr>
            <p:spPr bwMode="auto">
              <a:xfrm>
                <a:off x="3889375" y="352425"/>
                <a:ext cx="174625" cy="542925"/>
              </a:xfrm>
              <a:custGeom>
                <a:avLst/>
                <a:gdLst>
                  <a:gd name="T0" fmla="*/ 0 w 110"/>
                  <a:gd name="T1" fmla="*/ 342 h 342"/>
                  <a:gd name="T2" fmla="*/ 24 w 110"/>
                  <a:gd name="T3" fmla="*/ 0 h 342"/>
                  <a:gd name="T4" fmla="*/ 110 w 110"/>
                  <a:gd name="T5" fmla="*/ 0 h 342"/>
                  <a:gd name="T6" fmla="*/ 86 w 110"/>
                  <a:gd name="T7" fmla="*/ 342 h 342"/>
                  <a:gd name="T8" fmla="*/ 0 w 110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0" y="0"/>
                    </a:lnTo>
                    <a:lnTo>
                      <a:pt x="86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14"/>
              <p:cNvSpPr>
                <a:spLocks noEditPoints="1"/>
              </p:cNvSpPr>
              <p:nvPr/>
            </p:nvSpPr>
            <p:spPr bwMode="auto">
              <a:xfrm>
                <a:off x="2740025" y="352425"/>
                <a:ext cx="438150" cy="546100"/>
              </a:xfrm>
              <a:custGeom>
                <a:avLst/>
                <a:gdLst>
                  <a:gd name="T0" fmla="*/ 112 w 276"/>
                  <a:gd name="T1" fmla="*/ 0 h 344"/>
                  <a:gd name="T2" fmla="*/ 104 w 276"/>
                  <a:gd name="T3" fmla="*/ 136 h 344"/>
                  <a:gd name="T4" fmla="*/ 120 w 276"/>
                  <a:gd name="T5" fmla="*/ 122 h 344"/>
                  <a:gd name="T6" fmla="*/ 146 w 276"/>
                  <a:gd name="T7" fmla="*/ 104 h 344"/>
                  <a:gd name="T8" fmla="*/ 168 w 276"/>
                  <a:gd name="T9" fmla="*/ 98 h 344"/>
                  <a:gd name="T10" fmla="*/ 180 w 276"/>
                  <a:gd name="T11" fmla="*/ 98 h 344"/>
                  <a:gd name="T12" fmla="*/ 206 w 276"/>
                  <a:gd name="T13" fmla="*/ 100 h 344"/>
                  <a:gd name="T14" fmla="*/ 226 w 276"/>
                  <a:gd name="T15" fmla="*/ 108 h 344"/>
                  <a:gd name="T16" fmla="*/ 244 w 276"/>
                  <a:gd name="T17" fmla="*/ 120 h 344"/>
                  <a:gd name="T18" fmla="*/ 258 w 276"/>
                  <a:gd name="T19" fmla="*/ 136 h 344"/>
                  <a:gd name="T20" fmla="*/ 274 w 276"/>
                  <a:gd name="T21" fmla="*/ 176 h 344"/>
                  <a:gd name="T22" fmla="*/ 276 w 276"/>
                  <a:gd name="T23" fmla="*/ 220 h 344"/>
                  <a:gd name="T24" fmla="*/ 274 w 276"/>
                  <a:gd name="T25" fmla="*/ 242 h 344"/>
                  <a:gd name="T26" fmla="*/ 260 w 276"/>
                  <a:gd name="T27" fmla="*/ 284 h 344"/>
                  <a:gd name="T28" fmla="*/ 240 w 276"/>
                  <a:gd name="T29" fmla="*/ 312 h 344"/>
                  <a:gd name="T30" fmla="*/ 222 w 276"/>
                  <a:gd name="T31" fmla="*/ 328 h 344"/>
                  <a:gd name="T32" fmla="*/ 202 w 276"/>
                  <a:gd name="T33" fmla="*/ 338 h 344"/>
                  <a:gd name="T34" fmla="*/ 176 w 276"/>
                  <a:gd name="T35" fmla="*/ 344 h 344"/>
                  <a:gd name="T36" fmla="*/ 160 w 276"/>
                  <a:gd name="T37" fmla="*/ 344 h 344"/>
                  <a:gd name="T38" fmla="*/ 140 w 276"/>
                  <a:gd name="T39" fmla="*/ 342 h 344"/>
                  <a:gd name="T40" fmla="*/ 106 w 276"/>
                  <a:gd name="T41" fmla="*/ 324 h 344"/>
                  <a:gd name="T42" fmla="*/ 92 w 276"/>
                  <a:gd name="T43" fmla="*/ 312 h 344"/>
                  <a:gd name="T44" fmla="*/ 0 w 276"/>
                  <a:gd name="T45" fmla="*/ 342 h 344"/>
                  <a:gd name="T46" fmla="*/ 94 w 276"/>
                  <a:gd name="T47" fmla="*/ 226 h 344"/>
                  <a:gd name="T48" fmla="*/ 96 w 276"/>
                  <a:gd name="T49" fmla="*/ 250 h 344"/>
                  <a:gd name="T50" fmla="*/ 102 w 276"/>
                  <a:gd name="T51" fmla="*/ 272 h 344"/>
                  <a:gd name="T52" fmla="*/ 114 w 276"/>
                  <a:gd name="T53" fmla="*/ 288 h 344"/>
                  <a:gd name="T54" fmla="*/ 134 w 276"/>
                  <a:gd name="T55" fmla="*/ 296 h 344"/>
                  <a:gd name="T56" fmla="*/ 148 w 276"/>
                  <a:gd name="T57" fmla="*/ 294 h 344"/>
                  <a:gd name="T58" fmla="*/ 168 w 276"/>
                  <a:gd name="T59" fmla="*/ 282 h 344"/>
                  <a:gd name="T60" fmla="*/ 180 w 276"/>
                  <a:gd name="T61" fmla="*/ 260 h 344"/>
                  <a:gd name="T62" fmla="*/ 186 w 276"/>
                  <a:gd name="T63" fmla="*/ 222 h 344"/>
                  <a:gd name="T64" fmla="*/ 186 w 276"/>
                  <a:gd name="T65" fmla="*/ 198 h 344"/>
                  <a:gd name="T66" fmla="*/ 180 w 276"/>
                  <a:gd name="T67" fmla="*/ 174 h 344"/>
                  <a:gd name="T68" fmla="*/ 168 w 276"/>
                  <a:gd name="T69" fmla="*/ 156 h 344"/>
                  <a:gd name="T70" fmla="*/ 146 w 276"/>
                  <a:gd name="T71" fmla="*/ 150 h 344"/>
                  <a:gd name="T72" fmla="*/ 132 w 276"/>
                  <a:gd name="T73" fmla="*/ 152 h 344"/>
                  <a:gd name="T74" fmla="*/ 112 w 276"/>
                  <a:gd name="T75" fmla="*/ 166 h 344"/>
                  <a:gd name="T76" fmla="*/ 100 w 276"/>
                  <a:gd name="T77" fmla="*/ 188 h 344"/>
                  <a:gd name="T78" fmla="*/ 94 w 276"/>
                  <a:gd name="T79" fmla="*/ 226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6" h="344">
                    <a:moveTo>
                      <a:pt x="24" y="0"/>
                    </a:moveTo>
                    <a:lnTo>
                      <a:pt x="112" y="0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20" y="122"/>
                    </a:lnTo>
                    <a:lnTo>
                      <a:pt x="138" y="108"/>
                    </a:lnTo>
                    <a:lnTo>
                      <a:pt x="146" y="104"/>
                    </a:lnTo>
                    <a:lnTo>
                      <a:pt x="158" y="100"/>
                    </a:lnTo>
                    <a:lnTo>
                      <a:pt x="168" y="98"/>
                    </a:lnTo>
                    <a:lnTo>
                      <a:pt x="180" y="98"/>
                    </a:lnTo>
                    <a:lnTo>
                      <a:pt x="180" y="98"/>
                    </a:lnTo>
                    <a:lnTo>
                      <a:pt x="194" y="98"/>
                    </a:lnTo>
                    <a:lnTo>
                      <a:pt x="206" y="100"/>
                    </a:lnTo>
                    <a:lnTo>
                      <a:pt x="216" y="104"/>
                    </a:lnTo>
                    <a:lnTo>
                      <a:pt x="226" y="108"/>
                    </a:lnTo>
                    <a:lnTo>
                      <a:pt x="236" y="114"/>
                    </a:lnTo>
                    <a:lnTo>
                      <a:pt x="244" y="120"/>
                    </a:lnTo>
                    <a:lnTo>
                      <a:pt x="250" y="128"/>
                    </a:lnTo>
                    <a:lnTo>
                      <a:pt x="258" y="136"/>
                    </a:lnTo>
                    <a:lnTo>
                      <a:pt x="266" y="156"/>
                    </a:lnTo>
                    <a:lnTo>
                      <a:pt x="274" y="176"/>
                    </a:lnTo>
                    <a:lnTo>
                      <a:pt x="276" y="198"/>
                    </a:lnTo>
                    <a:lnTo>
                      <a:pt x="276" y="220"/>
                    </a:lnTo>
                    <a:lnTo>
                      <a:pt x="276" y="220"/>
                    </a:lnTo>
                    <a:lnTo>
                      <a:pt x="274" y="242"/>
                    </a:lnTo>
                    <a:lnTo>
                      <a:pt x="268" y="264"/>
                    </a:lnTo>
                    <a:lnTo>
                      <a:pt x="260" y="284"/>
                    </a:lnTo>
                    <a:lnTo>
                      <a:pt x="248" y="304"/>
                    </a:lnTo>
                    <a:lnTo>
                      <a:pt x="240" y="312"/>
                    </a:lnTo>
                    <a:lnTo>
                      <a:pt x="232" y="320"/>
                    </a:lnTo>
                    <a:lnTo>
                      <a:pt x="222" y="328"/>
                    </a:lnTo>
                    <a:lnTo>
                      <a:pt x="212" y="334"/>
                    </a:lnTo>
                    <a:lnTo>
                      <a:pt x="202" y="338"/>
                    </a:lnTo>
                    <a:lnTo>
                      <a:pt x="188" y="342"/>
                    </a:lnTo>
                    <a:lnTo>
                      <a:pt x="176" y="344"/>
                    </a:lnTo>
                    <a:lnTo>
                      <a:pt x="160" y="344"/>
                    </a:lnTo>
                    <a:lnTo>
                      <a:pt x="160" y="344"/>
                    </a:lnTo>
                    <a:lnTo>
                      <a:pt x="150" y="344"/>
                    </a:lnTo>
                    <a:lnTo>
                      <a:pt x="140" y="342"/>
                    </a:lnTo>
                    <a:lnTo>
                      <a:pt x="122" y="336"/>
                    </a:lnTo>
                    <a:lnTo>
                      <a:pt x="106" y="324"/>
                    </a:lnTo>
                    <a:lnTo>
                      <a:pt x="94" y="312"/>
                    </a:lnTo>
                    <a:lnTo>
                      <a:pt x="92" y="312"/>
                    </a:lnTo>
                    <a:lnTo>
                      <a:pt x="88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  <a:moveTo>
                      <a:pt x="94" y="226"/>
                    </a:moveTo>
                    <a:lnTo>
                      <a:pt x="94" y="226"/>
                    </a:lnTo>
                    <a:lnTo>
                      <a:pt x="96" y="250"/>
                    </a:lnTo>
                    <a:lnTo>
                      <a:pt x="98" y="260"/>
                    </a:lnTo>
                    <a:lnTo>
                      <a:pt x="102" y="272"/>
                    </a:lnTo>
                    <a:lnTo>
                      <a:pt x="106" y="282"/>
                    </a:lnTo>
                    <a:lnTo>
                      <a:pt x="114" y="288"/>
                    </a:lnTo>
                    <a:lnTo>
                      <a:pt x="122" y="294"/>
                    </a:lnTo>
                    <a:lnTo>
                      <a:pt x="134" y="296"/>
                    </a:lnTo>
                    <a:lnTo>
                      <a:pt x="134" y="296"/>
                    </a:lnTo>
                    <a:lnTo>
                      <a:pt x="148" y="294"/>
                    </a:lnTo>
                    <a:lnTo>
                      <a:pt x="158" y="288"/>
                    </a:lnTo>
                    <a:lnTo>
                      <a:pt x="168" y="282"/>
                    </a:lnTo>
                    <a:lnTo>
                      <a:pt x="174" y="272"/>
                    </a:lnTo>
                    <a:lnTo>
                      <a:pt x="180" y="260"/>
                    </a:lnTo>
                    <a:lnTo>
                      <a:pt x="184" y="248"/>
                    </a:lnTo>
                    <a:lnTo>
                      <a:pt x="186" y="222"/>
                    </a:lnTo>
                    <a:lnTo>
                      <a:pt x="186" y="222"/>
                    </a:lnTo>
                    <a:lnTo>
                      <a:pt x="186" y="198"/>
                    </a:lnTo>
                    <a:lnTo>
                      <a:pt x="184" y="186"/>
                    </a:lnTo>
                    <a:lnTo>
                      <a:pt x="180" y="174"/>
                    </a:lnTo>
                    <a:lnTo>
                      <a:pt x="176" y="164"/>
                    </a:lnTo>
                    <a:lnTo>
                      <a:pt x="168" y="156"/>
                    </a:lnTo>
                    <a:lnTo>
                      <a:pt x="158" y="152"/>
                    </a:lnTo>
                    <a:lnTo>
                      <a:pt x="146" y="150"/>
                    </a:lnTo>
                    <a:lnTo>
                      <a:pt x="146" y="150"/>
                    </a:lnTo>
                    <a:lnTo>
                      <a:pt x="132" y="152"/>
                    </a:lnTo>
                    <a:lnTo>
                      <a:pt x="120" y="156"/>
                    </a:lnTo>
                    <a:lnTo>
                      <a:pt x="112" y="166"/>
                    </a:lnTo>
                    <a:lnTo>
                      <a:pt x="104" y="176"/>
                    </a:lnTo>
                    <a:lnTo>
                      <a:pt x="100" y="188"/>
                    </a:lnTo>
                    <a:lnTo>
                      <a:pt x="98" y="200"/>
                    </a:lnTo>
                    <a:lnTo>
                      <a:pt x="94" y="226"/>
                    </a:lnTo>
                    <a:lnTo>
                      <a:pt x="94" y="2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15"/>
              <p:cNvSpPr>
                <a:spLocks noEditPoints="1"/>
              </p:cNvSpPr>
              <p:nvPr/>
            </p:nvSpPr>
            <p:spPr bwMode="auto">
              <a:xfrm>
                <a:off x="3197225" y="504825"/>
                <a:ext cx="406400" cy="396875"/>
              </a:xfrm>
              <a:custGeom>
                <a:avLst/>
                <a:gdLst>
                  <a:gd name="T0" fmla="*/ 86 w 256"/>
                  <a:gd name="T1" fmla="*/ 142 h 250"/>
                  <a:gd name="T2" fmla="*/ 86 w 256"/>
                  <a:gd name="T3" fmla="*/ 166 h 250"/>
                  <a:gd name="T4" fmla="*/ 90 w 256"/>
                  <a:gd name="T5" fmla="*/ 184 h 250"/>
                  <a:gd name="T6" fmla="*/ 102 w 256"/>
                  <a:gd name="T7" fmla="*/ 196 h 250"/>
                  <a:gd name="T8" fmla="*/ 124 w 256"/>
                  <a:gd name="T9" fmla="*/ 202 h 250"/>
                  <a:gd name="T10" fmla="*/ 132 w 256"/>
                  <a:gd name="T11" fmla="*/ 200 h 250"/>
                  <a:gd name="T12" fmla="*/ 148 w 256"/>
                  <a:gd name="T13" fmla="*/ 196 h 250"/>
                  <a:gd name="T14" fmla="*/ 158 w 256"/>
                  <a:gd name="T15" fmla="*/ 186 h 250"/>
                  <a:gd name="T16" fmla="*/ 164 w 256"/>
                  <a:gd name="T17" fmla="*/ 174 h 250"/>
                  <a:gd name="T18" fmla="*/ 248 w 256"/>
                  <a:gd name="T19" fmla="*/ 170 h 250"/>
                  <a:gd name="T20" fmla="*/ 246 w 256"/>
                  <a:gd name="T21" fmla="*/ 180 h 250"/>
                  <a:gd name="T22" fmla="*/ 238 w 256"/>
                  <a:gd name="T23" fmla="*/ 198 h 250"/>
                  <a:gd name="T24" fmla="*/ 218 w 256"/>
                  <a:gd name="T25" fmla="*/ 222 h 250"/>
                  <a:gd name="T26" fmla="*/ 202 w 256"/>
                  <a:gd name="T27" fmla="*/ 234 h 250"/>
                  <a:gd name="T28" fmla="*/ 168 w 256"/>
                  <a:gd name="T29" fmla="*/ 246 h 250"/>
                  <a:gd name="T30" fmla="*/ 128 w 256"/>
                  <a:gd name="T31" fmla="*/ 250 h 250"/>
                  <a:gd name="T32" fmla="*/ 96 w 256"/>
                  <a:gd name="T33" fmla="*/ 248 h 250"/>
                  <a:gd name="T34" fmla="*/ 66 w 256"/>
                  <a:gd name="T35" fmla="*/ 242 h 250"/>
                  <a:gd name="T36" fmla="*/ 44 w 256"/>
                  <a:gd name="T37" fmla="*/ 232 h 250"/>
                  <a:gd name="T38" fmla="*/ 26 w 256"/>
                  <a:gd name="T39" fmla="*/ 218 h 250"/>
                  <a:gd name="T40" fmla="*/ 12 w 256"/>
                  <a:gd name="T41" fmla="*/ 200 h 250"/>
                  <a:gd name="T42" fmla="*/ 4 w 256"/>
                  <a:gd name="T43" fmla="*/ 178 h 250"/>
                  <a:gd name="T44" fmla="*/ 0 w 256"/>
                  <a:gd name="T45" fmla="*/ 150 h 250"/>
                  <a:gd name="T46" fmla="*/ 0 w 256"/>
                  <a:gd name="T47" fmla="*/ 118 h 250"/>
                  <a:gd name="T48" fmla="*/ 4 w 256"/>
                  <a:gd name="T49" fmla="*/ 92 h 250"/>
                  <a:gd name="T50" fmla="*/ 14 w 256"/>
                  <a:gd name="T51" fmla="*/ 68 h 250"/>
                  <a:gd name="T52" fmla="*/ 26 w 256"/>
                  <a:gd name="T53" fmla="*/ 48 h 250"/>
                  <a:gd name="T54" fmla="*/ 44 w 256"/>
                  <a:gd name="T55" fmla="*/ 32 h 250"/>
                  <a:gd name="T56" fmla="*/ 86 w 256"/>
                  <a:gd name="T57" fmla="*/ 8 h 250"/>
                  <a:gd name="T58" fmla="*/ 138 w 256"/>
                  <a:gd name="T59" fmla="*/ 0 h 250"/>
                  <a:gd name="T60" fmla="*/ 154 w 256"/>
                  <a:gd name="T61" fmla="*/ 2 h 250"/>
                  <a:gd name="T62" fmla="*/ 184 w 256"/>
                  <a:gd name="T63" fmla="*/ 6 h 250"/>
                  <a:gd name="T64" fmla="*/ 208 w 256"/>
                  <a:gd name="T65" fmla="*/ 18 h 250"/>
                  <a:gd name="T66" fmla="*/ 228 w 256"/>
                  <a:gd name="T67" fmla="*/ 32 h 250"/>
                  <a:gd name="T68" fmla="*/ 242 w 256"/>
                  <a:gd name="T69" fmla="*/ 50 h 250"/>
                  <a:gd name="T70" fmla="*/ 250 w 256"/>
                  <a:gd name="T71" fmla="*/ 72 h 250"/>
                  <a:gd name="T72" fmla="*/ 256 w 256"/>
                  <a:gd name="T73" fmla="*/ 112 h 250"/>
                  <a:gd name="T74" fmla="*/ 86 w 256"/>
                  <a:gd name="T75" fmla="*/ 142 h 250"/>
                  <a:gd name="T76" fmla="*/ 172 w 256"/>
                  <a:gd name="T77" fmla="*/ 98 h 250"/>
                  <a:gd name="T78" fmla="*/ 170 w 256"/>
                  <a:gd name="T79" fmla="*/ 78 h 250"/>
                  <a:gd name="T80" fmla="*/ 164 w 256"/>
                  <a:gd name="T81" fmla="*/ 62 h 250"/>
                  <a:gd name="T82" fmla="*/ 158 w 256"/>
                  <a:gd name="T83" fmla="*/ 56 h 250"/>
                  <a:gd name="T84" fmla="*/ 142 w 256"/>
                  <a:gd name="T85" fmla="*/ 48 h 250"/>
                  <a:gd name="T86" fmla="*/ 134 w 256"/>
                  <a:gd name="T87" fmla="*/ 46 h 250"/>
                  <a:gd name="T88" fmla="*/ 114 w 256"/>
                  <a:gd name="T89" fmla="*/ 52 h 250"/>
                  <a:gd name="T90" fmla="*/ 102 w 256"/>
                  <a:gd name="T91" fmla="*/ 62 h 250"/>
                  <a:gd name="T92" fmla="*/ 94 w 256"/>
                  <a:gd name="T93" fmla="*/ 78 h 250"/>
                  <a:gd name="T94" fmla="*/ 172 w 256"/>
                  <a:gd name="T95" fmla="*/ 98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6" h="250">
                    <a:moveTo>
                      <a:pt x="86" y="142"/>
                    </a:moveTo>
                    <a:lnTo>
                      <a:pt x="86" y="142"/>
                    </a:lnTo>
                    <a:lnTo>
                      <a:pt x="84" y="154"/>
                    </a:lnTo>
                    <a:lnTo>
                      <a:pt x="86" y="166"/>
                    </a:lnTo>
                    <a:lnTo>
                      <a:pt x="88" y="176"/>
                    </a:lnTo>
                    <a:lnTo>
                      <a:pt x="90" y="184"/>
                    </a:lnTo>
                    <a:lnTo>
                      <a:pt x="96" y="192"/>
                    </a:lnTo>
                    <a:lnTo>
                      <a:pt x="102" y="196"/>
                    </a:lnTo>
                    <a:lnTo>
                      <a:pt x="112" y="200"/>
                    </a:lnTo>
                    <a:lnTo>
                      <a:pt x="124" y="202"/>
                    </a:lnTo>
                    <a:lnTo>
                      <a:pt x="124" y="202"/>
                    </a:lnTo>
                    <a:lnTo>
                      <a:pt x="132" y="200"/>
                    </a:lnTo>
                    <a:lnTo>
                      <a:pt x="140" y="198"/>
                    </a:lnTo>
                    <a:lnTo>
                      <a:pt x="148" y="196"/>
                    </a:lnTo>
                    <a:lnTo>
                      <a:pt x="154" y="192"/>
                    </a:lnTo>
                    <a:lnTo>
                      <a:pt x="158" y="186"/>
                    </a:lnTo>
                    <a:lnTo>
                      <a:pt x="162" y="180"/>
                    </a:lnTo>
                    <a:lnTo>
                      <a:pt x="164" y="174"/>
                    </a:lnTo>
                    <a:lnTo>
                      <a:pt x="164" y="170"/>
                    </a:lnTo>
                    <a:lnTo>
                      <a:pt x="248" y="170"/>
                    </a:lnTo>
                    <a:lnTo>
                      <a:pt x="248" y="170"/>
                    </a:lnTo>
                    <a:lnTo>
                      <a:pt x="246" y="180"/>
                    </a:lnTo>
                    <a:lnTo>
                      <a:pt x="242" y="190"/>
                    </a:lnTo>
                    <a:lnTo>
                      <a:pt x="238" y="198"/>
                    </a:lnTo>
                    <a:lnTo>
                      <a:pt x="232" y="208"/>
                    </a:lnTo>
                    <a:lnTo>
                      <a:pt x="218" y="222"/>
                    </a:lnTo>
                    <a:lnTo>
                      <a:pt x="202" y="234"/>
                    </a:lnTo>
                    <a:lnTo>
                      <a:pt x="202" y="234"/>
                    </a:lnTo>
                    <a:lnTo>
                      <a:pt x="186" y="242"/>
                    </a:lnTo>
                    <a:lnTo>
                      <a:pt x="168" y="246"/>
                    </a:lnTo>
                    <a:lnTo>
                      <a:pt x="148" y="248"/>
                    </a:lnTo>
                    <a:lnTo>
                      <a:pt x="128" y="250"/>
                    </a:lnTo>
                    <a:lnTo>
                      <a:pt x="128" y="250"/>
                    </a:lnTo>
                    <a:lnTo>
                      <a:pt x="96" y="248"/>
                    </a:lnTo>
                    <a:lnTo>
                      <a:pt x="80" y="244"/>
                    </a:lnTo>
                    <a:lnTo>
                      <a:pt x="66" y="242"/>
                    </a:lnTo>
                    <a:lnTo>
                      <a:pt x="54" y="238"/>
                    </a:lnTo>
                    <a:lnTo>
                      <a:pt x="44" y="232"/>
                    </a:lnTo>
                    <a:lnTo>
                      <a:pt x="34" y="226"/>
                    </a:lnTo>
                    <a:lnTo>
                      <a:pt x="26" y="218"/>
                    </a:lnTo>
                    <a:lnTo>
                      <a:pt x="18" y="210"/>
                    </a:lnTo>
                    <a:lnTo>
                      <a:pt x="12" y="200"/>
                    </a:lnTo>
                    <a:lnTo>
                      <a:pt x="8" y="190"/>
                    </a:lnTo>
                    <a:lnTo>
                      <a:pt x="4" y="178"/>
                    </a:lnTo>
                    <a:lnTo>
                      <a:pt x="2" y="164"/>
                    </a:lnTo>
                    <a:lnTo>
                      <a:pt x="0" y="150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2" y="106"/>
                    </a:lnTo>
                    <a:lnTo>
                      <a:pt x="4" y="92"/>
                    </a:lnTo>
                    <a:lnTo>
                      <a:pt x="8" y="80"/>
                    </a:lnTo>
                    <a:lnTo>
                      <a:pt x="14" y="68"/>
                    </a:lnTo>
                    <a:lnTo>
                      <a:pt x="20" y="58"/>
                    </a:lnTo>
                    <a:lnTo>
                      <a:pt x="26" y="48"/>
                    </a:lnTo>
                    <a:lnTo>
                      <a:pt x="34" y="40"/>
                    </a:lnTo>
                    <a:lnTo>
                      <a:pt x="44" y="32"/>
                    </a:lnTo>
                    <a:lnTo>
                      <a:pt x="64" y="18"/>
                    </a:lnTo>
                    <a:lnTo>
                      <a:pt x="86" y="8"/>
                    </a:lnTo>
                    <a:lnTo>
                      <a:pt x="110" y="2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4" y="2"/>
                    </a:lnTo>
                    <a:lnTo>
                      <a:pt x="170" y="4"/>
                    </a:lnTo>
                    <a:lnTo>
                      <a:pt x="184" y="6"/>
                    </a:lnTo>
                    <a:lnTo>
                      <a:pt x="196" y="12"/>
                    </a:lnTo>
                    <a:lnTo>
                      <a:pt x="208" y="18"/>
                    </a:lnTo>
                    <a:lnTo>
                      <a:pt x="218" y="24"/>
                    </a:lnTo>
                    <a:lnTo>
                      <a:pt x="228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46" y="60"/>
                    </a:lnTo>
                    <a:lnTo>
                      <a:pt x="250" y="72"/>
                    </a:lnTo>
                    <a:lnTo>
                      <a:pt x="254" y="84"/>
                    </a:lnTo>
                    <a:lnTo>
                      <a:pt x="256" y="112"/>
                    </a:lnTo>
                    <a:lnTo>
                      <a:pt x="254" y="142"/>
                    </a:lnTo>
                    <a:lnTo>
                      <a:pt x="86" y="142"/>
                    </a:lnTo>
                    <a:close/>
                    <a:moveTo>
                      <a:pt x="172" y="98"/>
                    </a:moveTo>
                    <a:lnTo>
                      <a:pt x="172" y="98"/>
                    </a:lnTo>
                    <a:lnTo>
                      <a:pt x="172" y="88"/>
                    </a:lnTo>
                    <a:lnTo>
                      <a:pt x="170" y="78"/>
                    </a:lnTo>
                    <a:lnTo>
                      <a:pt x="168" y="70"/>
                    </a:lnTo>
                    <a:lnTo>
                      <a:pt x="164" y="62"/>
                    </a:lnTo>
                    <a:lnTo>
                      <a:pt x="164" y="62"/>
                    </a:lnTo>
                    <a:lnTo>
                      <a:pt x="158" y="56"/>
                    </a:lnTo>
                    <a:lnTo>
                      <a:pt x="150" y="50"/>
                    </a:lnTo>
                    <a:lnTo>
                      <a:pt x="142" y="48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22" y="48"/>
                    </a:lnTo>
                    <a:lnTo>
                      <a:pt x="114" y="52"/>
                    </a:lnTo>
                    <a:lnTo>
                      <a:pt x="106" y="56"/>
                    </a:lnTo>
                    <a:lnTo>
                      <a:pt x="102" y="62"/>
                    </a:lnTo>
                    <a:lnTo>
                      <a:pt x="96" y="70"/>
                    </a:lnTo>
                    <a:lnTo>
                      <a:pt x="94" y="78"/>
                    </a:lnTo>
                    <a:lnTo>
                      <a:pt x="90" y="98"/>
                    </a:lnTo>
                    <a:lnTo>
                      <a:pt x="172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16"/>
              <p:cNvSpPr>
                <a:spLocks/>
              </p:cNvSpPr>
              <p:nvPr/>
            </p:nvSpPr>
            <p:spPr bwMode="auto">
              <a:xfrm>
                <a:off x="1314450" y="352425"/>
                <a:ext cx="196850" cy="542925"/>
              </a:xfrm>
              <a:custGeom>
                <a:avLst/>
                <a:gdLst>
                  <a:gd name="T0" fmla="*/ 24 w 124"/>
                  <a:gd name="T1" fmla="*/ 0 h 342"/>
                  <a:gd name="T2" fmla="*/ 124 w 124"/>
                  <a:gd name="T3" fmla="*/ 0 h 342"/>
                  <a:gd name="T4" fmla="*/ 100 w 124"/>
                  <a:gd name="T5" fmla="*/ 342 h 342"/>
                  <a:gd name="T6" fmla="*/ 0 w 124"/>
                  <a:gd name="T7" fmla="*/ 342 h 342"/>
                  <a:gd name="T8" fmla="*/ 24 w 124"/>
                  <a:gd name="T9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342">
                    <a:moveTo>
                      <a:pt x="24" y="0"/>
                    </a:moveTo>
                    <a:lnTo>
                      <a:pt x="124" y="0"/>
                    </a:lnTo>
                    <a:lnTo>
                      <a:pt x="100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17"/>
              <p:cNvSpPr>
                <a:spLocks/>
              </p:cNvSpPr>
              <p:nvPr/>
            </p:nvSpPr>
            <p:spPr bwMode="auto">
              <a:xfrm>
                <a:off x="1498600" y="352425"/>
                <a:ext cx="368300" cy="542925"/>
              </a:xfrm>
              <a:custGeom>
                <a:avLst/>
                <a:gdLst>
                  <a:gd name="T0" fmla="*/ 120 w 232"/>
                  <a:gd name="T1" fmla="*/ 0 h 342"/>
                  <a:gd name="T2" fmla="*/ 0 w 232"/>
                  <a:gd name="T3" fmla="*/ 152 h 342"/>
                  <a:gd name="T4" fmla="*/ 106 w 232"/>
                  <a:gd name="T5" fmla="*/ 342 h 342"/>
                  <a:gd name="T6" fmla="*/ 226 w 232"/>
                  <a:gd name="T7" fmla="*/ 342 h 342"/>
                  <a:gd name="T8" fmla="*/ 106 w 232"/>
                  <a:gd name="T9" fmla="*/ 148 h 342"/>
                  <a:gd name="T10" fmla="*/ 232 w 232"/>
                  <a:gd name="T11" fmla="*/ 0 h 342"/>
                  <a:gd name="T12" fmla="*/ 120 w 232"/>
                  <a:gd name="T13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2" h="342">
                    <a:moveTo>
                      <a:pt x="120" y="0"/>
                    </a:moveTo>
                    <a:lnTo>
                      <a:pt x="0" y="152"/>
                    </a:lnTo>
                    <a:lnTo>
                      <a:pt x="106" y="342"/>
                    </a:lnTo>
                    <a:lnTo>
                      <a:pt x="226" y="342"/>
                    </a:lnTo>
                    <a:lnTo>
                      <a:pt x="106" y="148"/>
                    </a:lnTo>
                    <a:lnTo>
                      <a:pt x="232" y="0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18"/>
              <p:cNvSpPr>
                <a:spLocks/>
              </p:cNvSpPr>
              <p:nvPr/>
            </p:nvSpPr>
            <p:spPr bwMode="auto">
              <a:xfrm>
                <a:off x="1876425" y="517525"/>
                <a:ext cx="158750" cy="377825"/>
              </a:xfrm>
              <a:custGeom>
                <a:avLst/>
                <a:gdLst>
                  <a:gd name="T0" fmla="*/ 16 w 100"/>
                  <a:gd name="T1" fmla="*/ 0 h 238"/>
                  <a:gd name="T2" fmla="*/ 100 w 100"/>
                  <a:gd name="T3" fmla="*/ 0 h 238"/>
                  <a:gd name="T4" fmla="*/ 84 w 100"/>
                  <a:gd name="T5" fmla="*/ 238 h 238"/>
                  <a:gd name="T6" fmla="*/ 0 w 100"/>
                  <a:gd name="T7" fmla="*/ 238 h 238"/>
                  <a:gd name="T8" fmla="*/ 16 w 100"/>
                  <a:gd name="T9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238">
                    <a:moveTo>
                      <a:pt x="16" y="0"/>
                    </a:moveTo>
                    <a:lnTo>
                      <a:pt x="100" y="0"/>
                    </a:lnTo>
                    <a:lnTo>
                      <a:pt x="84" y="238"/>
                    </a:lnTo>
                    <a:lnTo>
                      <a:pt x="0" y="238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19"/>
              <p:cNvSpPr>
                <a:spLocks/>
              </p:cNvSpPr>
              <p:nvPr/>
            </p:nvSpPr>
            <p:spPr bwMode="auto">
              <a:xfrm>
                <a:off x="2038350" y="504825"/>
                <a:ext cx="692150" cy="390525"/>
              </a:xfrm>
              <a:custGeom>
                <a:avLst/>
                <a:gdLst>
                  <a:gd name="T0" fmla="*/ 106 w 436"/>
                  <a:gd name="T1" fmla="*/ 40 h 246"/>
                  <a:gd name="T2" fmla="*/ 106 w 436"/>
                  <a:gd name="T3" fmla="*/ 40 h 246"/>
                  <a:gd name="T4" fmla="*/ 128 w 436"/>
                  <a:gd name="T5" fmla="*/ 20 h 246"/>
                  <a:gd name="T6" fmla="*/ 150 w 436"/>
                  <a:gd name="T7" fmla="*/ 8 h 246"/>
                  <a:gd name="T8" fmla="*/ 172 w 436"/>
                  <a:gd name="T9" fmla="*/ 2 h 246"/>
                  <a:gd name="T10" fmla="*/ 192 w 436"/>
                  <a:gd name="T11" fmla="*/ 2 h 246"/>
                  <a:gd name="T12" fmla="*/ 216 w 436"/>
                  <a:gd name="T13" fmla="*/ 6 h 246"/>
                  <a:gd name="T14" fmla="*/ 238 w 436"/>
                  <a:gd name="T15" fmla="*/ 14 h 246"/>
                  <a:gd name="T16" fmla="*/ 254 w 436"/>
                  <a:gd name="T17" fmla="*/ 28 h 246"/>
                  <a:gd name="T18" fmla="*/ 264 w 436"/>
                  <a:gd name="T19" fmla="*/ 44 h 246"/>
                  <a:gd name="T20" fmla="*/ 272 w 436"/>
                  <a:gd name="T21" fmla="*/ 34 h 246"/>
                  <a:gd name="T22" fmla="*/ 290 w 436"/>
                  <a:gd name="T23" fmla="*/ 18 h 246"/>
                  <a:gd name="T24" fmla="*/ 312 w 436"/>
                  <a:gd name="T25" fmla="*/ 8 h 246"/>
                  <a:gd name="T26" fmla="*/ 338 w 436"/>
                  <a:gd name="T27" fmla="*/ 2 h 246"/>
                  <a:gd name="T28" fmla="*/ 352 w 436"/>
                  <a:gd name="T29" fmla="*/ 0 h 246"/>
                  <a:gd name="T30" fmla="*/ 386 w 436"/>
                  <a:gd name="T31" fmla="*/ 6 h 246"/>
                  <a:gd name="T32" fmla="*/ 414 w 436"/>
                  <a:gd name="T33" fmla="*/ 24 h 246"/>
                  <a:gd name="T34" fmla="*/ 432 w 436"/>
                  <a:gd name="T35" fmla="*/ 50 h 246"/>
                  <a:gd name="T36" fmla="*/ 436 w 436"/>
                  <a:gd name="T37" fmla="*/ 86 h 246"/>
                  <a:gd name="T38" fmla="*/ 332 w 436"/>
                  <a:gd name="T39" fmla="*/ 246 h 246"/>
                  <a:gd name="T40" fmla="*/ 342 w 436"/>
                  <a:gd name="T41" fmla="*/ 106 h 246"/>
                  <a:gd name="T42" fmla="*/ 342 w 436"/>
                  <a:gd name="T43" fmla="*/ 80 h 246"/>
                  <a:gd name="T44" fmla="*/ 336 w 436"/>
                  <a:gd name="T45" fmla="*/ 66 h 246"/>
                  <a:gd name="T46" fmla="*/ 322 w 436"/>
                  <a:gd name="T47" fmla="*/ 58 h 246"/>
                  <a:gd name="T48" fmla="*/ 312 w 436"/>
                  <a:gd name="T49" fmla="*/ 58 h 246"/>
                  <a:gd name="T50" fmla="*/ 288 w 436"/>
                  <a:gd name="T51" fmla="*/ 66 h 246"/>
                  <a:gd name="T52" fmla="*/ 276 w 436"/>
                  <a:gd name="T53" fmla="*/ 82 h 246"/>
                  <a:gd name="T54" fmla="*/ 270 w 436"/>
                  <a:gd name="T55" fmla="*/ 100 h 246"/>
                  <a:gd name="T56" fmla="*/ 260 w 436"/>
                  <a:gd name="T57" fmla="*/ 246 h 246"/>
                  <a:gd name="T58" fmla="*/ 180 w 436"/>
                  <a:gd name="T59" fmla="*/ 106 h 246"/>
                  <a:gd name="T60" fmla="*/ 178 w 436"/>
                  <a:gd name="T61" fmla="*/ 88 h 246"/>
                  <a:gd name="T62" fmla="*/ 174 w 436"/>
                  <a:gd name="T63" fmla="*/ 72 h 246"/>
                  <a:gd name="T64" fmla="*/ 164 w 436"/>
                  <a:gd name="T65" fmla="*/ 62 h 246"/>
                  <a:gd name="T66" fmla="*/ 148 w 436"/>
                  <a:gd name="T67" fmla="*/ 58 h 246"/>
                  <a:gd name="T68" fmla="*/ 132 w 436"/>
                  <a:gd name="T69" fmla="*/ 60 h 246"/>
                  <a:gd name="T70" fmla="*/ 114 w 436"/>
                  <a:gd name="T71" fmla="*/ 72 h 246"/>
                  <a:gd name="T72" fmla="*/ 104 w 436"/>
                  <a:gd name="T73" fmla="*/ 92 h 246"/>
                  <a:gd name="T74" fmla="*/ 102 w 436"/>
                  <a:gd name="T75" fmla="*/ 110 h 246"/>
                  <a:gd name="T76" fmla="*/ 0 w 436"/>
                  <a:gd name="T77" fmla="*/ 246 h 246"/>
                  <a:gd name="T78" fmla="*/ 106 w 436"/>
                  <a:gd name="T79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36" h="246">
                    <a:moveTo>
                      <a:pt x="106" y="8"/>
                    </a:moveTo>
                    <a:lnTo>
                      <a:pt x="106" y="40"/>
                    </a:lnTo>
                    <a:lnTo>
                      <a:pt x="106" y="40"/>
                    </a:lnTo>
                    <a:lnTo>
                      <a:pt x="106" y="40"/>
                    </a:lnTo>
                    <a:lnTo>
                      <a:pt x="118" y="28"/>
                    </a:lnTo>
                    <a:lnTo>
                      <a:pt x="128" y="20"/>
                    </a:lnTo>
                    <a:lnTo>
                      <a:pt x="140" y="12"/>
                    </a:lnTo>
                    <a:lnTo>
                      <a:pt x="150" y="8"/>
                    </a:lnTo>
                    <a:lnTo>
                      <a:pt x="162" y="4"/>
                    </a:lnTo>
                    <a:lnTo>
                      <a:pt x="172" y="2"/>
                    </a:lnTo>
                    <a:lnTo>
                      <a:pt x="192" y="2"/>
                    </a:lnTo>
                    <a:lnTo>
                      <a:pt x="192" y="2"/>
                    </a:lnTo>
                    <a:lnTo>
                      <a:pt x="204" y="2"/>
                    </a:lnTo>
                    <a:lnTo>
                      <a:pt x="216" y="6"/>
                    </a:lnTo>
                    <a:lnTo>
                      <a:pt x="228" y="8"/>
                    </a:lnTo>
                    <a:lnTo>
                      <a:pt x="238" y="14"/>
                    </a:lnTo>
                    <a:lnTo>
                      <a:pt x="246" y="20"/>
                    </a:lnTo>
                    <a:lnTo>
                      <a:pt x="254" y="28"/>
                    </a:lnTo>
                    <a:lnTo>
                      <a:pt x="260" y="36"/>
                    </a:lnTo>
                    <a:lnTo>
                      <a:pt x="264" y="44"/>
                    </a:lnTo>
                    <a:lnTo>
                      <a:pt x="264" y="44"/>
                    </a:lnTo>
                    <a:lnTo>
                      <a:pt x="272" y="34"/>
                    </a:lnTo>
                    <a:lnTo>
                      <a:pt x="280" y="26"/>
                    </a:lnTo>
                    <a:lnTo>
                      <a:pt x="290" y="18"/>
                    </a:lnTo>
                    <a:lnTo>
                      <a:pt x="302" y="12"/>
                    </a:lnTo>
                    <a:lnTo>
                      <a:pt x="312" y="8"/>
                    </a:lnTo>
                    <a:lnTo>
                      <a:pt x="326" y="4"/>
                    </a:lnTo>
                    <a:lnTo>
                      <a:pt x="338" y="2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70" y="2"/>
                    </a:lnTo>
                    <a:lnTo>
                      <a:pt x="386" y="6"/>
                    </a:lnTo>
                    <a:lnTo>
                      <a:pt x="402" y="14"/>
                    </a:lnTo>
                    <a:lnTo>
                      <a:pt x="414" y="24"/>
                    </a:lnTo>
                    <a:lnTo>
                      <a:pt x="424" y="36"/>
                    </a:lnTo>
                    <a:lnTo>
                      <a:pt x="432" y="50"/>
                    </a:lnTo>
                    <a:lnTo>
                      <a:pt x="436" y="68"/>
                    </a:lnTo>
                    <a:lnTo>
                      <a:pt x="436" y="86"/>
                    </a:lnTo>
                    <a:lnTo>
                      <a:pt x="424" y="246"/>
                    </a:lnTo>
                    <a:lnTo>
                      <a:pt x="332" y="246"/>
                    </a:lnTo>
                    <a:lnTo>
                      <a:pt x="342" y="106"/>
                    </a:lnTo>
                    <a:lnTo>
                      <a:pt x="342" y="106"/>
                    </a:lnTo>
                    <a:lnTo>
                      <a:pt x="342" y="88"/>
                    </a:lnTo>
                    <a:lnTo>
                      <a:pt x="342" y="80"/>
                    </a:lnTo>
                    <a:lnTo>
                      <a:pt x="340" y="74"/>
                    </a:lnTo>
                    <a:lnTo>
                      <a:pt x="336" y="66"/>
                    </a:lnTo>
                    <a:lnTo>
                      <a:pt x="330" y="62"/>
                    </a:lnTo>
                    <a:lnTo>
                      <a:pt x="322" y="58"/>
                    </a:lnTo>
                    <a:lnTo>
                      <a:pt x="312" y="58"/>
                    </a:lnTo>
                    <a:lnTo>
                      <a:pt x="312" y="58"/>
                    </a:lnTo>
                    <a:lnTo>
                      <a:pt x="298" y="60"/>
                    </a:lnTo>
                    <a:lnTo>
                      <a:pt x="288" y="66"/>
                    </a:lnTo>
                    <a:lnTo>
                      <a:pt x="280" y="72"/>
                    </a:lnTo>
                    <a:lnTo>
                      <a:pt x="276" y="82"/>
                    </a:lnTo>
                    <a:lnTo>
                      <a:pt x="272" y="92"/>
                    </a:lnTo>
                    <a:lnTo>
                      <a:pt x="270" y="100"/>
                    </a:lnTo>
                    <a:lnTo>
                      <a:pt x="270" y="110"/>
                    </a:lnTo>
                    <a:lnTo>
                      <a:pt x="260" y="246"/>
                    </a:lnTo>
                    <a:lnTo>
                      <a:pt x="170" y="246"/>
                    </a:lnTo>
                    <a:lnTo>
                      <a:pt x="180" y="106"/>
                    </a:lnTo>
                    <a:lnTo>
                      <a:pt x="180" y="106"/>
                    </a:lnTo>
                    <a:lnTo>
                      <a:pt x="178" y="88"/>
                    </a:lnTo>
                    <a:lnTo>
                      <a:pt x="178" y="80"/>
                    </a:lnTo>
                    <a:lnTo>
                      <a:pt x="174" y="72"/>
                    </a:lnTo>
                    <a:lnTo>
                      <a:pt x="170" y="66"/>
                    </a:lnTo>
                    <a:lnTo>
                      <a:pt x="164" y="62"/>
                    </a:lnTo>
                    <a:lnTo>
                      <a:pt x="15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32" y="60"/>
                    </a:lnTo>
                    <a:lnTo>
                      <a:pt x="122" y="66"/>
                    </a:lnTo>
                    <a:lnTo>
                      <a:pt x="114" y="72"/>
                    </a:lnTo>
                    <a:lnTo>
                      <a:pt x="108" y="82"/>
                    </a:lnTo>
                    <a:lnTo>
                      <a:pt x="104" y="92"/>
                    </a:lnTo>
                    <a:lnTo>
                      <a:pt x="104" y="100"/>
                    </a:lnTo>
                    <a:lnTo>
                      <a:pt x="102" y="110"/>
                    </a:lnTo>
                    <a:lnTo>
                      <a:pt x="94" y="246"/>
                    </a:lnTo>
                    <a:lnTo>
                      <a:pt x="0" y="246"/>
                    </a:lnTo>
                    <a:lnTo>
                      <a:pt x="16" y="8"/>
                    </a:lnTo>
                    <a:lnTo>
                      <a:pt x="106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20"/>
              <p:cNvSpPr>
                <a:spLocks/>
              </p:cNvSpPr>
              <p:nvPr/>
            </p:nvSpPr>
            <p:spPr bwMode="auto">
              <a:xfrm>
                <a:off x="4064000" y="517525"/>
                <a:ext cx="454025" cy="558800"/>
              </a:xfrm>
              <a:custGeom>
                <a:avLst/>
                <a:gdLst>
                  <a:gd name="T0" fmla="*/ 116 w 286"/>
                  <a:gd name="T1" fmla="*/ 352 h 352"/>
                  <a:gd name="T2" fmla="*/ 34 w 286"/>
                  <a:gd name="T3" fmla="*/ 352 h 352"/>
                  <a:gd name="T4" fmla="*/ 86 w 286"/>
                  <a:gd name="T5" fmla="*/ 242 h 352"/>
                  <a:gd name="T6" fmla="*/ 0 w 286"/>
                  <a:gd name="T7" fmla="*/ 0 h 352"/>
                  <a:gd name="T8" fmla="*/ 100 w 286"/>
                  <a:gd name="T9" fmla="*/ 0 h 352"/>
                  <a:gd name="T10" fmla="*/ 140 w 286"/>
                  <a:gd name="T11" fmla="*/ 148 h 352"/>
                  <a:gd name="T12" fmla="*/ 202 w 286"/>
                  <a:gd name="T13" fmla="*/ 0 h 352"/>
                  <a:gd name="T14" fmla="*/ 286 w 286"/>
                  <a:gd name="T15" fmla="*/ 0 h 352"/>
                  <a:gd name="T16" fmla="*/ 116 w 286"/>
                  <a:gd name="T17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6" h="352">
                    <a:moveTo>
                      <a:pt x="116" y="352"/>
                    </a:moveTo>
                    <a:lnTo>
                      <a:pt x="34" y="352"/>
                    </a:lnTo>
                    <a:lnTo>
                      <a:pt x="86" y="242"/>
                    </a:lnTo>
                    <a:lnTo>
                      <a:pt x="0" y="0"/>
                    </a:lnTo>
                    <a:lnTo>
                      <a:pt x="100" y="0"/>
                    </a:lnTo>
                    <a:lnTo>
                      <a:pt x="140" y="148"/>
                    </a:lnTo>
                    <a:lnTo>
                      <a:pt x="202" y="0"/>
                    </a:lnTo>
                    <a:lnTo>
                      <a:pt x="286" y="0"/>
                    </a:lnTo>
                    <a:lnTo>
                      <a:pt x="116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21"/>
              <p:cNvSpPr>
                <a:spLocks/>
              </p:cNvSpPr>
              <p:nvPr/>
            </p:nvSpPr>
            <p:spPr bwMode="auto">
              <a:xfrm>
                <a:off x="4473575" y="593725"/>
                <a:ext cx="241300" cy="117475"/>
              </a:xfrm>
              <a:custGeom>
                <a:avLst/>
                <a:gdLst>
                  <a:gd name="T0" fmla="*/ 36 w 152"/>
                  <a:gd name="T1" fmla="*/ 0 h 74"/>
                  <a:gd name="T2" fmla="*/ 152 w 152"/>
                  <a:gd name="T3" fmla="*/ 0 h 74"/>
                  <a:gd name="T4" fmla="*/ 114 w 152"/>
                  <a:gd name="T5" fmla="*/ 74 h 74"/>
                  <a:gd name="T6" fmla="*/ 0 w 152"/>
                  <a:gd name="T7" fmla="*/ 74 h 74"/>
                  <a:gd name="T8" fmla="*/ 36 w 152"/>
                  <a:gd name="T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74">
                    <a:moveTo>
                      <a:pt x="36" y="0"/>
                    </a:moveTo>
                    <a:lnTo>
                      <a:pt x="152" y="0"/>
                    </a:lnTo>
                    <a:lnTo>
                      <a:pt x="114" y="74"/>
                    </a:lnTo>
                    <a:lnTo>
                      <a:pt x="0" y="7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22"/>
              <p:cNvSpPr>
                <a:spLocks/>
              </p:cNvSpPr>
              <p:nvPr/>
            </p:nvSpPr>
            <p:spPr bwMode="auto">
              <a:xfrm>
                <a:off x="4721225" y="339725"/>
                <a:ext cx="504825" cy="558800"/>
              </a:xfrm>
              <a:custGeom>
                <a:avLst/>
                <a:gdLst>
                  <a:gd name="T0" fmla="*/ 180 w 318"/>
                  <a:gd name="T1" fmla="*/ 0 h 352"/>
                  <a:gd name="T2" fmla="*/ 232 w 318"/>
                  <a:gd name="T3" fmla="*/ 6 h 352"/>
                  <a:gd name="T4" fmla="*/ 266 w 318"/>
                  <a:gd name="T5" fmla="*/ 20 h 352"/>
                  <a:gd name="T6" fmla="*/ 286 w 318"/>
                  <a:gd name="T7" fmla="*/ 32 h 352"/>
                  <a:gd name="T8" fmla="*/ 302 w 318"/>
                  <a:gd name="T9" fmla="*/ 50 h 352"/>
                  <a:gd name="T10" fmla="*/ 312 w 318"/>
                  <a:gd name="T11" fmla="*/ 74 h 352"/>
                  <a:gd name="T12" fmla="*/ 318 w 318"/>
                  <a:gd name="T13" fmla="*/ 100 h 352"/>
                  <a:gd name="T14" fmla="*/ 222 w 318"/>
                  <a:gd name="T15" fmla="*/ 116 h 352"/>
                  <a:gd name="T16" fmla="*/ 222 w 318"/>
                  <a:gd name="T17" fmla="*/ 108 h 352"/>
                  <a:gd name="T18" fmla="*/ 216 w 318"/>
                  <a:gd name="T19" fmla="*/ 90 h 352"/>
                  <a:gd name="T20" fmla="*/ 204 w 318"/>
                  <a:gd name="T21" fmla="*/ 76 h 352"/>
                  <a:gd name="T22" fmla="*/ 188 w 318"/>
                  <a:gd name="T23" fmla="*/ 68 h 352"/>
                  <a:gd name="T24" fmla="*/ 176 w 318"/>
                  <a:gd name="T25" fmla="*/ 68 h 352"/>
                  <a:gd name="T26" fmla="*/ 150 w 318"/>
                  <a:gd name="T27" fmla="*/ 72 h 352"/>
                  <a:gd name="T28" fmla="*/ 128 w 318"/>
                  <a:gd name="T29" fmla="*/ 88 h 352"/>
                  <a:gd name="T30" fmla="*/ 108 w 318"/>
                  <a:gd name="T31" fmla="*/ 118 h 352"/>
                  <a:gd name="T32" fmla="*/ 98 w 318"/>
                  <a:gd name="T33" fmla="*/ 162 h 352"/>
                  <a:gd name="T34" fmla="*/ 96 w 318"/>
                  <a:gd name="T35" fmla="*/ 188 h 352"/>
                  <a:gd name="T36" fmla="*/ 98 w 318"/>
                  <a:gd name="T37" fmla="*/ 234 h 352"/>
                  <a:gd name="T38" fmla="*/ 112 w 318"/>
                  <a:gd name="T39" fmla="*/ 266 h 352"/>
                  <a:gd name="T40" fmla="*/ 122 w 318"/>
                  <a:gd name="T41" fmla="*/ 278 h 352"/>
                  <a:gd name="T42" fmla="*/ 138 w 318"/>
                  <a:gd name="T43" fmla="*/ 284 h 352"/>
                  <a:gd name="T44" fmla="*/ 158 w 318"/>
                  <a:gd name="T45" fmla="*/ 288 h 352"/>
                  <a:gd name="T46" fmla="*/ 174 w 318"/>
                  <a:gd name="T47" fmla="*/ 286 h 352"/>
                  <a:gd name="T48" fmla="*/ 198 w 318"/>
                  <a:gd name="T49" fmla="*/ 274 h 352"/>
                  <a:gd name="T50" fmla="*/ 212 w 318"/>
                  <a:gd name="T51" fmla="*/ 256 h 352"/>
                  <a:gd name="T52" fmla="*/ 218 w 318"/>
                  <a:gd name="T53" fmla="*/ 236 h 352"/>
                  <a:gd name="T54" fmla="*/ 314 w 318"/>
                  <a:gd name="T55" fmla="*/ 236 h 352"/>
                  <a:gd name="T56" fmla="*/ 306 w 318"/>
                  <a:gd name="T57" fmla="*/ 270 h 352"/>
                  <a:gd name="T58" fmla="*/ 290 w 318"/>
                  <a:gd name="T59" fmla="*/ 300 h 352"/>
                  <a:gd name="T60" fmla="*/ 272 w 318"/>
                  <a:gd name="T61" fmla="*/ 318 h 352"/>
                  <a:gd name="T62" fmla="*/ 248 w 318"/>
                  <a:gd name="T63" fmla="*/ 334 h 352"/>
                  <a:gd name="T64" fmla="*/ 216 w 318"/>
                  <a:gd name="T65" fmla="*/ 346 h 352"/>
                  <a:gd name="T66" fmla="*/ 176 w 318"/>
                  <a:gd name="T67" fmla="*/ 352 h 352"/>
                  <a:gd name="T68" fmla="*/ 152 w 318"/>
                  <a:gd name="T69" fmla="*/ 352 h 352"/>
                  <a:gd name="T70" fmla="*/ 106 w 318"/>
                  <a:gd name="T71" fmla="*/ 348 h 352"/>
                  <a:gd name="T72" fmla="*/ 70 w 318"/>
                  <a:gd name="T73" fmla="*/ 336 h 352"/>
                  <a:gd name="T74" fmla="*/ 42 w 318"/>
                  <a:gd name="T75" fmla="*/ 316 h 352"/>
                  <a:gd name="T76" fmla="*/ 22 w 318"/>
                  <a:gd name="T77" fmla="*/ 292 h 352"/>
                  <a:gd name="T78" fmla="*/ 8 w 318"/>
                  <a:gd name="T79" fmla="*/ 262 h 352"/>
                  <a:gd name="T80" fmla="*/ 2 w 318"/>
                  <a:gd name="T81" fmla="*/ 230 h 352"/>
                  <a:gd name="T82" fmla="*/ 0 w 318"/>
                  <a:gd name="T83" fmla="*/ 194 h 352"/>
                  <a:gd name="T84" fmla="*/ 2 w 318"/>
                  <a:gd name="T85" fmla="*/ 160 h 352"/>
                  <a:gd name="T86" fmla="*/ 18 w 318"/>
                  <a:gd name="T87" fmla="*/ 102 h 352"/>
                  <a:gd name="T88" fmla="*/ 32 w 318"/>
                  <a:gd name="T89" fmla="*/ 74 h 352"/>
                  <a:gd name="T90" fmla="*/ 52 w 318"/>
                  <a:gd name="T91" fmla="*/ 50 h 352"/>
                  <a:gd name="T92" fmla="*/ 76 w 318"/>
                  <a:gd name="T93" fmla="*/ 30 h 352"/>
                  <a:gd name="T94" fmla="*/ 106 w 318"/>
                  <a:gd name="T95" fmla="*/ 14 h 352"/>
                  <a:gd name="T96" fmla="*/ 140 w 318"/>
                  <a:gd name="T97" fmla="*/ 4 h 352"/>
                  <a:gd name="T98" fmla="*/ 180 w 318"/>
                  <a:gd name="T99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18" h="352">
                    <a:moveTo>
                      <a:pt x="180" y="0"/>
                    </a:moveTo>
                    <a:lnTo>
                      <a:pt x="180" y="0"/>
                    </a:lnTo>
                    <a:lnTo>
                      <a:pt x="206" y="0"/>
                    </a:lnTo>
                    <a:lnTo>
                      <a:pt x="232" y="6"/>
                    </a:lnTo>
                    <a:lnTo>
                      <a:pt x="256" y="14"/>
                    </a:lnTo>
                    <a:lnTo>
                      <a:pt x="266" y="20"/>
                    </a:lnTo>
                    <a:lnTo>
                      <a:pt x="276" y="26"/>
                    </a:lnTo>
                    <a:lnTo>
                      <a:pt x="286" y="32"/>
                    </a:lnTo>
                    <a:lnTo>
                      <a:pt x="294" y="42"/>
                    </a:lnTo>
                    <a:lnTo>
                      <a:pt x="302" y="50"/>
                    </a:lnTo>
                    <a:lnTo>
                      <a:pt x="308" y="62"/>
                    </a:lnTo>
                    <a:lnTo>
                      <a:pt x="312" y="74"/>
                    </a:lnTo>
                    <a:lnTo>
                      <a:pt x="316" y="86"/>
                    </a:lnTo>
                    <a:lnTo>
                      <a:pt x="318" y="100"/>
                    </a:lnTo>
                    <a:lnTo>
                      <a:pt x="318" y="116"/>
                    </a:lnTo>
                    <a:lnTo>
                      <a:pt x="222" y="116"/>
                    </a:lnTo>
                    <a:lnTo>
                      <a:pt x="222" y="116"/>
                    </a:lnTo>
                    <a:lnTo>
                      <a:pt x="222" y="108"/>
                    </a:lnTo>
                    <a:lnTo>
                      <a:pt x="220" y="98"/>
                    </a:lnTo>
                    <a:lnTo>
                      <a:pt x="216" y="90"/>
                    </a:lnTo>
                    <a:lnTo>
                      <a:pt x="212" y="84"/>
                    </a:lnTo>
                    <a:lnTo>
                      <a:pt x="204" y="76"/>
                    </a:lnTo>
                    <a:lnTo>
                      <a:pt x="198" y="72"/>
                    </a:lnTo>
                    <a:lnTo>
                      <a:pt x="188" y="68"/>
                    </a:lnTo>
                    <a:lnTo>
                      <a:pt x="176" y="68"/>
                    </a:lnTo>
                    <a:lnTo>
                      <a:pt x="176" y="68"/>
                    </a:lnTo>
                    <a:lnTo>
                      <a:pt x="164" y="68"/>
                    </a:lnTo>
                    <a:lnTo>
                      <a:pt x="150" y="72"/>
                    </a:lnTo>
                    <a:lnTo>
                      <a:pt x="138" y="80"/>
                    </a:lnTo>
                    <a:lnTo>
                      <a:pt x="128" y="88"/>
                    </a:lnTo>
                    <a:lnTo>
                      <a:pt x="118" y="102"/>
                    </a:lnTo>
                    <a:lnTo>
                      <a:pt x="108" y="118"/>
                    </a:lnTo>
                    <a:lnTo>
                      <a:pt x="102" y="138"/>
                    </a:lnTo>
                    <a:lnTo>
                      <a:pt x="98" y="162"/>
                    </a:lnTo>
                    <a:lnTo>
                      <a:pt x="98" y="162"/>
                    </a:lnTo>
                    <a:lnTo>
                      <a:pt x="96" y="188"/>
                    </a:lnTo>
                    <a:lnTo>
                      <a:pt x="96" y="212"/>
                    </a:lnTo>
                    <a:lnTo>
                      <a:pt x="98" y="234"/>
                    </a:lnTo>
                    <a:lnTo>
                      <a:pt x="104" y="252"/>
                    </a:lnTo>
                    <a:lnTo>
                      <a:pt x="112" y="266"/>
                    </a:lnTo>
                    <a:lnTo>
                      <a:pt x="116" y="272"/>
                    </a:lnTo>
                    <a:lnTo>
                      <a:pt x="122" y="278"/>
                    </a:lnTo>
                    <a:lnTo>
                      <a:pt x="130" y="282"/>
                    </a:lnTo>
                    <a:lnTo>
                      <a:pt x="138" y="284"/>
                    </a:lnTo>
                    <a:lnTo>
                      <a:pt x="148" y="286"/>
                    </a:lnTo>
                    <a:lnTo>
                      <a:pt x="158" y="288"/>
                    </a:lnTo>
                    <a:lnTo>
                      <a:pt x="158" y="288"/>
                    </a:lnTo>
                    <a:lnTo>
                      <a:pt x="174" y="286"/>
                    </a:lnTo>
                    <a:lnTo>
                      <a:pt x="188" y="280"/>
                    </a:lnTo>
                    <a:lnTo>
                      <a:pt x="198" y="274"/>
                    </a:lnTo>
                    <a:lnTo>
                      <a:pt x="206" y="264"/>
                    </a:lnTo>
                    <a:lnTo>
                      <a:pt x="212" y="256"/>
                    </a:lnTo>
                    <a:lnTo>
                      <a:pt x="214" y="248"/>
                    </a:lnTo>
                    <a:lnTo>
                      <a:pt x="218" y="236"/>
                    </a:lnTo>
                    <a:lnTo>
                      <a:pt x="314" y="236"/>
                    </a:lnTo>
                    <a:lnTo>
                      <a:pt x="314" y="236"/>
                    </a:lnTo>
                    <a:lnTo>
                      <a:pt x="312" y="252"/>
                    </a:lnTo>
                    <a:lnTo>
                      <a:pt x="306" y="270"/>
                    </a:lnTo>
                    <a:lnTo>
                      <a:pt x="296" y="290"/>
                    </a:lnTo>
                    <a:lnTo>
                      <a:pt x="290" y="300"/>
                    </a:lnTo>
                    <a:lnTo>
                      <a:pt x="282" y="308"/>
                    </a:lnTo>
                    <a:lnTo>
                      <a:pt x="272" y="318"/>
                    </a:lnTo>
                    <a:lnTo>
                      <a:pt x="260" y="326"/>
                    </a:lnTo>
                    <a:lnTo>
                      <a:pt x="248" y="334"/>
                    </a:lnTo>
                    <a:lnTo>
                      <a:pt x="232" y="340"/>
                    </a:lnTo>
                    <a:lnTo>
                      <a:pt x="216" y="346"/>
                    </a:lnTo>
                    <a:lnTo>
                      <a:pt x="196" y="350"/>
                    </a:lnTo>
                    <a:lnTo>
                      <a:pt x="176" y="352"/>
                    </a:lnTo>
                    <a:lnTo>
                      <a:pt x="152" y="352"/>
                    </a:lnTo>
                    <a:lnTo>
                      <a:pt x="152" y="352"/>
                    </a:lnTo>
                    <a:lnTo>
                      <a:pt x="128" y="352"/>
                    </a:lnTo>
                    <a:lnTo>
                      <a:pt x="106" y="348"/>
                    </a:lnTo>
                    <a:lnTo>
                      <a:pt x="86" y="342"/>
                    </a:lnTo>
                    <a:lnTo>
                      <a:pt x="70" y="336"/>
                    </a:lnTo>
                    <a:lnTo>
                      <a:pt x="54" y="326"/>
                    </a:lnTo>
                    <a:lnTo>
                      <a:pt x="42" y="316"/>
                    </a:lnTo>
                    <a:lnTo>
                      <a:pt x="30" y="304"/>
                    </a:lnTo>
                    <a:lnTo>
                      <a:pt x="22" y="292"/>
                    </a:lnTo>
                    <a:lnTo>
                      <a:pt x="14" y="276"/>
                    </a:lnTo>
                    <a:lnTo>
                      <a:pt x="8" y="262"/>
                    </a:lnTo>
                    <a:lnTo>
                      <a:pt x="4" y="246"/>
                    </a:lnTo>
                    <a:lnTo>
                      <a:pt x="2" y="230"/>
                    </a:lnTo>
                    <a:lnTo>
                      <a:pt x="0" y="212"/>
                    </a:lnTo>
                    <a:lnTo>
                      <a:pt x="0" y="194"/>
                    </a:lnTo>
                    <a:lnTo>
                      <a:pt x="2" y="160"/>
                    </a:lnTo>
                    <a:lnTo>
                      <a:pt x="2" y="160"/>
                    </a:lnTo>
                    <a:lnTo>
                      <a:pt x="8" y="130"/>
                    </a:lnTo>
                    <a:lnTo>
                      <a:pt x="18" y="102"/>
                    </a:lnTo>
                    <a:lnTo>
                      <a:pt x="24" y="88"/>
                    </a:lnTo>
                    <a:lnTo>
                      <a:pt x="32" y="74"/>
                    </a:lnTo>
                    <a:lnTo>
                      <a:pt x="42" y="62"/>
                    </a:lnTo>
                    <a:lnTo>
                      <a:pt x="52" y="50"/>
                    </a:lnTo>
                    <a:lnTo>
                      <a:pt x="64" y="40"/>
                    </a:lnTo>
                    <a:lnTo>
                      <a:pt x="76" y="30"/>
                    </a:lnTo>
                    <a:lnTo>
                      <a:pt x="90" y="20"/>
                    </a:lnTo>
                    <a:lnTo>
                      <a:pt x="106" y="14"/>
                    </a:lnTo>
                    <a:lnTo>
                      <a:pt x="122" y="8"/>
                    </a:lnTo>
                    <a:lnTo>
                      <a:pt x="140" y="4"/>
                    </a:lnTo>
                    <a:lnTo>
                      <a:pt x="160" y="0"/>
                    </a:lnTo>
                    <a:lnTo>
                      <a:pt x="180" y="0"/>
                    </a:lnTo>
                    <a:lnTo>
                      <a:pt x="18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" name="Freeform 23"/>
              <p:cNvSpPr>
                <a:spLocks/>
              </p:cNvSpPr>
              <p:nvPr/>
            </p:nvSpPr>
            <p:spPr bwMode="auto">
              <a:xfrm>
                <a:off x="5229225" y="352425"/>
                <a:ext cx="177800" cy="542925"/>
              </a:xfrm>
              <a:custGeom>
                <a:avLst/>
                <a:gdLst>
                  <a:gd name="T0" fmla="*/ 0 w 112"/>
                  <a:gd name="T1" fmla="*/ 342 h 342"/>
                  <a:gd name="T2" fmla="*/ 24 w 112"/>
                  <a:gd name="T3" fmla="*/ 0 h 342"/>
                  <a:gd name="T4" fmla="*/ 112 w 112"/>
                  <a:gd name="T5" fmla="*/ 0 h 342"/>
                  <a:gd name="T6" fmla="*/ 88 w 112"/>
                  <a:gd name="T7" fmla="*/ 342 h 342"/>
                  <a:gd name="T8" fmla="*/ 0 w 112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2" y="0"/>
                    </a:lnTo>
                    <a:lnTo>
                      <a:pt x="88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24"/>
              <p:cNvSpPr>
                <a:spLocks/>
              </p:cNvSpPr>
              <p:nvPr/>
            </p:nvSpPr>
            <p:spPr bwMode="auto">
              <a:xfrm>
                <a:off x="5803900" y="517525"/>
                <a:ext cx="295275" cy="377825"/>
              </a:xfrm>
              <a:custGeom>
                <a:avLst/>
                <a:gdLst>
                  <a:gd name="T0" fmla="*/ 106 w 186"/>
                  <a:gd name="T1" fmla="*/ 34 h 238"/>
                  <a:gd name="T2" fmla="*/ 106 w 186"/>
                  <a:gd name="T3" fmla="*/ 34 h 238"/>
                  <a:gd name="T4" fmla="*/ 106 w 186"/>
                  <a:gd name="T5" fmla="*/ 34 h 238"/>
                  <a:gd name="T6" fmla="*/ 116 w 186"/>
                  <a:gd name="T7" fmla="*/ 24 h 238"/>
                  <a:gd name="T8" fmla="*/ 124 w 186"/>
                  <a:gd name="T9" fmla="*/ 16 h 238"/>
                  <a:gd name="T10" fmla="*/ 134 w 186"/>
                  <a:gd name="T11" fmla="*/ 10 h 238"/>
                  <a:gd name="T12" fmla="*/ 144 w 186"/>
                  <a:gd name="T13" fmla="*/ 6 h 238"/>
                  <a:gd name="T14" fmla="*/ 154 w 186"/>
                  <a:gd name="T15" fmla="*/ 4 h 238"/>
                  <a:gd name="T16" fmla="*/ 164 w 186"/>
                  <a:gd name="T17" fmla="*/ 2 h 238"/>
                  <a:gd name="T18" fmla="*/ 186 w 186"/>
                  <a:gd name="T19" fmla="*/ 0 h 238"/>
                  <a:gd name="T20" fmla="*/ 180 w 186"/>
                  <a:gd name="T21" fmla="*/ 76 h 238"/>
                  <a:gd name="T22" fmla="*/ 180 w 186"/>
                  <a:gd name="T23" fmla="*/ 76 h 238"/>
                  <a:gd name="T24" fmla="*/ 162 w 186"/>
                  <a:gd name="T25" fmla="*/ 76 h 238"/>
                  <a:gd name="T26" fmla="*/ 162 w 186"/>
                  <a:gd name="T27" fmla="*/ 76 h 238"/>
                  <a:gd name="T28" fmla="*/ 142 w 186"/>
                  <a:gd name="T29" fmla="*/ 78 h 238"/>
                  <a:gd name="T30" fmla="*/ 126 w 186"/>
                  <a:gd name="T31" fmla="*/ 82 h 238"/>
                  <a:gd name="T32" fmla="*/ 116 w 186"/>
                  <a:gd name="T33" fmla="*/ 88 h 238"/>
                  <a:gd name="T34" fmla="*/ 108 w 186"/>
                  <a:gd name="T35" fmla="*/ 98 h 238"/>
                  <a:gd name="T36" fmla="*/ 104 w 186"/>
                  <a:gd name="T37" fmla="*/ 108 h 238"/>
                  <a:gd name="T38" fmla="*/ 100 w 186"/>
                  <a:gd name="T39" fmla="*/ 120 h 238"/>
                  <a:gd name="T40" fmla="*/ 98 w 186"/>
                  <a:gd name="T41" fmla="*/ 148 h 238"/>
                  <a:gd name="T42" fmla="*/ 92 w 186"/>
                  <a:gd name="T43" fmla="*/ 238 h 238"/>
                  <a:gd name="T44" fmla="*/ 0 w 186"/>
                  <a:gd name="T45" fmla="*/ 238 h 238"/>
                  <a:gd name="T46" fmla="*/ 14 w 186"/>
                  <a:gd name="T47" fmla="*/ 62 h 238"/>
                  <a:gd name="T48" fmla="*/ 14 w 186"/>
                  <a:gd name="T49" fmla="*/ 62 h 238"/>
                  <a:gd name="T50" fmla="*/ 14 w 186"/>
                  <a:gd name="T51" fmla="*/ 32 h 238"/>
                  <a:gd name="T52" fmla="*/ 14 w 186"/>
                  <a:gd name="T53" fmla="*/ 0 h 238"/>
                  <a:gd name="T54" fmla="*/ 102 w 186"/>
                  <a:gd name="T55" fmla="*/ 0 h 238"/>
                  <a:gd name="T56" fmla="*/ 106 w 186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6" h="238">
                    <a:moveTo>
                      <a:pt x="106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6" y="24"/>
                    </a:lnTo>
                    <a:lnTo>
                      <a:pt x="124" y="16"/>
                    </a:lnTo>
                    <a:lnTo>
                      <a:pt x="134" y="10"/>
                    </a:lnTo>
                    <a:lnTo>
                      <a:pt x="144" y="6"/>
                    </a:lnTo>
                    <a:lnTo>
                      <a:pt x="154" y="4"/>
                    </a:lnTo>
                    <a:lnTo>
                      <a:pt x="164" y="2"/>
                    </a:lnTo>
                    <a:lnTo>
                      <a:pt x="186" y="0"/>
                    </a:lnTo>
                    <a:lnTo>
                      <a:pt x="180" y="76"/>
                    </a:lnTo>
                    <a:lnTo>
                      <a:pt x="180" y="76"/>
                    </a:lnTo>
                    <a:lnTo>
                      <a:pt x="162" y="76"/>
                    </a:lnTo>
                    <a:lnTo>
                      <a:pt x="162" y="76"/>
                    </a:lnTo>
                    <a:lnTo>
                      <a:pt x="142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4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6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273943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3E7FBFD-78E1-42FB-85FC-D9CE5E3DEF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270622" y="6413584"/>
            <a:ext cx="2165537" cy="271230"/>
            <a:chOff x="158750" y="276225"/>
            <a:chExt cx="6388100" cy="800100"/>
          </a:xfrm>
          <a:solidFill>
            <a:schemeClr val="bg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158750" y="276225"/>
              <a:ext cx="857250" cy="736600"/>
            </a:xfrm>
            <a:custGeom>
              <a:avLst/>
              <a:gdLst>
                <a:gd name="T0" fmla="*/ 298 w 540"/>
                <a:gd name="T1" fmla="*/ 0 h 464"/>
                <a:gd name="T2" fmla="*/ 374 w 540"/>
                <a:gd name="T3" fmla="*/ 18 h 464"/>
                <a:gd name="T4" fmla="*/ 442 w 540"/>
                <a:gd name="T5" fmla="*/ 52 h 464"/>
                <a:gd name="T6" fmla="*/ 494 w 540"/>
                <a:gd name="T7" fmla="*/ 102 h 464"/>
                <a:gd name="T8" fmla="*/ 528 w 540"/>
                <a:gd name="T9" fmla="*/ 162 h 464"/>
                <a:gd name="T10" fmla="*/ 540 w 540"/>
                <a:gd name="T11" fmla="*/ 232 h 464"/>
                <a:gd name="T12" fmla="*/ 534 w 540"/>
                <a:gd name="T13" fmla="*/ 278 h 464"/>
                <a:gd name="T14" fmla="*/ 506 w 540"/>
                <a:gd name="T15" fmla="*/ 342 h 464"/>
                <a:gd name="T16" fmla="*/ 460 w 540"/>
                <a:gd name="T17" fmla="*/ 396 h 464"/>
                <a:gd name="T18" fmla="*/ 398 w 540"/>
                <a:gd name="T19" fmla="*/ 436 h 464"/>
                <a:gd name="T20" fmla="*/ 324 w 540"/>
                <a:gd name="T21" fmla="*/ 460 h 464"/>
                <a:gd name="T22" fmla="*/ 270 w 540"/>
                <a:gd name="T23" fmla="*/ 464 h 464"/>
                <a:gd name="T24" fmla="*/ 190 w 540"/>
                <a:gd name="T25" fmla="*/ 454 h 464"/>
                <a:gd name="T26" fmla="*/ 118 w 540"/>
                <a:gd name="T27" fmla="*/ 424 h 464"/>
                <a:gd name="T28" fmla="*/ 62 w 540"/>
                <a:gd name="T29" fmla="*/ 380 h 464"/>
                <a:gd name="T30" fmla="*/ 20 w 540"/>
                <a:gd name="T31" fmla="*/ 322 h 464"/>
                <a:gd name="T32" fmla="*/ 2 w 540"/>
                <a:gd name="T33" fmla="*/ 256 h 464"/>
                <a:gd name="T34" fmla="*/ 2 w 540"/>
                <a:gd name="T35" fmla="*/ 208 h 464"/>
                <a:gd name="T36" fmla="*/ 20 w 540"/>
                <a:gd name="T37" fmla="*/ 142 h 464"/>
                <a:gd name="T38" fmla="*/ 62 w 540"/>
                <a:gd name="T39" fmla="*/ 84 h 464"/>
                <a:gd name="T40" fmla="*/ 118 w 540"/>
                <a:gd name="T41" fmla="*/ 40 h 464"/>
                <a:gd name="T42" fmla="*/ 190 w 540"/>
                <a:gd name="T43" fmla="*/ 10 h 464"/>
                <a:gd name="T44" fmla="*/ 270 w 540"/>
                <a:gd name="T45" fmla="*/ 0 h 464"/>
                <a:gd name="T46" fmla="*/ 270 w 540"/>
                <a:gd name="T47" fmla="*/ 232 h 464"/>
                <a:gd name="T48" fmla="*/ 220 w 540"/>
                <a:gd name="T49" fmla="*/ 196 h 464"/>
                <a:gd name="T50" fmla="*/ 208 w 540"/>
                <a:gd name="T51" fmla="*/ 176 h 464"/>
                <a:gd name="T52" fmla="*/ 156 w 540"/>
                <a:gd name="T53" fmla="*/ 130 h 464"/>
                <a:gd name="T54" fmla="*/ 76 w 540"/>
                <a:gd name="T55" fmla="*/ 152 h 464"/>
                <a:gd name="T56" fmla="*/ 130 w 540"/>
                <a:gd name="T57" fmla="*/ 204 h 464"/>
                <a:gd name="T58" fmla="*/ 138 w 540"/>
                <a:gd name="T59" fmla="*/ 230 h 464"/>
                <a:gd name="T60" fmla="*/ 132 w 540"/>
                <a:gd name="T61" fmla="*/ 244 h 464"/>
                <a:gd name="T62" fmla="*/ 108 w 540"/>
                <a:gd name="T63" fmla="*/ 250 h 464"/>
                <a:gd name="T64" fmla="*/ 38 w 540"/>
                <a:gd name="T65" fmla="*/ 330 h 464"/>
                <a:gd name="T66" fmla="*/ 146 w 540"/>
                <a:gd name="T67" fmla="*/ 330 h 464"/>
                <a:gd name="T68" fmla="*/ 186 w 540"/>
                <a:gd name="T69" fmla="*/ 320 h 464"/>
                <a:gd name="T70" fmla="*/ 214 w 540"/>
                <a:gd name="T71" fmla="*/ 296 h 464"/>
                <a:gd name="T72" fmla="*/ 320 w 540"/>
                <a:gd name="T73" fmla="*/ 390 h 464"/>
                <a:gd name="T74" fmla="*/ 326 w 540"/>
                <a:gd name="T75" fmla="*/ 296 h 464"/>
                <a:gd name="T76" fmla="*/ 352 w 540"/>
                <a:gd name="T77" fmla="*/ 320 h 464"/>
                <a:gd name="T78" fmla="*/ 392 w 540"/>
                <a:gd name="T79" fmla="*/ 330 h 464"/>
                <a:gd name="T80" fmla="*/ 500 w 540"/>
                <a:gd name="T81" fmla="*/ 250 h 464"/>
                <a:gd name="T82" fmla="*/ 432 w 540"/>
                <a:gd name="T83" fmla="*/ 250 h 464"/>
                <a:gd name="T84" fmla="*/ 408 w 540"/>
                <a:gd name="T85" fmla="*/ 244 h 464"/>
                <a:gd name="T86" fmla="*/ 400 w 540"/>
                <a:gd name="T87" fmla="*/ 230 h 464"/>
                <a:gd name="T88" fmla="*/ 410 w 540"/>
                <a:gd name="T89" fmla="*/ 204 h 464"/>
                <a:gd name="T90" fmla="*/ 462 w 540"/>
                <a:gd name="T91" fmla="*/ 152 h 464"/>
                <a:gd name="T92" fmla="*/ 382 w 540"/>
                <a:gd name="T93" fmla="*/ 130 h 464"/>
                <a:gd name="T94" fmla="*/ 330 w 540"/>
                <a:gd name="T95" fmla="*/ 176 h 464"/>
                <a:gd name="T96" fmla="*/ 320 w 540"/>
                <a:gd name="T97" fmla="*/ 19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40" h="464">
                  <a:moveTo>
                    <a:pt x="270" y="0"/>
                  </a:moveTo>
                  <a:lnTo>
                    <a:pt x="270" y="0"/>
                  </a:lnTo>
                  <a:lnTo>
                    <a:pt x="298" y="0"/>
                  </a:lnTo>
                  <a:lnTo>
                    <a:pt x="324" y="4"/>
                  </a:lnTo>
                  <a:lnTo>
                    <a:pt x="350" y="10"/>
                  </a:lnTo>
                  <a:lnTo>
                    <a:pt x="374" y="18"/>
                  </a:lnTo>
                  <a:lnTo>
                    <a:pt x="398" y="28"/>
                  </a:lnTo>
                  <a:lnTo>
                    <a:pt x="420" y="40"/>
                  </a:lnTo>
                  <a:lnTo>
                    <a:pt x="442" y="52"/>
                  </a:lnTo>
                  <a:lnTo>
                    <a:pt x="460" y="68"/>
                  </a:lnTo>
                  <a:lnTo>
                    <a:pt x="478" y="84"/>
                  </a:lnTo>
                  <a:lnTo>
                    <a:pt x="494" y="102"/>
                  </a:lnTo>
                  <a:lnTo>
                    <a:pt x="506" y="122"/>
                  </a:lnTo>
                  <a:lnTo>
                    <a:pt x="518" y="142"/>
                  </a:lnTo>
                  <a:lnTo>
                    <a:pt x="528" y="162"/>
                  </a:lnTo>
                  <a:lnTo>
                    <a:pt x="534" y="184"/>
                  </a:lnTo>
                  <a:lnTo>
                    <a:pt x="538" y="208"/>
                  </a:lnTo>
                  <a:lnTo>
                    <a:pt x="540" y="232"/>
                  </a:lnTo>
                  <a:lnTo>
                    <a:pt x="540" y="232"/>
                  </a:lnTo>
                  <a:lnTo>
                    <a:pt x="538" y="256"/>
                  </a:lnTo>
                  <a:lnTo>
                    <a:pt x="534" y="278"/>
                  </a:lnTo>
                  <a:lnTo>
                    <a:pt x="528" y="300"/>
                  </a:lnTo>
                  <a:lnTo>
                    <a:pt x="518" y="322"/>
                  </a:lnTo>
                  <a:lnTo>
                    <a:pt x="506" y="342"/>
                  </a:lnTo>
                  <a:lnTo>
                    <a:pt x="494" y="362"/>
                  </a:lnTo>
                  <a:lnTo>
                    <a:pt x="478" y="380"/>
                  </a:lnTo>
                  <a:lnTo>
                    <a:pt x="460" y="396"/>
                  </a:lnTo>
                  <a:lnTo>
                    <a:pt x="442" y="410"/>
                  </a:lnTo>
                  <a:lnTo>
                    <a:pt x="420" y="424"/>
                  </a:lnTo>
                  <a:lnTo>
                    <a:pt x="398" y="436"/>
                  </a:lnTo>
                  <a:lnTo>
                    <a:pt x="374" y="446"/>
                  </a:lnTo>
                  <a:lnTo>
                    <a:pt x="350" y="454"/>
                  </a:lnTo>
                  <a:lnTo>
                    <a:pt x="324" y="460"/>
                  </a:lnTo>
                  <a:lnTo>
                    <a:pt x="298" y="462"/>
                  </a:lnTo>
                  <a:lnTo>
                    <a:pt x="270" y="464"/>
                  </a:lnTo>
                  <a:lnTo>
                    <a:pt x="270" y="464"/>
                  </a:lnTo>
                  <a:lnTo>
                    <a:pt x="242" y="462"/>
                  </a:lnTo>
                  <a:lnTo>
                    <a:pt x="216" y="458"/>
                  </a:lnTo>
                  <a:lnTo>
                    <a:pt x="190" y="454"/>
                  </a:lnTo>
                  <a:lnTo>
                    <a:pt x="164" y="446"/>
                  </a:lnTo>
                  <a:lnTo>
                    <a:pt x="140" y="436"/>
                  </a:lnTo>
                  <a:lnTo>
                    <a:pt x="118" y="424"/>
                  </a:lnTo>
                  <a:lnTo>
                    <a:pt x="98" y="410"/>
                  </a:lnTo>
                  <a:lnTo>
                    <a:pt x="78" y="396"/>
                  </a:lnTo>
                  <a:lnTo>
                    <a:pt x="62" y="380"/>
                  </a:lnTo>
                  <a:lnTo>
                    <a:pt x="46" y="362"/>
                  </a:lnTo>
                  <a:lnTo>
                    <a:pt x="32" y="342"/>
                  </a:lnTo>
                  <a:lnTo>
                    <a:pt x="20" y="322"/>
                  </a:lnTo>
                  <a:lnTo>
                    <a:pt x="12" y="300"/>
                  </a:lnTo>
                  <a:lnTo>
                    <a:pt x="6" y="278"/>
                  </a:lnTo>
                  <a:lnTo>
                    <a:pt x="2" y="256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08"/>
                  </a:lnTo>
                  <a:lnTo>
                    <a:pt x="6" y="184"/>
                  </a:lnTo>
                  <a:lnTo>
                    <a:pt x="12" y="162"/>
                  </a:lnTo>
                  <a:lnTo>
                    <a:pt x="20" y="142"/>
                  </a:lnTo>
                  <a:lnTo>
                    <a:pt x="32" y="120"/>
                  </a:lnTo>
                  <a:lnTo>
                    <a:pt x="46" y="102"/>
                  </a:lnTo>
                  <a:lnTo>
                    <a:pt x="62" y="84"/>
                  </a:lnTo>
                  <a:lnTo>
                    <a:pt x="78" y="68"/>
                  </a:lnTo>
                  <a:lnTo>
                    <a:pt x="98" y="52"/>
                  </a:lnTo>
                  <a:lnTo>
                    <a:pt x="118" y="40"/>
                  </a:lnTo>
                  <a:lnTo>
                    <a:pt x="140" y="28"/>
                  </a:lnTo>
                  <a:lnTo>
                    <a:pt x="164" y="18"/>
                  </a:lnTo>
                  <a:lnTo>
                    <a:pt x="190" y="10"/>
                  </a:lnTo>
                  <a:lnTo>
                    <a:pt x="216" y="4"/>
                  </a:lnTo>
                  <a:lnTo>
                    <a:pt x="242" y="0"/>
                  </a:lnTo>
                  <a:lnTo>
                    <a:pt x="270" y="0"/>
                  </a:lnTo>
                  <a:lnTo>
                    <a:pt x="270" y="0"/>
                  </a:lnTo>
                  <a:close/>
                  <a:moveTo>
                    <a:pt x="270" y="232"/>
                  </a:moveTo>
                  <a:lnTo>
                    <a:pt x="270" y="232"/>
                  </a:lnTo>
                  <a:close/>
                  <a:moveTo>
                    <a:pt x="220" y="50"/>
                  </a:moveTo>
                  <a:lnTo>
                    <a:pt x="220" y="50"/>
                  </a:lnTo>
                  <a:lnTo>
                    <a:pt x="220" y="196"/>
                  </a:lnTo>
                  <a:lnTo>
                    <a:pt x="220" y="196"/>
                  </a:lnTo>
                  <a:lnTo>
                    <a:pt x="214" y="186"/>
                  </a:lnTo>
                  <a:lnTo>
                    <a:pt x="208" y="176"/>
                  </a:lnTo>
                  <a:lnTo>
                    <a:pt x="194" y="160"/>
                  </a:lnTo>
                  <a:lnTo>
                    <a:pt x="176" y="144"/>
                  </a:lnTo>
                  <a:lnTo>
                    <a:pt x="156" y="130"/>
                  </a:lnTo>
                  <a:lnTo>
                    <a:pt x="48" y="130"/>
                  </a:lnTo>
                  <a:lnTo>
                    <a:pt x="48" y="130"/>
                  </a:lnTo>
                  <a:lnTo>
                    <a:pt x="76" y="152"/>
                  </a:lnTo>
                  <a:lnTo>
                    <a:pt x="106" y="178"/>
                  </a:lnTo>
                  <a:lnTo>
                    <a:pt x="120" y="192"/>
                  </a:lnTo>
                  <a:lnTo>
                    <a:pt x="130" y="204"/>
                  </a:lnTo>
                  <a:lnTo>
                    <a:pt x="136" y="218"/>
                  </a:lnTo>
                  <a:lnTo>
                    <a:pt x="138" y="230"/>
                  </a:lnTo>
                  <a:lnTo>
                    <a:pt x="138" y="230"/>
                  </a:lnTo>
                  <a:lnTo>
                    <a:pt x="138" y="236"/>
                  </a:lnTo>
                  <a:lnTo>
                    <a:pt x="136" y="240"/>
                  </a:lnTo>
                  <a:lnTo>
                    <a:pt x="132" y="244"/>
                  </a:lnTo>
                  <a:lnTo>
                    <a:pt x="128" y="246"/>
                  </a:lnTo>
                  <a:lnTo>
                    <a:pt x="11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38" y="25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146" y="330"/>
                  </a:lnTo>
                  <a:lnTo>
                    <a:pt x="146" y="330"/>
                  </a:lnTo>
                  <a:lnTo>
                    <a:pt x="166" y="328"/>
                  </a:lnTo>
                  <a:lnTo>
                    <a:pt x="176" y="324"/>
                  </a:lnTo>
                  <a:lnTo>
                    <a:pt x="186" y="320"/>
                  </a:lnTo>
                  <a:lnTo>
                    <a:pt x="196" y="314"/>
                  </a:lnTo>
                  <a:lnTo>
                    <a:pt x="206" y="306"/>
                  </a:lnTo>
                  <a:lnTo>
                    <a:pt x="214" y="296"/>
                  </a:lnTo>
                  <a:lnTo>
                    <a:pt x="220" y="284"/>
                  </a:lnTo>
                  <a:lnTo>
                    <a:pt x="220" y="390"/>
                  </a:lnTo>
                  <a:lnTo>
                    <a:pt x="320" y="390"/>
                  </a:lnTo>
                  <a:lnTo>
                    <a:pt x="320" y="284"/>
                  </a:lnTo>
                  <a:lnTo>
                    <a:pt x="320" y="284"/>
                  </a:lnTo>
                  <a:lnTo>
                    <a:pt x="326" y="296"/>
                  </a:lnTo>
                  <a:lnTo>
                    <a:pt x="334" y="306"/>
                  </a:lnTo>
                  <a:lnTo>
                    <a:pt x="342" y="314"/>
                  </a:lnTo>
                  <a:lnTo>
                    <a:pt x="352" y="320"/>
                  </a:lnTo>
                  <a:lnTo>
                    <a:pt x="362" y="324"/>
                  </a:lnTo>
                  <a:lnTo>
                    <a:pt x="372" y="328"/>
                  </a:lnTo>
                  <a:lnTo>
                    <a:pt x="392" y="330"/>
                  </a:lnTo>
                  <a:lnTo>
                    <a:pt x="392" y="330"/>
                  </a:lnTo>
                  <a:lnTo>
                    <a:pt x="500" y="330"/>
                  </a:lnTo>
                  <a:lnTo>
                    <a:pt x="500" y="250"/>
                  </a:lnTo>
                  <a:lnTo>
                    <a:pt x="500" y="250"/>
                  </a:lnTo>
                  <a:lnTo>
                    <a:pt x="432" y="250"/>
                  </a:lnTo>
                  <a:lnTo>
                    <a:pt x="432" y="250"/>
                  </a:lnTo>
                  <a:lnTo>
                    <a:pt x="422" y="250"/>
                  </a:lnTo>
                  <a:lnTo>
                    <a:pt x="412" y="246"/>
                  </a:lnTo>
                  <a:lnTo>
                    <a:pt x="408" y="244"/>
                  </a:lnTo>
                  <a:lnTo>
                    <a:pt x="404" y="240"/>
                  </a:lnTo>
                  <a:lnTo>
                    <a:pt x="402" y="236"/>
                  </a:lnTo>
                  <a:lnTo>
                    <a:pt x="400" y="230"/>
                  </a:lnTo>
                  <a:lnTo>
                    <a:pt x="400" y="230"/>
                  </a:lnTo>
                  <a:lnTo>
                    <a:pt x="402" y="218"/>
                  </a:lnTo>
                  <a:lnTo>
                    <a:pt x="410" y="204"/>
                  </a:lnTo>
                  <a:lnTo>
                    <a:pt x="420" y="192"/>
                  </a:lnTo>
                  <a:lnTo>
                    <a:pt x="432" y="178"/>
                  </a:lnTo>
                  <a:lnTo>
                    <a:pt x="462" y="152"/>
                  </a:lnTo>
                  <a:lnTo>
                    <a:pt x="492" y="130"/>
                  </a:lnTo>
                  <a:lnTo>
                    <a:pt x="382" y="130"/>
                  </a:lnTo>
                  <a:lnTo>
                    <a:pt x="382" y="130"/>
                  </a:lnTo>
                  <a:lnTo>
                    <a:pt x="364" y="144"/>
                  </a:lnTo>
                  <a:lnTo>
                    <a:pt x="346" y="160"/>
                  </a:lnTo>
                  <a:lnTo>
                    <a:pt x="330" y="176"/>
                  </a:lnTo>
                  <a:lnTo>
                    <a:pt x="324" y="186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20" y="50"/>
                  </a:lnTo>
                  <a:lnTo>
                    <a:pt x="22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9" name="Group 8"/>
            <p:cNvGrpSpPr/>
            <p:nvPr/>
          </p:nvGrpSpPr>
          <p:grpSpPr>
            <a:xfrm>
              <a:off x="1314450" y="339725"/>
              <a:ext cx="5232400" cy="736600"/>
              <a:chOff x="1314450" y="339725"/>
              <a:chExt cx="5232400" cy="736600"/>
            </a:xfrm>
            <a:grpFill/>
          </p:grpSpPr>
          <p:sp>
            <p:nvSpPr>
              <p:cNvPr id="10" name="Freeform 9"/>
              <p:cNvSpPr>
                <a:spLocks/>
              </p:cNvSpPr>
              <p:nvPr/>
            </p:nvSpPr>
            <p:spPr bwMode="auto">
              <a:xfrm>
                <a:off x="1908175" y="352425"/>
                <a:ext cx="139700" cy="98425"/>
              </a:xfrm>
              <a:custGeom>
                <a:avLst/>
                <a:gdLst>
                  <a:gd name="T0" fmla="*/ 4 w 88"/>
                  <a:gd name="T1" fmla="*/ 0 h 62"/>
                  <a:gd name="T2" fmla="*/ 88 w 88"/>
                  <a:gd name="T3" fmla="*/ 0 h 62"/>
                  <a:gd name="T4" fmla="*/ 84 w 88"/>
                  <a:gd name="T5" fmla="*/ 62 h 62"/>
                  <a:gd name="T6" fmla="*/ 0 w 88"/>
                  <a:gd name="T7" fmla="*/ 62 h 62"/>
                  <a:gd name="T8" fmla="*/ 4 w 88"/>
                  <a:gd name="T9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" h="62">
                    <a:moveTo>
                      <a:pt x="4" y="0"/>
                    </a:moveTo>
                    <a:lnTo>
                      <a:pt x="88" y="0"/>
                    </a:lnTo>
                    <a:lnTo>
                      <a:pt x="84" y="62"/>
                    </a:lnTo>
                    <a:lnTo>
                      <a:pt x="0" y="6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Freeform 10"/>
              <p:cNvSpPr>
                <a:spLocks noEditPoints="1"/>
              </p:cNvSpPr>
              <p:nvPr/>
            </p:nvSpPr>
            <p:spPr bwMode="auto">
              <a:xfrm>
                <a:off x="5397500" y="504825"/>
                <a:ext cx="393700" cy="393700"/>
              </a:xfrm>
              <a:custGeom>
                <a:avLst/>
                <a:gdLst>
                  <a:gd name="T0" fmla="*/ 152 w 248"/>
                  <a:gd name="T1" fmla="*/ 216 h 248"/>
                  <a:gd name="T2" fmla="*/ 138 w 248"/>
                  <a:gd name="T3" fmla="*/ 228 h 248"/>
                  <a:gd name="T4" fmla="*/ 112 w 248"/>
                  <a:gd name="T5" fmla="*/ 242 h 248"/>
                  <a:gd name="T6" fmla="*/ 92 w 248"/>
                  <a:gd name="T7" fmla="*/ 246 h 248"/>
                  <a:gd name="T8" fmla="*/ 80 w 248"/>
                  <a:gd name="T9" fmla="*/ 248 h 248"/>
                  <a:gd name="T10" fmla="*/ 44 w 248"/>
                  <a:gd name="T11" fmla="*/ 242 h 248"/>
                  <a:gd name="T12" fmla="*/ 18 w 248"/>
                  <a:gd name="T13" fmla="*/ 226 h 248"/>
                  <a:gd name="T14" fmla="*/ 4 w 248"/>
                  <a:gd name="T15" fmla="*/ 202 h 248"/>
                  <a:gd name="T16" fmla="*/ 0 w 248"/>
                  <a:gd name="T17" fmla="*/ 174 h 248"/>
                  <a:gd name="T18" fmla="*/ 2 w 248"/>
                  <a:gd name="T19" fmla="*/ 156 h 248"/>
                  <a:gd name="T20" fmla="*/ 20 w 248"/>
                  <a:gd name="T21" fmla="*/ 128 h 248"/>
                  <a:gd name="T22" fmla="*/ 54 w 248"/>
                  <a:gd name="T23" fmla="*/ 108 h 248"/>
                  <a:gd name="T24" fmla="*/ 104 w 248"/>
                  <a:gd name="T25" fmla="*/ 98 h 248"/>
                  <a:gd name="T26" fmla="*/ 162 w 248"/>
                  <a:gd name="T27" fmla="*/ 96 h 248"/>
                  <a:gd name="T28" fmla="*/ 164 w 248"/>
                  <a:gd name="T29" fmla="*/ 78 h 248"/>
                  <a:gd name="T30" fmla="*/ 162 w 248"/>
                  <a:gd name="T31" fmla="*/ 60 h 248"/>
                  <a:gd name="T32" fmla="*/ 154 w 248"/>
                  <a:gd name="T33" fmla="*/ 46 h 248"/>
                  <a:gd name="T34" fmla="*/ 136 w 248"/>
                  <a:gd name="T35" fmla="*/ 40 h 248"/>
                  <a:gd name="T36" fmla="*/ 126 w 248"/>
                  <a:gd name="T37" fmla="*/ 42 h 248"/>
                  <a:gd name="T38" fmla="*/ 114 w 248"/>
                  <a:gd name="T39" fmla="*/ 48 h 248"/>
                  <a:gd name="T40" fmla="*/ 106 w 248"/>
                  <a:gd name="T41" fmla="*/ 66 h 248"/>
                  <a:gd name="T42" fmla="*/ 22 w 248"/>
                  <a:gd name="T43" fmla="*/ 76 h 248"/>
                  <a:gd name="T44" fmla="*/ 24 w 248"/>
                  <a:gd name="T45" fmla="*/ 66 h 248"/>
                  <a:gd name="T46" fmla="*/ 28 w 248"/>
                  <a:gd name="T47" fmla="*/ 46 h 248"/>
                  <a:gd name="T48" fmla="*/ 38 w 248"/>
                  <a:gd name="T49" fmla="*/ 30 h 248"/>
                  <a:gd name="T50" fmla="*/ 54 w 248"/>
                  <a:gd name="T51" fmla="*/ 18 h 248"/>
                  <a:gd name="T52" fmla="*/ 62 w 248"/>
                  <a:gd name="T53" fmla="*/ 14 h 248"/>
                  <a:gd name="T54" fmla="*/ 102 w 248"/>
                  <a:gd name="T55" fmla="*/ 2 h 248"/>
                  <a:gd name="T56" fmla="*/ 144 w 248"/>
                  <a:gd name="T57" fmla="*/ 0 h 248"/>
                  <a:gd name="T58" fmla="*/ 164 w 248"/>
                  <a:gd name="T59" fmla="*/ 0 h 248"/>
                  <a:gd name="T60" fmla="*/ 200 w 248"/>
                  <a:gd name="T61" fmla="*/ 10 h 248"/>
                  <a:gd name="T62" fmla="*/ 230 w 248"/>
                  <a:gd name="T63" fmla="*/ 30 h 248"/>
                  <a:gd name="T64" fmla="*/ 240 w 248"/>
                  <a:gd name="T65" fmla="*/ 44 h 248"/>
                  <a:gd name="T66" fmla="*/ 246 w 248"/>
                  <a:gd name="T67" fmla="*/ 62 h 248"/>
                  <a:gd name="T68" fmla="*/ 248 w 248"/>
                  <a:gd name="T69" fmla="*/ 82 h 248"/>
                  <a:gd name="T70" fmla="*/ 242 w 248"/>
                  <a:gd name="T71" fmla="*/ 196 h 248"/>
                  <a:gd name="T72" fmla="*/ 242 w 248"/>
                  <a:gd name="T73" fmla="*/ 246 h 248"/>
                  <a:gd name="T74" fmla="*/ 152 w 248"/>
                  <a:gd name="T75" fmla="*/ 216 h 248"/>
                  <a:gd name="T76" fmla="*/ 114 w 248"/>
                  <a:gd name="T77" fmla="*/ 200 h 248"/>
                  <a:gd name="T78" fmla="*/ 138 w 248"/>
                  <a:gd name="T79" fmla="*/ 194 h 248"/>
                  <a:gd name="T80" fmla="*/ 152 w 248"/>
                  <a:gd name="T81" fmla="*/ 176 h 248"/>
                  <a:gd name="T82" fmla="*/ 158 w 248"/>
                  <a:gd name="T83" fmla="*/ 154 h 248"/>
                  <a:gd name="T84" fmla="*/ 160 w 248"/>
                  <a:gd name="T85" fmla="*/ 130 h 248"/>
                  <a:gd name="T86" fmla="*/ 122 w 248"/>
                  <a:gd name="T87" fmla="*/ 132 h 248"/>
                  <a:gd name="T88" fmla="*/ 110 w 248"/>
                  <a:gd name="T89" fmla="*/ 134 h 248"/>
                  <a:gd name="T90" fmla="*/ 94 w 248"/>
                  <a:gd name="T91" fmla="*/ 148 h 248"/>
                  <a:gd name="T92" fmla="*/ 86 w 248"/>
                  <a:gd name="T93" fmla="*/ 170 h 248"/>
                  <a:gd name="T94" fmla="*/ 86 w 248"/>
                  <a:gd name="T95" fmla="*/ 176 h 248"/>
                  <a:gd name="T96" fmla="*/ 92 w 248"/>
                  <a:gd name="T97" fmla="*/ 192 h 248"/>
                  <a:gd name="T98" fmla="*/ 102 w 248"/>
                  <a:gd name="T99" fmla="*/ 198 h 248"/>
                  <a:gd name="T100" fmla="*/ 114 w 248"/>
                  <a:gd name="T101" fmla="*/ 20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8" h="248">
                    <a:moveTo>
                      <a:pt x="152" y="216"/>
                    </a:moveTo>
                    <a:lnTo>
                      <a:pt x="152" y="216"/>
                    </a:lnTo>
                    <a:lnTo>
                      <a:pt x="152" y="216"/>
                    </a:lnTo>
                    <a:lnTo>
                      <a:pt x="138" y="228"/>
                    </a:lnTo>
                    <a:lnTo>
                      <a:pt x="122" y="238"/>
                    </a:lnTo>
                    <a:lnTo>
                      <a:pt x="112" y="242"/>
                    </a:lnTo>
                    <a:lnTo>
                      <a:pt x="102" y="246"/>
                    </a:lnTo>
                    <a:lnTo>
                      <a:pt x="92" y="246"/>
                    </a:lnTo>
                    <a:lnTo>
                      <a:pt x="80" y="248"/>
                    </a:lnTo>
                    <a:lnTo>
                      <a:pt x="80" y="248"/>
                    </a:lnTo>
                    <a:lnTo>
                      <a:pt x="60" y="246"/>
                    </a:lnTo>
                    <a:lnTo>
                      <a:pt x="44" y="242"/>
                    </a:lnTo>
                    <a:lnTo>
                      <a:pt x="30" y="234"/>
                    </a:lnTo>
                    <a:lnTo>
                      <a:pt x="18" y="226"/>
                    </a:lnTo>
                    <a:lnTo>
                      <a:pt x="10" y="216"/>
                    </a:lnTo>
                    <a:lnTo>
                      <a:pt x="4" y="202"/>
                    </a:lnTo>
                    <a:lnTo>
                      <a:pt x="0" y="188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2" y="156"/>
                    </a:lnTo>
                    <a:lnTo>
                      <a:pt x="8" y="142"/>
                    </a:lnTo>
                    <a:lnTo>
                      <a:pt x="20" y="128"/>
                    </a:lnTo>
                    <a:lnTo>
                      <a:pt x="34" y="116"/>
                    </a:lnTo>
                    <a:lnTo>
                      <a:pt x="54" y="108"/>
                    </a:lnTo>
                    <a:lnTo>
                      <a:pt x="76" y="102"/>
                    </a:lnTo>
                    <a:lnTo>
                      <a:pt x="104" y="98"/>
                    </a:lnTo>
                    <a:lnTo>
                      <a:pt x="134" y="96"/>
                    </a:lnTo>
                    <a:lnTo>
                      <a:pt x="162" y="96"/>
                    </a:lnTo>
                    <a:lnTo>
                      <a:pt x="162" y="96"/>
                    </a:lnTo>
                    <a:lnTo>
                      <a:pt x="164" y="78"/>
                    </a:lnTo>
                    <a:lnTo>
                      <a:pt x="164" y="70"/>
                    </a:lnTo>
                    <a:lnTo>
                      <a:pt x="162" y="60"/>
                    </a:lnTo>
                    <a:lnTo>
                      <a:pt x="160" y="52"/>
                    </a:lnTo>
                    <a:lnTo>
                      <a:pt x="154" y="46"/>
                    </a:lnTo>
                    <a:lnTo>
                      <a:pt x="146" y="42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26" y="42"/>
                    </a:lnTo>
                    <a:lnTo>
                      <a:pt x="120" y="44"/>
                    </a:lnTo>
                    <a:lnTo>
                      <a:pt x="114" y="48"/>
                    </a:lnTo>
                    <a:lnTo>
                      <a:pt x="110" y="54"/>
                    </a:lnTo>
                    <a:lnTo>
                      <a:pt x="106" y="66"/>
                    </a:lnTo>
                    <a:lnTo>
                      <a:pt x="104" y="76"/>
                    </a:lnTo>
                    <a:lnTo>
                      <a:pt x="22" y="76"/>
                    </a:lnTo>
                    <a:lnTo>
                      <a:pt x="22" y="76"/>
                    </a:lnTo>
                    <a:lnTo>
                      <a:pt x="24" y="66"/>
                    </a:lnTo>
                    <a:lnTo>
                      <a:pt x="26" y="54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38" y="30"/>
                    </a:lnTo>
                    <a:lnTo>
                      <a:pt x="46" y="24"/>
                    </a:lnTo>
                    <a:lnTo>
                      <a:pt x="54" y="18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2" y="6"/>
                    </a:lnTo>
                    <a:lnTo>
                      <a:pt x="102" y="2"/>
                    </a:lnTo>
                    <a:lnTo>
                      <a:pt x="124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64" y="0"/>
                    </a:lnTo>
                    <a:lnTo>
                      <a:pt x="182" y="4"/>
                    </a:lnTo>
                    <a:lnTo>
                      <a:pt x="200" y="10"/>
                    </a:lnTo>
                    <a:lnTo>
                      <a:pt x="216" y="18"/>
                    </a:lnTo>
                    <a:lnTo>
                      <a:pt x="230" y="30"/>
                    </a:lnTo>
                    <a:lnTo>
                      <a:pt x="236" y="38"/>
                    </a:lnTo>
                    <a:lnTo>
                      <a:pt x="240" y="44"/>
                    </a:lnTo>
                    <a:lnTo>
                      <a:pt x="244" y="52"/>
                    </a:lnTo>
                    <a:lnTo>
                      <a:pt x="246" y="62"/>
                    </a:lnTo>
                    <a:lnTo>
                      <a:pt x="248" y="72"/>
                    </a:lnTo>
                    <a:lnTo>
                      <a:pt x="248" y="82"/>
                    </a:lnTo>
                    <a:lnTo>
                      <a:pt x="242" y="196"/>
                    </a:lnTo>
                    <a:lnTo>
                      <a:pt x="242" y="196"/>
                    </a:lnTo>
                    <a:lnTo>
                      <a:pt x="240" y="214"/>
                    </a:lnTo>
                    <a:lnTo>
                      <a:pt x="242" y="246"/>
                    </a:lnTo>
                    <a:lnTo>
                      <a:pt x="158" y="246"/>
                    </a:lnTo>
                    <a:lnTo>
                      <a:pt x="152" y="216"/>
                    </a:lnTo>
                    <a:close/>
                    <a:moveTo>
                      <a:pt x="114" y="200"/>
                    </a:moveTo>
                    <a:lnTo>
                      <a:pt x="114" y="200"/>
                    </a:lnTo>
                    <a:lnTo>
                      <a:pt x="128" y="198"/>
                    </a:lnTo>
                    <a:lnTo>
                      <a:pt x="138" y="194"/>
                    </a:lnTo>
                    <a:lnTo>
                      <a:pt x="146" y="186"/>
                    </a:lnTo>
                    <a:lnTo>
                      <a:pt x="152" y="176"/>
                    </a:lnTo>
                    <a:lnTo>
                      <a:pt x="156" y="166"/>
                    </a:lnTo>
                    <a:lnTo>
                      <a:pt x="158" y="154"/>
                    </a:lnTo>
                    <a:lnTo>
                      <a:pt x="160" y="130"/>
                    </a:lnTo>
                    <a:lnTo>
                      <a:pt x="160" y="130"/>
                    </a:lnTo>
                    <a:lnTo>
                      <a:pt x="134" y="130"/>
                    </a:lnTo>
                    <a:lnTo>
                      <a:pt x="122" y="132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2" y="140"/>
                    </a:lnTo>
                    <a:lnTo>
                      <a:pt x="94" y="148"/>
                    </a:lnTo>
                    <a:lnTo>
                      <a:pt x="88" y="158"/>
                    </a:lnTo>
                    <a:lnTo>
                      <a:pt x="86" y="170"/>
                    </a:lnTo>
                    <a:lnTo>
                      <a:pt x="86" y="170"/>
                    </a:lnTo>
                    <a:lnTo>
                      <a:pt x="86" y="176"/>
                    </a:lnTo>
                    <a:lnTo>
                      <a:pt x="88" y="182"/>
                    </a:lnTo>
                    <a:lnTo>
                      <a:pt x="92" y="192"/>
                    </a:lnTo>
                    <a:lnTo>
                      <a:pt x="96" y="194"/>
                    </a:lnTo>
                    <a:lnTo>
                      <a:pt x="102" y="198"/>
                    </a:lnTo>
                    <a:lnTo>
                      <a:pt x="108" y="200"/>
                    </a:lnTo>
                    <a:lnTo>
                      <a:pt x="114" y="200"/>
                    </a:lnTo>
                    <a:lnTo>
                      <a:pt x="114" y="2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11"/>
              <p:cNvSpPr>
                <a:spLocks noEditPoints="1"/>
              </p:cNvSpPr>
              <p:nvPr/>
            </p:nvSpPr>
            <p:spPr bwMode="auto">
              <a:xfrm>
                <a:off x="6092825" y="352425"/>
                <a:ext cx="454025" cy="542925"/>
              </a:xfrm>
              <a:custGeom>
                <a:avLst/>
                <a:gdLst>
                  <a:gd name="T0" fmla="*/ 0 w 286"/>
                  <a:gd name="T1" fmla="*/ 342 h 342"/>
                  <a:gd name="T2" fmla="*/ 24 w 286"/>
                  <a:gd name="T3" fmla="*/ 0 h 342"/>
                  <a:gd name="T4" fmla="*/ 114 w 286"/>
                  <a:gd name="T5" fmla="*/ 0 h 342"/>
                  <a:gd name="T6" fmla="*/ 90 w 286"/>
                  <a:gd name="T7" fmla="*/ 342 h 342"/>
                  <a:gd name="T8" fmla="*/ 0 w 286"/>
                  <a:gd name="T9" fmla="*/ 342 h 342"/>
                  <a:gd name="T10" fmla="*/ 100 w 286"/>
                  <a:gd name="T11" fmla="*/ 210 h 342"/>
                  <a:gd name="T12" fmla="*/ 184 w 286"/>
                  <a:gd name="T13" fmla="*/ 104 h 342"/>
                  <a:gd name="T14" fmla="*/ 286 w 286"/>
                  <a:gd name="T15" fmla="*/ 104 h 342"/>
                  <a:gd name="T16" fmla="*/ 194 w 286"/>
                  <a:gd name="T17" fmla="*/ 204 h 342"/>
                  <a:gd name="T18" fmla="*/ 282 w 286"/>
                  <a:gd name="T19" fmla="*/ 342 h 342"/>
                  <a:gd name="T20" fmla="*/ 170 w 286"/>
                  <a:gd name="T21" fmla="*/ 342 h 342"/>
                  <a:gd name="T22" fmla="*/ 100 w 286"/>
                  <a:gd name="T23" fmla="*/ 21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6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4" y="0"/>
                    </a:lnTo>
                    <a:lnTo>
                      <a:pt x="90" y="342"/>
                    </a:lnTo>
                    <a:lnTo>
                      <a:pt x="0" y="342"/>
                    </a:lnTo>
                    <a:close/>
                    <a:moveTo>
                      <a:pt x="100" y="210"/>
                    </a:moveTo>
                    <a:lnTo>
                      <a:pt x="184" y="104"/>
                    </a:lnTo>
                    <a:lnTo>
                      <a:pt x="286" y="104"/>
                    </a:lnTo>
                    <a:lnTo>
                      <a:pt x="194" y="204"/>
                    </a:lnTo>
                    <a:lnTo>
                      <a:pt x="282" y="342"/>
                    </a:lnTo>
                    <a:lnTo>
                      <a:pt x="170" y="342"/>
                    </a:lnTo>
                    <a:lnTo>
                      <a:pt x="10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12"/>
              <p:cNvSpPr>
                <a:spLocks/>
              </p:cNvSpPr>
              <p:nvPr/>
            </p:nvSpPr>
            <p:spPr bwMode="auto">
              <a:xfrm>
                <a:off x="3606800" y="517525"/>
                <a:ext cx="292100" cy="377825"/>
              </a:xfrm>
              <a:custGeom>
                <a:avLst/>
                <a:gdLst>
                  <a:gd name="T0" fmla="*/ 104 w 184"/>
                  <a:gd name="T1" fmla="*/ 34 h 238"/>
                  <a:gd name="T2" fmla="*/ 106 w 184"/>
                  <a:gd name="T3" fmla="*/ 34 h 238"/>
                  <a:gd name="T4" fmla="*/ 106 w 184"/>
                  <a:gd name="T5" fmla="*/ 34 h 238"/>
                  <a:gd name="T6" fmla="*/ 114 w 184"/>
                  <a:gd name="T7" fmla="*/ 24 h 238"/>
                  <a:gd name="T8" fmla="*/ 124 w 184"/>
                  <a:gd name="T9" fmla="*/ 16 h 238"/>
                  <a:gd name="T10" fmla="*/ 132 w 184"/>
                  <a:gd name="T11" fmla="*/ 10 h 238"/>
                  <a:gd name="T12" fmla="*/ 142 w 184"/>
                  <a:gd name="T13" fmla="*/ 6 h 238"/>
                  <a:gd name="T14" fmla="*/ 152 w 184"/>
                  <a:gd name="T15" fmla="*/ 4 h 238"/>
                  <a:gd name="T16" fmla="*/ 162 w 184"/>
                  <a:gd name="T17" fmla="*/ 2 h 238"/>
                  <a:gd name="T18" fmla="*/ 184 w 184"/>
                  <a:gd name="T19" fmla="*/ 0 h 238"/>
                  <a:gd name="T20" fmla="*/ 178 w 184"/>
                  <a:gd name="T21" fmla="*/ 76 h 238"/>
                  <a:gd name="T22" fmla="*/ 178 w 184"/>
                  <a:gd name="T23" fmla="*/ 76 h 238"/>
                  <a:gd name="T24" fmla="*/ 160 w 184"/>
                  <a:gd name="T25" fmla="*/ 76 h 238"/>
                  <a:gd name="T26" fmla="*/ 160 w 184"/>
                  <a:gd name="T27" fmla="*/ 76 h 238"/>
                  <a:gd name="T28" fmla="*/ 140 w 184"/>
                  <a:gd name="T29" fmla="*/ 78 h 238"/>
                  <a:gd name="T30" fmla="*/ 126 w 184"/>
                  <a:gd name="T31" fmla="*/ 82 h 238"/>
                  <a:gd name="T32" fmla="*/ 116 w 184"/>
                  <a:gd name="T33" fmla="*/ 88 h 238"/>
                  <a:gd name="T34" fmla="*/ 108 w 184"/>
                  <a:gd name="T35" fmla="*/ 98 h 238"/>
                  <a:gd name="T36" fmla="*/ 102 w 184"/>
                  <a:gd name="T37" fmla="*/ 108 h 238"/>
                  <a:gd name="T38" fmla="*/ 100 w 184"/>
                  <a:gd name="T39" fmla="*/ 120 h 238"/>
                  <a:gd name="T40" fmla="*/ 98 w 184"/>
                  <a:gd name="T41" fmla="*/ 148 h 238"/>
                  <a:gd name="T42" fmla="*/ 92 w 184"/>
                  <a:gd name="T43" fmla="*/ 238 h 238"/>
                  <a:gd name="T44" fmla="*/ 0 w 184"/>
                  <a:gd name="T45" fmla="*/ 238 h 238"/>
                  <a:gd name="T46" fmla="*/ 12 w 184"/>
                  <a:gd name="T47" fmla="*/ 62 h 238"/>
                  <a:gd name="T48" fmla="*/ 12 w 184"/>
                  <a:gd name="T49" fmla="*/ 62 h 238"/>
                  <a:gd name="T50" fmla="*/ 14 w 184"/>
                  <a:gd name="T51" fmla="*/ 32 h 238"/>
                  <a:gd name="T52" fmla="*/ 14 w 184"/>
                  <a:gd name="T53" fmla="*/ 0 h 238"/>
                  <a:gd name="T54" fmla="*/ 102 w 184"/>
                  <a:gd name="T55" fmla="*/ 0 h 238"/>
                  <a:gd name="T56" fmla="*/ 104 w 184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4" h="238">
                    <a:moveTo>
                      <a:pt x="104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4" y="24"/>
                    </a:lnTo>
                    <a:lnTo>
                      <a:pt x="124" y="16"/>
                    </a:lnTo>
                    <a:lnTo>
                      <a:pt x="132" y="10"/>
                    </a:lnTo>
                    <a:lnTo>
                      <a:pt x="142" y="6"/>
                    </a:lnTo>
                    <a:lnTo>
                      <a:pt x="152" y="4"/>
                    </a:lnTo>
                    <a:lnTo>
                      <a:pt x="162" y="2"/>
                    </a:lnTo>
                    <a:lnTo>
                      <a:pt x="184" y="0"/>
                    </a:lnTo>
                    <a:lnTo>
                      <a:pt x="178" y="76"/>
                    </a:lnTo>
                    <a:lnTo>
                      <a:pt x="178" y="76"/>
                    </a:lnTo>
                    <a:lnTo>
                      <a:pt x="160" y="76"/>
                    </a:lnTo>
                    <a:lnTo>
                      <a:pt x="160" y="76"/>
                    </a:lnTo>
                    <a:lnTo>
                      <a:pt x="140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2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4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13"/>
              <p:cNvSpPr>
                <a:spLocks/>
              </p:cNvSpPr>
              <p:nvPr/>
            </p:nvSpPr>
            <p:spPr bwMode="auto">
              <a:xfrm>
                <a:off x="3889375" y="352425"/>
                <a:ext cx="174625" cy="542925"/>
              </a:xfrm>
              <a:custGeom>
                <a:avLst/>
                <a:gdLst>
                  <a:gd name="T0" fmla="*/ 0 w 110"/>
                  <a:gd name="T1" fmla="*/ 342 h 342"/>
                  <a:gd name="T2" fmla="*/ 24 w 110"/>
                  <a:gd name="T3" fmla="*/ 0 h 342"/>
                  <a:gd name="T4" fmla="*/ 110 w 110"/>
                  <a:gd name="T5" fmla="*/ 0 h 342"/>
                  <a:gd name="T6" fmla="*/ 86 w 110"/>
                  <a:gd name="T7" fmla="*/ 342 h 342"/>
                  <a:gd name="T8" fmla="*/ 0 w 110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0" y="0"/>
                    </a:lnTo>
                    <a:lnTo>
                      <a:pt x="86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14"/>
              <p:cNvSpPr>
                <a:spLocks noEditPoints="1"/>
              </p:cNvSpPr>
              <p:nvPr/>
            </p:nvSpPr>
            <p:spPr bwMode="auto">
              <a:xfrm>
                <a:off x="2740025" y="352425"/>
                <a:ext cx="438150" cy="546100"/>
              </a:xfrm>
              <a:custGeom>
                <a:avLst/>
                <a:gdLst>
                  <a:gd name="T0" fmla="*/ 112 w 276"/>
                  <a:gd name="T1" fmla="*/ 0 h 344"/>
                  <a:gd name="T2" fmla="*/ 104 w 276"/>
                  <a:gd name="T3" fmla="*/ 136 h 344"/>
                  <a:gd name="T4" fmla="*/ 120 w 276"/>
                  <a:gd name="T5" fmla="*/ 122 h 344"/>
                  <a:gd name="T6" fmla="*/ 146 w 276"/>
                  <a:gd name="T7" fmla="*/ 104 h 344"/>
                  <a:gd name="T8" fmla="*/ 168 w 276"/>
                  <a:gd name="T9" fmla="*/ 98 h 344"/>
                  <a:gd name="T10" fmla="*/ 180 w 276"/>
                  <a:gd name="T11" fmla="*/ 98 h 344"/>
                  <a:gd name="T12" fmla="*/ 206 w 276"/>
                  <a:gd name="T13" fmla="*/ 100 h 344"/>
                  <a:gd name="T14" fmla="*/ 226 w 276"/>
                  <a:gd name="T15" fmla="*/ 108 h 344"/>
                  <a:gd name="T16" fmla="*/ 244 w 276"/>
                  <a:gd name="T17" fmla="*/ 120 h 344"/>
                  <a:gd name="T18" fmla="*/ 258 w 276"/>
                  <a:gd name="T19" fmla="*/ 136 h 344"/>
                  <a:gd name="T20" fmla="*/ 274 w 276"/>
                  <a:gd name="T21" fmla="*/ 176 h 344"/>
                  <a:gd name="T22" fmla="*/ 276 w 276"/>
                  <a:gd name="T23" fmla="*/ 220 h 344"/>
                  <a:gd name="T24" fmla="*/ 274 w 276"/>
                  <a:gd name="T25" fmla="*/ 242 h 344"/>
                  <a:gd name="T26" fmla="*/ 260 w 276"/>
                  <a:gd name="T27" fmla="*/ 284 h 344"/>
                  <a:gd name="T28" fmla="*/ 240 w 276"/>
                  <a:gd name="T29" fmla="*/ 312 h 344"/>
                  <a:gd name="T30" fmla="*/ 222 w 276"/>
                  <a:gd name="T31" fmla="*/ 328 h 344"/>
                  <a:gd name="T32" fmla="*/ 202 w 276"/>
                  <a:gd name="T33" fmla="*/ 338 h 344"/>
                  <a:gd name="T34" fmla="*/ 176 w 276"/>
                  <a:gd name="T35" fmla="*/ 344 h 344"/>
                  <a:gd name="T36" fmla="*/ 160 w 276"/>
                  <a:gd name="T37" fmla="*/ 344 h 344"/>
                  <a:gd name="T38" fmla="*/ 140 w 276"/>
                  <a:gd name="T39" fmla="*/ 342 h 344"/>
                  <a:gd name="T40" fmla="*/ 106 w 276"/>
                  <a:gd name="T41" fmla="*/ 324 h 344"/>
                  <a:gd name="T42" fmla="*/ 92 w 276"/>
                  <a:gd name="T43" fmla="*/ 312 h 344"/>
                  <a:gd name="T44" fmla="*/ 0 w 276"/>
                  <a:gd name="T45" fmla="*/ 342 h 344"/>
                  <a:gd name="T46" fmla="*/ 94 w 276"/>
                  <a:gd name="T47" fmla="*/ 226 h 344"/>
                  <a:gd name="T48" fmla="*/ 96 w 276"/>
                  <a:gd name="T49" fmla="*/ 250 h 344"/>
                  <a:gd name="T50" fmla="*/ 102 w 276"/>
                  <a:gd name="T51" fmla="*/ 272 h 344"/>
                  <a:gd name="T52" fmla="*/ 114 w 276"/>
                  <a:gd name="T53" fmla="*/ 288 h 344"/>
                  <a:gd name="T54" fmla="*/ 134 w 276"/>
                  <a:gd name="T55" fmla="*/ 296 h 344"/>
                  <a:gd name="T56" fmla="*/ 148 w 276"/>
                  <a:gd name="T57" fmla="*/ 294 h 344"/>
                  <a:gd name="T58" fmla="*/ 168 w 276"/>
                  <a:gd name="T59" fmla="*/ 282 h 344"/>
                  <a:gd name="T60" fmla="*/ 180 w 276"/>
                  <a:gd name="T61" fmla="*/ 260 h 344"/>
                  <a:gd name="T62" fmla="*/ 186 w 276"/>
                  <a:gd name="T63" fmla="*/ 222 h 344"/>
                  <a:gd name="T64" fmla="*/ 186 w 276"/>
                  <a:gd name="T65" fmla="*/ 198 h 344"/>
                  <a:gd name="T66" fmla="*/ 180 w 276"/>
                  <a:gd name="T67" fmla="*/ 174 h 344"/>
                  <a:gd name="T68" fmla="*/ 168 w 276"/>
                  <a:gd name="T69" fmla="*/ 156 h 344"/>
                  <a:gd name="T70" fmla="*/ 146 w 276"/>
                  <a:gd name="T71" fmla="*/ 150 h 344"/>
                  <a:gd name="T72" fmla="*/ 132 w 276"/>
                  <a:gd name="T73" fmla="*/ 152 h 344"/>
                  <a:gd name="T74" fmla="*/ 112 w 276"/>
                  <a:gd name="T75" fmla="*/ 166 h 344"/>
                  <a:gd name="T76" fmla="*/ 100 w 276"/>
                  <a:gd name="T77" fmla="*/ 188 h 344"/>
                  <a:gd name="T78" fmla="*/ 94 w 276"/>
                  <a:gd name="T79" fmla="*/ 226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6" h="344">
                    <a:moveTo>
                      <a:pt x="24" y="0"/>
                    </a:moveTo>
                    <a:lnTo>
                      <a:pt x="112" y="0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20" y="122"/>
                    </a:lnTo>
                    <a:lnTo>
                      <a:pt x="138" y="108"/>
                    </a:lnTo>
                    <a:lnTo>
                      <a:pt x="146" y="104"/>
                    </a:lnTo>
                    <a:lnTo>
                      <a:pt x="158" y="100"/>
                    </a:lnTo>
                    <a:lnTo>
                      <a:pt x="168" y="98"/>
                    </a:lnTo>
                    <a:lnTo>
                      <a:pt x="180" y="98"/>
                    </a:lnTo>
                    <a:lnTo>
                      <a:pt x="180" y="98"/>
                    </a:lnTo>
                    <a:lnTo>
                      <a:pt x="194" y="98"/>
                    </a:lnTo>
                    <a:lnTo>
                      <a:pt x="206" y="100"/>
                    </a:lnTo>
                    <a:lnTo>
                      <a:pt x="216" y="104"/>
                    </a:lnTo>
                    <a:lnTo>
                      <a:pt x="226" y="108"/>
                    </a:lnTo>
                    <a:lnTo>
                      <a:pt x="236" y="114"/>
                    </a:lnTo>
                    <a:lnTo>
                      <a:pt x="244" y="120"/>
                    </a:lnTo>
                    <a:lnTo>
                      <a:pt x="250" y="128"/>
                    </a:lnTo>
                    <a:lnTo>
                      <a:pt x="258" y="136"/>
                    </a:lnTo>
                    <a:lnTo>
                      <a:pt x="266" y="156"/>
                    </a:lnTo>
                    <a:lnTo>
                      <a:pt x="274" y="176"/>
                    </a:lnTo>
                    <a:lnTo>
                      <a:pt x="276" y="198"/>
                    </a:lnTo>
                    <a:lnTo>
                      <a:pt x="276" y="220"/>
                    </a:lnTo>
                    <a:lnTo>
                      <a:pt x="276" y="220"/>
                    </a:lnTo>
                    <a:lnTo>
                      <a:pt x="274" y="242"/>
                    </a:lnTo>
                    <a:lnTo>
                      <a:pt x="268" y="264"/>
                    </a:lnTo>
                    <a:lnTo>
                      <a:pt x="260" y="284"/>
                    </a:lnTo>
                    <a:lnTo>
                      <a:pt x="248" y="304"/>
                    </a:lnTo>
                    <a:lnTo>
                      <a:pt x="240" y="312"/>
                    </a:lnTo>
                    <a:lnTo>
                      <a:pt x="232" y="320"/>
                    </a:lnTo>
                    <a:lnTo>
                      <a:pt x="222" y="328"/>
                    </a:lnTo>
                    <a:lnTo>
                      <a:pt x="212" y="334"/>
                    </a:lnTo>
                    <a:lnTo>
                      <a:pt x="202" y="338"/>
                    </a:lnTo>
                    <a:lnTo>
                      <a:pt x="188" y="342"/>
                    </a:lnTo>
                    <a:lnTo>
                      <a:pt x="176" y="344"/>
                    </a:lnTo>
                    <a:lnTo>
                      <a:pt x="160" y="344"/>
                    </a:lnTo>
                    <a:lnTo>
                      <a:pt x="160" y="344"/>
                    </a:lnTo>
                    <a:lnTo>
                      <a:pt x="150" y="344"/>
                    </a:lnTo>
                    <a:lnTo>
                      <a:pt x="140" y="342"/>
                    </a:lnTo>
                    <a:lnTo>
                      <a:pt x="122" y="336"/>
                    </a:lnTo>
                    <a:lnTo>
                      <a:pt x="106" y="324"/>
                    </a:lnTo>
                    <a:lnTo>
                      <a:pt x="94" y="312"/>
                    </a:lnTo>
                    <a:lnTo>
                      <a:pt x="92" y="312"/>
                    </a:lnTo>
                    <a:lnTo>
                      <a:pt x="88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  <a:moveTo>
                      <a:pt x="94" y="226"/>
                    </a:moveTo>
                    <a:lnTo>
                      <a:pt x="94" y="226"/>
                    </a:lnTo>
                    <a:lnTo>
                      <a:pt x="96" y="250"/>
                    </a:lnTo>
                    <a:lnTo>
                      <a:pt x="98" y="260"/>
                    </a:lnTo>
                    <a:lnTo>
                      <a:pt x="102" y="272"/>
                    </a:lnTo>
                    <a:lnTo>
                      <a:pt x="106" y="282"/>
                    </a:lnTo>
                    <a:lnTo>
                      <a:pt x="114" y="288"/>
                    </a:lnTo>
                    <a:lnTo>
                      <a:pt x="122" y="294"/>
                    </a:lnTo>
                    <a:lnTo>
                      <a:pt x="134" y="296"/>
                    </a:lnTo>
                    <a:lnTo>
                      <a:pt x="134" y="296"/>
                    </a:lnTo>
                    <a:lnTo>
                      <a:pt x="148" y="294"/>
                    </a:lnTo>
                    <a:lnTo>
                      <a:pt x="158" y="288"/>
                    </a:lnTo>
                    <a:lnTo>
                      <a:pt x="168" y="282"/>
                    </a:lnTo>
                    <a:lnTo>
                      <a:pt x="174" y="272"/>
                    </a:lnTo>
                    <a:lnTo>
                      <a:pt x="180" y="260"/>
                    </a:lnTo>
                    <a:lnTo>
                      <a:pt x="184" y="248"/>
                    </a:lnTo>
                    <a:lnTo>
                      <a:pt x="186" y="222"/>
                    </a:lnTo>
                    <a:lnTo>
                      <a:pt x="186" y="222"/>
                    </a:lnTo>
                    <a:lnTo>
                      <a:pt x="186" y="198"/>
                    </a:lnTo>
                    <a:lnTo>
                      <a:pt x="184" y="186"/>
                    </a:lnTo>
                    <a:lnTo>
                      <a:pt x="180" y="174"/>
                    </a:lnTo>
                    <a:lnTo>
                      <a:pt x="176" y="164"/>
                    </a:lnTo>
                    <a:lnTo>
                      <a:pt x="168" y="156"/>
                    </a:lnTo>
                    <a:lnTo>
                      <a:pt x="158" y="152"/>
                    </a:lnTo>
                    <a:lnTo>
                      <a:pt x="146" y="150"/>
                    </a:lnTo>
                    <a:lnTo>
                      <a:pt x="146" y="150"/>
                    </a:lnTo>
                    <a:lnTo>
                      <a:pt x="132" y="152"/>
                    </a:lnTo>
                    <a:lnTo>
                      <a:pt x="120" y="156"/>
                    </a:lnTo>
                    <a:lnTo>
                      <a:pt x="112" y="166"/>
                    </a:lnTo>
                    <a:lnTo>
                      <a:pt x="104" y="176"/>
                    </a:lnTo>
                    <a:lnTo>
                      <a:pt x="100" y="188"/>
                    </a:lnTo>
                    <a:lnTo>
                      <a:pt x="98" y="200"/>
                    </a:lnTo>
                    <a:lnTo>
                      <a:pt x="94" y="226"/>
                    </a:lnTo>
                    <a:lnTo>
                      <a:pt x="94" y="2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15"/>
              <p:cNvSpPr>
                <a:spLocks noEditPoints="1"/>
              </p:cNvSpPr>
              <p:nvPr/>
            </p:nvSpPr>
            <p:spPr bwMode="auto">
              <a:xfrm>
                <a:off x="3197225" y="504825"/>
                <a:ext cx="406400" cy="396875"/>
              </a:xfrm>
              <a:custGeom>
                <a:avLst/>
                <a:gdLst>
                  <a:gd name="T0" fmla="*/ 86 w 256"/>
                  <a:gd name="T1" fmla="*/ 142 h 250"/>
                  <a:gd name="T2" fmla="*/ 86 w 256"/>
                  <a:gd name="T3" fmla="*/ 166 h 250"/>
                  <a:gd name="T4" fmla="*/ 90 w 256"/>
                  <a:gd name="T5" fmla="*/ 184 h 250"/>
                  <a:gd name="T6" fmla="*/ 102 w 256"/>
                  <a:gd name="T7" fmla="*/ 196 h 250"/>
                  <a:gd name="T8" fmla="*/ 124 w 256"/>
                  <a:gd name="T9" fmla="*/ 202 h 250"/>
                  <a:gd name="T10" fmla="*/ 132 w 256"/>
                  <a:gd name="T11" fmla="*/ 200 h 250"/>
                  <a:gd name="T12" fmla="*/ 148 w 256"/>
                  <a:gd name="T13" fmla="*/ 196 h 250"/>
                  <a:gd name="T14" fmla="*/ 158 w 256"/>
                  <a:gd name="T15" fmla="*/ 186 h 250"/>
                  <a:gd name="T16" fmla="*/ 164 w 256"/>
                  <a:gd name="T17" fmla="*/ 174 h 250"/>
                  <a:gd name="T18" fmla="*/ 248 w 256"/>
                  <a:gd name="T19" fmla="*/ 170 h 250"/>
                  <a:gd name="T20" fmla="*/ 246 w 256"/>
                  <a:gd name="T21" fmla="*/ 180 h 250"/>
                  <a:gd name="T22" fmla="*/ 238 w 256"/>
                  <a:gd name="T23" fmla="*/ 198 h 250"/>
                  <a:gd name="T24" fmla="*/ 218 w 256"/>
                  <a:gd name="T25" fmla="*/ 222 h 250"/>
                  <a:gd name="T26" fmla="*/ 202 w 256"/>
                  <a:gd name="T27" fmla="*/ 234 h 250"/>
                  <a:gd name="T28" fmla="*/ 168 w 256"/>
                  <a:gd name="T29" fmla="*/ 246 h 250"/>
                  <a:gd name="T30" fmla="*/ 128 w 256"/>
                  <a:gd name="T31" fmla="*/ 250 h 250"/>
                  <a:gd name="T32" fmla="*/ 96 w 256"/>
                  <a:gd name="T33" fmla="*/ 248 h 250"/>
                  <a:gd name="T34" fmla="*/ 66 w 256"/>
                  <a:gd name="T35" fmla="*/ 242 h 250"/>
                  <a:gd name="T36" fmla="*/ 44 w 256"/>
                  <a:gd name="T37" fmla="*/ 232 h 250"/>
                  <a:gd name="T38" fmla="*/ 26 w 256"/>
                  <a:gd name="T39" fmla="*/ 218 h 250"/>
                  <a:gd name="T40" fmla="*/ 12 w 256"/>
                  <a:gd name="T41" fmla="*/ 200 h 250"/>
                  <a:gd name="T42" fmla="*/ 4 w 256"/>
                  <a:gd name="T43" fmla="*/ 178 h 250"/>
                  <a:gd name="T44" fmla="*/ 0 w 256"/>
                  <a:gd name="T45" fmla="*/ 150 h 250"/>
                  <a:gd name="T46" fmla="*/ 0 w 256"/>
                  <a:gd name="T47" fmla="*/ 118 h 250"/>
                  <a:gd name="T48" fmla="*/ 4 w 256"/>
                  <a:gd name="T49" fmla="*/ 92 h 250"/>
                  <a:gd name="T50" fmla="*/ 14 w 256"/>
                  <a:gd name="T51" fmla="*/ 68 h 250"/>
                  <a:gd name="T52" fmla="*/ 26 w 256"/>
                  <a:gd name="T53" fmla="*/ 48 h 250"/>
                  <a:gd name="T54" fmla="*/ 44 w 256"/>
                  <a:gd name="T55" fmla="*/ 32 h 250"/>
                  <a:gd name="T56" fmla="*/ 86 w 256"/>
                  <a:gd name="T57" fmla="*/ 8 h 250"/>
                  <a:gd name="T58" fmla="*/ 138 w 256"/>
                  <a:gd name="T59" fmla="*/ 0 h 250"/>
                  <a:gd name="T60" fmla="*/ 154 w 256"/>
                  <a:gd name="T61" fmla="*/ 2 h 250"/>
                  <a:gd name="T62" fmla="*/ 184 w 256"/>
                  <a:gd name="T63" fmla="*/ 6 h 250"/>
                  <a:gd name="T64" fmla="*/ 208 w 256"/>
                  <a:gd name="T65" fmla="*/ 18 h 250"/>
                  <a:gd name="T66" fmla="*/ 228 w 256"/>
                  <a:gd name="T67" fmla="*/ 32 h 250"/>
                  <a:gd name="T68" fmla="*/ 242 w 256"/>
                  <a:gd name="T69" fmla="*/ 50 h 250"/>
                  <a:gd name="T70" fmla="*/ 250 w 256"/>
                  <a:gd name="T71" fmla="*/ 72 h 250"/>
                  <a:gd name="T72" fmla="*/ 256 w 256"/>
                  <a:gd name="T73" fmla="*/ 112 h 250"/>
                  <a:gd name="T74" fmla="*/ 86 w 256"/>
                  <a:gd name="T75" fmla="*/ 142 h 250"/>
                  <a:gd name="T76" fmla="*/ 172 w 256"/>
                  <a:gd name="T77" fmla="*/ 98 h 250"/>
                  <a:gd name="T78" fmla="*/ 170 w 256"/>
                  <a:gd name="T79" fmla="*/ 78 h 250"/>
                  <a:gd name="T80" fmla="*/ 164 w 256"/>
                  <a:gd name="T81" fmla="*/ 62 h 250"/>
                  <a:gd name="T82" fmla="*/ 158 w 256"/>
                  <a:gd name="T83" fmla="*/ 56 h 250"/>
                  <a:gd name="T84" fmla="*/ 142 w 256"/>
                  <a:gd name="T85" fmla="*/ 48 h 250"/>
                  <a:gd name="T86" fmla="*/ 134 w 256"/>
                  <a:gd name="T87" fmla="*/ 46 h 250"/>
                  <a:gd name="T88" fmla="*/ 114 w 256"/>
                  <a:gd name="T89" fmla="*/ 52 h 250"/>
                  <a:gd name="T90" fmla="*/ 102 w 256"/>
                  <a:gd name="T91" fmla="*/ 62 h 250"/>
                  <a:gd name="T92" fmla="*/ 94 w 256"/>
                  <a:gd name="T93" fmla="*/ 78 h 250"/>
                  <a:gd name="T94" fmla="*/ 172 w 256"/>
                  <a:gd name="T95" fmla="*/ 98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6" h="250">
                    <a:moveTo>
                      <a:pt x="86" y="142"/>
                    </a:moveTo>
                    <a:lnTo>
                      <a:pt x="86" y="142"/>
                    </a:lnTo>
                    <a:lnTo>
                      <a:pt x="84" y="154"/>
                    </a:lnTo>
                    <a:lnTo>
                      <a:pt x="86" y="166"/>
                    </a:lnTo>
                    <a:lnTo>
                      <a:pt x="88" y="176"/>
                    </a:lnTo>
                    <a:lnTo>
                      <a:pt x="90" y="184"/>
                    </a:lnTo>
                    <a:lnTo>
                      <a:pt x="96" y="192"/>
                    </a:lnTo>
                    <a:lnTo>
                      <a:pt x="102" y="196"/>
                    </a:lnTo>
                    <a:lnTo>
                      <a:pt x="112" y="200"/>
                    </a:lnTo>
                    <a:lnTo>
                      <a:pt x="124" y="202"/>
                    </a:lnTo>
                    <a:lnTo>
                      <a:pt x="124" y="202"/>
                    </a:lnTo>
                    <a:lnTo>
                      <a:pt x="132" y="200"/>
                    </a:lnTo>
                    <a:lnTo>
                      <a:pt x="140" y="198"/>
                    </a:lnTo>
                    <a:lnTo>
                      <a:pt x="148" y="196"/>
                    </a:lnTo>
                    <a:lnTo>
                      <a:pt x="154" y="192"/>
                    </a:lnTo>
                    <a:lnTo>
                      <a:pt x="158" y="186"/>
                    </a:lnTo>
                    <a:lnTo>
                      <a:pt x="162" y="180"/>
                    </a:lnTo>
                    <a:lnTo>
                      <a:pt x="164" y="174"/>
                    </a:lnTo>
                    <a:lnTo>
                      <a:pt x="164" y="170"/>
                    </a:lnTo>
                    <a:lnTo>
                      <a:pt x="248" y="170"/>
                    </a:lnTo>
                    <a:lnTo>
                      <a:pt x="248" y="170"/>
                    </a:lnTo>
                    <a:lnTo>
                      <a:pt x="246" y="180"/>
                    </a:lnTo>
                    <a:lnTo>
                      <a:pt x="242" y="190"/>
                    </a:lnTo>
                    <a:lnTo>
                      <a:pt x="238" y="198"/>
                    </a:lnTo>
                    <a:lnTo>
                      <a:pt x="232" y="208"/>
                    </a:lnTo>
                    <a:lnTo>
                      <a:pt x="218" y="222"/>
                    </a:lnTo>
                    <a:lnTo>
                      <a:pt x="202" y="234"/>
                    </a:lnTo>
                    <a:lnTo>
                      <a:pt x="202" y="234"/>
                    </a:lnTo>
                    <a:lnTo>
                      <a:pt x="186" y="242"/>
                    </a:lnTo>
                    <a:lnTo>
                      <a:pt x="168" y="246"/>
                    </a:lnTo>
                    <a:lnTo>
                      <a:pt x="148" y="248"/>
                    </a:lnTo>
                    <a:lnTo>
                      <a:pt x="128" y="250"/>
                    </a:lnTo>
                    <a:lnTo>
                      <a:pt x="128" y="250"/>
                    </a:lnTo>
                    <a:lnTo>
                      <a:pt x="96" y="248"/>
                    </a:lnTo>
                    <a:lnTo>
                      <a:pt x="80" y="244"/>
                    </a:lnTo>
                    <a:lnTo>
                      <a:pt x="66" y="242"/>
                    </a:lnTo>
                    <a:lnTo>
                      <a:pt x="54" y="238"/>
                    </a:lnTo>
                    <a:lnTo>
                      <a:pt x="44" y="232"/>
                    </a:lnTo>
                    <a:lnTo>
                      <a:pt x="34" y="226"/>
                    </a:lnTo>
                    <a:lnTo>
                      <a:pt x="26" y="218"/>
                    </a:lnTo>
                    <a:lnTo>
                      <a:pt x="18" y="210"/>
                    </a:lnTo>
                    <a:lnTo>
                      <a:pt x="12" y="200"/>
                    </a:lnTo>
                    <a:lnTo>
                      <a:pt x="8" y="190"/>
                    </a:lnTo>
                    <a:lnTo>
                      <a:pt x="4" y="178"/>
                    </a:lnTo>
                    <a:lnTo>
                      <a:pt x="2" y="164"/>
                    </a:lnTo>
                    <a:lnTo>
                      <a:pt x="0" y="150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2" y="106"/>
                    </a:lnTo>
                    <a:lnTo>
                      <a:pt x="4" y="92"/>
                    </a:lnTo>
                    <a:lnTo>
                      <a:pt x="8" y="80"/>
                    </a:lnTo>
                    <a:lnTo>
                      <a:pt x="14" y="68"/>
                    </a:lnTo>
                    <a:lnTo>
                      <a:pt x="20" y="58"/>
                    </a:lnTo>
                    <a:lnTo>
                      <a:pt x="26" y="48"/>
                    </a:lnTo>
                    <a:lnTo>
                      <a:pt x="34" y="40"/>
                    </a:lnTo>
                    <a:lnTo>
                      <a:pt x="44" y="32"/>
                    </a:lnTo>
                    <a:lnTo>
                      <a:pt x="64" y="18"/>
                    </a:lnTo>
                    <a:lnTo>
                      <a:pt x="86" y="8"/>
                    </a:lnTo>
                    <a:lnTo>
                      <a:pt x="110" y="2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4" y="2"/>
                    </a:lnTo>
                    <a:lnTo>
                      <a:pt x="170" y="4"/>
                    </a:lnTo>
                    <a:lnTo>
                      <a:pt x="184" y="6"/>
                    </a:lnTo>
                    <a:lnTo>
                      <a:pt x="196" y="12"/>
                    </a:lnTo>
                    <a:lnTo>
                      <a:pt x="208" y="18"/>
                    </a:lnTo>
                    <a:lnTo>
                      <a:pt x="218" y="24"/>
                    </a:lnTo>
                    <a:lnTo>
                      <a:pt x="228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46" y="60"/>
                    </a:lnTo>
                    <a:lnTo>
                      <a:pt x="250" y="72"/>
                    </a:lnTo>
                    <a:lnTo>
                      <a:pt x="254" y="84"/>
                    </a:lnTo>
                    <a:lnTo>
                      <a:pt x="256" y="112"/>
                    </a:lnTo>
                    <a:lnTo>
                      <a:pt x="254" y="142"/>
                    </a:lnTo>
                    <a:lnTo>
                      <a:pt x="86" y="142"/>
                    </a:lnTo>
                    <a:close/>
                    <a:moveTo>
                      <a:pt x="172" y="98"/>
                    </a:moveTo>
                    <a:lnTo>
                      <a:pt x="172" y="98"/>
                    </a:lnTo>
                    <a:lnTo>
                      <a:pt x="172" y="88"/>
                    </a:lnTo>
                    <a:lnTo>
                      <a:pt x="170" y="78"/>
                    </a:lnTo>
                    <a:lnTo>
                      <a:pt x="168" y="70"/>
                    </a:lnTo>
                    <a:lnTo>
                      <a:pt x="164" y="62"/>
                    </a:lnTo>
                    <a:lnTo>
                      <a:pt x="164" y="62"/>
                    </a:lnTo>
                    <a:lnTo>
                      <a:pt x="158" y="56"/>
                    </a:lnTo>
                    <a:lnTo>
                      <a:pt x="150" y="50"/>
                    </a:lnTo>
                    <a:lnTo>
                      <a:pt x="142" y="48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22" y="48"/>
                    </a:lnTo>
                    <a:lnTo>
                      <a:pt x="114" y="52"/>
                    </a:lnTo>
                    <a:lnTo>
                      <a:pt x="106" y="56"/>
                    </a:lnTo>
                    <a:lnTo>
                      <a:pt x="102" y="62"/>
                    </a:lnTo>
                    <a:lnTo>
                      <a:pt x="96" y="70"/>
                    </a:lnTo>
                    <a:lnTo>
                      <a:pt x="94" y="78"/>
                    </a:lnTo>
                    <a:lnTo>
                      <a:pt x="90" y="98"/>
                    </a:lnTo>
                    <a:lnTo>
                      <a:pt x="172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16"/>
              <p:cNvSpPr>
                <a:spLocks/>
              </p:cNvSpPr>
              <p:nvPr/>
            </p:nvSpPr>
            <p:spPr bwMode="auto">
              <a:xfrm>
                <a:off x="1314450" y="352425"/>
                <a:ext cx="196850" cy="542925"/>
              </a:xfrm>
              <a:custGeom>
                <a:avLst/>
                <a:gdLst>
                  <a:gd name="T0" fmla="*/ 24 w 124"/>
                  <a:gd name="T1" fmla="*/ 0 h 342"/>
                  <a:gd name="T2" fmla="*/ 124 w 124"/>
                  <a:gd name="T3" fmla="*/ 0 h 342"/>
                  <a:gd name="T4" fmla="*/ 100 w 124"/>
                  <a:gd name="T5" fmla="*/ 342 h 342"/>
                  <a:gd name="T6" fmla="*/ 0 w 124"/>
                  <a:gd name="T7" fmla="*/ 342 h 342"/>
                  <a:gd name="T8" fmla="*/ 24 w 124"/>
                  <a:gd name="T9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342">
                    <a:moveTo>
                      <a:pt x="24" y="0"/>
                    </a:moveTo>
                    <a:lnTo>
                      <a:pt x="124" y="0"/>
                    </a:lnTo>
                    <a:lnTo>
                      <a:pt x="100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17"/>
              <p:cNvSpPr>
                <a:spLocks/>
              </p:cNvSpPr>
              <p:nvPr/>
            </p:nvSpPr>
            <p:spPr bwMode="auto">
              <a:xfrm>
                <a:off x="1498600" y="352425"/>
                <a:ext cx="368300" cy="542925"/>
              </a:xfrm>
              <a:custGeom>
                <a:avLst/>
                <a:gdLst>
                  <a:gd name="T0" fmla="*/ 120 w 232"/>
                  <a:gd name="T1" fmla="*/ 0 h 342"/>
                  <a:gd name="T2" fmla="*/ 0 w 232"/>
                  <a:gd name="T3" fmla="*/ 152 h 342"/>
                  <a:gd name="T4" fmla="*/ 106 w 232"/>
                  <a:gd name="T5" fmla="*/ 342 h 342"/>
                  <a:gd name="T6" fmla="*/ 226 w 232"/>
                  <a:gd name="T7" fmla="*/ 342 h 342"/>
                  <a:gd name="T8" fmla="*/ 106 w 232"/>
                  <a:gd name="T9" fmla="*/ 148 h 342"/>
                  <a:gd name="T10" fmla="*/ 232 w 232"/>
                  <a:gd name="T11" fmla="*/ 0 h 342"/>
                  <a:gd name="T12" fmla="*/ 120 w 232"/>
                  <a:gd name="T13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2" h="342">
                    <a:moveTo>
                      <a:pt x="120" y="0"/>
                    </a:moveTo>
                    <a:lnTo>
                      <a:pt x="0" y="152"/>
                    </a:lnTo>
                    <a:lnTo>
                      <a:pt x="106" y="342"/>
                    </a:lnTo>
                    <a:lnTo>
                      <a:pt x="226" y="342"/>
                    </a:lnTo>
                    <a:lnTo>
                      <a:pt x="106" y="148"/>
                    </a:lnTo>
                    <a:lnTo>
                      <a:pt x="232" y="0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18"/>
              <p:cNvSpPr>
                <a:spLocks/>
              </p:cNvSpPr>
              <p:nvPr/>
            </p:nvSpPr>
            <p:spPr bwMode="auto">
              <a:xfrm>
                <a:off x="1876425" y="517525"/>
                <a:ext cx="158750" cy="377825"/>
              </a:xfrm>
              <a:custGeom>
                <a:avLst/>
                <a:gdLst>
                  <a:gd name="T0" fmla="*/ 16 w 100"/>
                  <a:gd name="T1" fmla="*/ 0 h 238"/>
                  <a:gd name="T2" fmla="*/ 100 w 100"/>
                  <a:gd name="T3" fmla="*/ 0 h 238"/>
                  <a:gd name="T4" fmla="*/ 84 w 100"/>
                  <a:gd name="T5" fmla="*/ 238 h 238"/>
                  <a:gd name="T6" fmla="*/ 0 w 100"/>
                  <a:gd name="T7" fmla="*/ 238 h 238"/>
                  <a:gd name="T8" fmla="*/ 16 w 100"/>
                  <a:gd name="T9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238">
                    <a:moveTo>
                      <a:pt x="16" y="0"/>
                    </a:moveTo>
                    <a:lnTo>
                      <a:pt x="100" y="0"/>
                    </a:lnTo>
                    <a:lnTo>
                      <a:pt x="84" y="238"/>
                    </a:lnTo>
                    <a:lnTo>
                      <a:pt x="0" y="238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19"/>
              <p:cNvSpPr>
                <a:spLocks/>
              </p:cNvSpPr>
              <p:nvPr/>
            </p:nvSpPr>
            <p:spPr bwMode="auto">
              <a:xfrm>
                <a:off x="2038350" y="504825"/>
                <a:ext cx="692150" cy="390525"/>
              </a:xfrm>
              <a:custGeom>
                <a:avLst/>
                <a:gdLst>
                  <a:gd name="T0" fmla="*/ 106 w 436"/>
                  <a:gd name="T1" fmla="*/ 40 h 246"/>
                  <a:gd name="T2" fmla="*/ 106 w 436"/>
                  <a:gd name="T3" fmla="*/ 40 h 246"/>
                  <a:gd name="T4" fmla="*/ 128 w 436"/>
                  <a:gd name="T5" fmla="*/ 20 h 246"/>
                  <a:gd name="T6" fmla="*/ 150 w 436"/>
                  <a:gd name="T7" fmla="*/ 8 h 246"/>
                  <a:gd name="T8" fmla="*/ 172 w 436"/>
                  <a:gd name="T9" fmla="*/ 2 h 246"/>
                  <a:gd name="T10" fmla="*/ 192 w 436"/>
                  <a:gd name="T11" fmla="*/ 2 h 246"/>
                  <a:gd name="T12" fmla="*/ 216 w 436"/>
                  <a:gd name="T13" fmla="*/ 6 h 246"/>
                  <a:gd name="T14" fmla="*/ 238 w 436"/>
                  <a:gd name="T15" fmla="*/ 14 h 246"/>
                  <a:gd name="T16" fmla="*/ 254 w 436"/>
                  <a:gd name="T17" fmla="*/ 28 h 246"/>
                  <a:gd name="T18" fmla="*/ 264 w 436"/>
                  <a:gd name="T19" fmla="*/ 44 h 246"/>
                  <a:gd name="T20" fmla="*/ 272 w 436"/>
                  <a:gd name="T21" fmla="*/ 34 h 246"/>
                  <a:gd name="T22" fmla="*/ 290 w 436"/>
                  <a:gd name="T23" fmla="*/ 18 h 246"/>
                  <a:gd name="T24" fmla="*/ 312 w 436"/>
                  <a:gd name="T25" fmla="*/ 8 h 246"/>
                  <a:gd name="T26" fmla="*/ 338 w 436"/>
                  <a:gd name="T27" fmla="*/ 2 h 246"/>
                  <a:gd name="T28" fmla="*/ 352 w 436"/>
                  <a:gd name="T29" fmla="*/ 0 h 246"/>
                  <a:gd name="T30" fmla="*/ 386 w 436"/>
                  <a:gd name="T31" fmla="*/ 6 h 246"/>
                  <a:gd name="T32" fmla="*/ 414 w 436"/>
                  <a:gd name="T33" fmla="*/ 24 h 246"/>
                  <a:gd name="T34" fmla="*/ 432 w 436"/>
                  <a:gd name="T35" fmla="*/ 50 h 246"/>
                  <a:gd name="T36" fmla="*/ 436 w 436"/>
                  <a:gd name="T37" fmla="*/ 86 h 246"/>
                  <a:gd name="T38" fmla="*/ 332 w 436"/>
                  <a:gd name="T39" fmla="*/ 246 h 246"/>
                  <a:gd name="T40" fmla="*/ 342 w 436"/>
                  <a:gd name="T41" fmla="*/ 106 h 246"/>
                  <a:gd name="T42" fmla="*/ 342 w 436"/>
                  <a:gd name="T43" fmla="*/ 80 h 246"/>
                  <a:gd name="T44" fmla="*/ 336 w 436"/>
                  <a:gd name="T45" fmla="*/ 66 h 246"/>
                  <a:gd name="T46" fmla="*/ 322 w 436"/>
                  <a:gd name="T47" fmla="*/ 58 h 246"/>
                  <a:gd name="T48" fmla="*/ 312 w 436"/>
                  <a:gd name="T49" fmla="*/ 58 h 246"/>
                  <a:gd name="T50" fmla="*/ 288 w 436"/>
                  <a:gd name="T51" fmla="*/ 66 h 246"/>
                  <a:gd name="T52" fmla="*/ 276 w 436"/>
                  <a:gd name="T53" fmla="*/ 82 h 246"/>
                  <a:gd name="T54" fmla="*/ 270 w 436"/>
                  <a:gd name="T55" fmla="*/ 100 h 246"/>
                  <a:gd name="T56" fmla="*/ 260 w 436"/>
                  <a:gd name="T57" fmla="*/ 246 h 246"/>
                  <a:gd name="T58" fmla="*/ 180 w 436"/>
                  <a:gd name="T59" fmla="*/ 106 h 246"/>
                  <a:gd name="T60" fmla="*/ 178 w 436"/>
                  <a:gd name="T61" fmla="*/ 88 h 246"/>
                  <a:gd name="T62" fmla="*/ 174 w 436"/>
                  <a:gd name="T63" fmla="*/ 72 h 246"/>
                  <a:gd name="T64" fmla="*/ 164 w 436"/>
                  <a:gd name="T65" fmla="*/ 62 h 246"/>
                  <a:gd name="T66" fmla="*/ 148 w 436"/>
                  <a:gd name="T67" fmla="*/ 58 h 246"/>
                  <a:gd name="T68" fmla="*/ 132 w 436"/>
                  <a:gd name="T69" fmla="*/ 60 h 246"/>
                  <a:gd name="T70" fmla="*/ 114 w 436"/>
                  <a:gd name="T71" fmla="*/ 72 h 246"/>
                  <a:gd name="T72" fmla="*/ 104 w 436"/>
                  <a:gd name="T73" fmla="*/ 92 h 246"/>
                  <a:gd name="T74" fmla="*/ 102 w 436"/>
                  <a:gd name="T75" fmla="*/ 110 h 246"/>
                  <a:gd name="T76" fmla="*/ 0 w 436"/>
                  <a:gd name="T77" fmla="*/ 246 h 246"/>
                  <a:gd name="T78" fmla="*/ 106 w 436"/>
                  <a:gd name="T79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36" h="246">
                    <a:moveTo>
                      <a:pt x="106" y="8"/>
                    </a:moveTo>
                    <a:lnTo>
                      <a:pt x="106" y="40"/>
                    </a:lnTo>
                    <a:lnTo>
                      <a:pt x="106" y="40"/>
                    </a:lnTo>
                    <a:lnTo>
                      <a:pt x="106" y="40"/>
                    </a:lnTo>
                    <a:lnTo>
                      <a:pt x="118" y="28"/>
                    </a:lnTo>
                    <a:lnTo>
                      <a:pt x="128" y="20"/>
                    </a:lnTo>
                    <a:lnTo>
                      <a:pt x="140" y="12"/>
                    </a:lnTo>
                    <a:lnTo>
                      <a:pt x="150" y="8"/>
                    </a:lnTo>
                    <a:lnTo>
                      <a:pt x="162" y="4"/>
                    </a:lnTo>
                    <a:lnTo>
                      <a:pt x="172" y="2"/>
                    </a:lnTo>
                    <a:lnTo>
                      <a:pt x="192" y="2"/>
                    </a:lnTo>
                    <a:lnTo>
                      <a:pt x="192" y="2"/>
                    </a:lnTo>
                    <a:lnTo>
                      <a:pt x="204" y="2"/>
                    </a:lnTo>
                    <a:lnTo>
                      <a:pt x="216" y="6"/>
                    </a:lnTo>
                    <a:lnTo>
                      <a:pt x="228" y="8"/>
                    </a:lnTo>
                    <a:lnTo>
                      <a:pt x="238" y="14"/>
                    </a:lnTo>
                    <a:lnTo>
                      <a:pt x="246" y="20"/>
                    </a:lnTo>
                    <a:lnTo>
                      <a:pt x="254" y="28"/>
                    </a:lnTo>
                    <a:lnTo>
                      <a:pt x="260" y="36"/>
                    </a:lnTo>
                    <a:lnTo>
                      <a:pt x="264" y="44"/>
                    </a:lnTo>
                    <a:lnTo>
                      <a:pt x="264" y="44"/>
                    </a:lnTo>
                    <a:lnTo>
                      <a:pt x="272" y="34"/>
                    </a:lnTo>
                    <a:lnTo>
                      <a:pt x="280" y="26"/>
                    </a:lnTo>
                    <a:lnTo>
                      <a:pt x="290" y="18"/>
                    </a:lnTo>
                    <a:lnTo>
                      <a:pt x="302" y="12"/>
                    </a:lnTo>
                    <a:lnTo>
                      <a:pt x="312" y="8"/>
                    </a:lnTo>
                    <a:lnTo>
                      <a:pt x="326" y="4"/>
                    </a:lnTo>
                    <a:lnTo>
                      <a:pt x="338" y="2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70" y="2"/>
                    </a:lnTo>
                    <a:lnTo>
                      <a:pt x="386" y="6"/>
                    </a:lnTo>
                    <a:lnTo>
                      <a:pt x="402" y="14"/>
                    </a:lnTo>
                    <a:lnTo>
                      <a:pt x="414" y="24"/>
                    </a:lnTo>
                    <a:lnTo>
                      <a:pt x="424" y="36"/>
                    </a:lnTo>
                    <a:lnTo>
                      <a:pt x="432" y="50"/>
                    </a:lnTo>
                    <a:lnTo>
                      <a:pt x="436" y="68"/>
                    </a:lnTo>
                    <a:lnTo>
                      <a:pt x="436" y="86"/>
                    </a:lnTo>
                    <a:lnTo>
                      <a:pt x="424" y="246"/>
                    </a:lnTo>
                    <a:lnTo>
                      <a:pt x="332" y="246"/>
                    </a:lnTo>
                    <a:lnTo>
                      <a:pt x="342" y="106"/>
                    </a:lnTo>
                    <a:lnTo>
                      <a:pt x="342" y="106"/>
                    </a:lnTo>
                    <a:lnTo>
                      <a:pt x="342" y="88"/>
                    </a:lnTo>
                    <a:lnTo>
                      <a:pt x="342" y="80"/>
                    </a:lnTo>
                    <a:lnTo>
                      <a:pt x="340" y="74"/>
                    </a:lnTo>
                    <a:lnTo>
                      <a:pt x="336" y="66"/>
                    </a:lnTo>
                    <a:lnTo>
                      <a:pt x="330" y="62"/>
                    </a:lnTo>
                    <a:lnTo>
                      <a:pt x="322" y="58"/>
                    </a:lnTo>
                    <a:lnTo>
                      <a:pt x="312" y="58"/>
                    </a:lnTo>
                    <a:lnTo>
                      <a:pt x="312" y="58"/>
                    </a:lnTo>
                    <a:lnTo>
                      <a:pt x="298" y="60"/>
                    </a:lnTo>
                    <a:lnTo>
                      <a:pt x="288" y="66"/>
                    </a:lnTo>
                    <a:lnTo>
                      <a:pt x="280" y="72"/>
                    </a:lnTo>
                    <a:lnTo>
                      <a:pt x="276" y="82"/>
                    </a:lnTo>
                    <a:lnTo>
                      <a:pt x="272" y="92"/>
                    </a:lnTo>
                    <a:lnTo>
                      <a:pt x="270" y="100"/>
                    </a:lnTo>
                    <a:lnTo>
                      <a:pt x="270" y="110"/>
                    </a:lnTo>
                    <a:lnTo>
                      <a:pt x="260" y="246"/>
                    </a:lnTo>
                    <a:lnTo>
                      <a:pt x="170" y="246"/>
                    </a:lnTo>
                    <a:lnTo>
                      <a:pt x="180" y="106"/>
                    </a:lnTo>
                    <a:lnTo>
                      <a:pt x="180" y="106"/>
                    </a:lnTo>
                    <a:lnTo>
                      <a:pt x="178" y="88"/>
                    </a:lnTo>
                    <a:lnTo>
                      <a:pt x="178" y="80"/>
                    </a:lnTo>
                    <a:lnTo>
                      <a:pt x="174" y="72"/>
                    </a:lnTo>
                    <a:lnTo>
                      <a:pt x="170" y="66"/>
                    </a:lnTo>
                    <a:lnTo>
                      <a:pt x="164" y="62"/>
                    </a:lnTo>
                    <a:lnTo>
                      <a:pt x="15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32" y="60"/>
                    </a:lnTo>
                    <a:lnTo>
                      <a:pt x="122" y="66"/>
                    </a:lnTo>
                    <a:lnTo>
                      <a:pt x="114" y="72"/>
                    </a:lnTo>
                    <a:lnTo>
                      <a:pt x="108" y="82"/>
                    </a:lnTo>
                    <a:lnTo>
                      <a:pt x="104" y="92"/>
                    </a:lnTo>
                    <a:lnTo>
                      <a:pt x="104" y="100"/>
                    </a:lnTo>
                    <a:lnTo>
                      <a:pt x="102" y="110"/>
                    </a:lnTo>
                    <a:lnTo>
                      <a:pt x="94" y="246"/>
                    </a:lnTo>
                    <a:lnTo>
                      <a:pt x="0" y="246"/>
                    </a:lnTo>
                    <a:lnTo>
                      <a:pt x="16" y="8"/>
                    </a:lnTo>
                    <a:lnTo>
                      <a:pt x="106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20"/>
              <p:cNvSpPr>
                <a:spLocks/>
              </p:cNvSpPr>
              <p:nvPr/>
            </p:nvSpPr>
            <p:spPr bwMode="auto">
              <a:xfrm>
                <a:off x="4064000" y="517525"/>
                <a:ext cx="454025" cy="558800"/>
              </a:xfrm>
              <a:custGeom>
                <a:avLst/>
                <a:gdLst>
                  <a:gd name="T0" fmla="*/ 116 w 286"/>
                  <a:gd name="T1" fmla="*/ 352 h 352"/>
                  <a:gd name="T2" fmla="*/ 34 w 286"/>
                  <a:gd name="T3" fmla="*/ 352 h 352"/>
                  <a:gd name="T4" fmla="*/ 86 w 286"/>
                  <a:gd name="T5" fmla="*/ 242 h 352"/>
                  <a:gd name="T6" fmla="*/ 0 w 286"/>
                  <a:gd name="T7" fmla="*/ 0 h 352"/>
                  <a:gd name="T8" fmla="*/ 100 w 286"/>
                  <a:gd name="T9" fmla="*/ 0 h 352"/>
                  <a:gd name="T10" fmla="*/ 140 w 286"/>
                  <a:gd name="T11" fmla="*/ 148 h 352"/>
                  <a:gd name="T12" fmla="*/ 202 w 286"/>
                  <a:gd name="T13" fmla="*/ 0 h 352"/>
                  <a:gd name="T14" fmla="*/ 286 w 286"/>
                  <a:gd name="T15" fmla="*/ 0 h 352"/>
                  <a:gd name="T16" fmla="*/ 116 w 286"/>
                  <a:gd name="T17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6" h="352">
                    <a:moveTo>
                      <a:pt x="116" y="352"/>
                    </a:moveTo>
                    <a:lnTo>
                      <a:pt x="34" y="352"/>
                    </a:lnTo>
                    <a:lnTo>
                      <a:pt x="86" y="242"/>
                    </a:lnTo>
                    <a:lnTo>
                      <a:pt x="0" y="0"/>
                    </a:lnTo>
                    <a:lnTo>
                      <a:pt x="100" y="0"/>
                    </a:lnTo>
                    <a:lnTo>
                      <a:pt x="140" y="148"/>
                    </a:lnTo>
                    <a:lnTo>
                      <a:pt x="202" y="0"/>
                    </a:lnTo>
                    <a:lnTo>
                      <a:pt x="286" y="0"/>
                    </a:lnTo>
                    <a:lnTo>
                      <a:pt x="116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21"/>
              <p:cNvSpPr>
                <a:spLocks/>
              </p:cNvSpPr>
              <p:nvPr/>
            </p:nvSpPr>
            <p:spPr bwMode="auto">
              <a:xfrm>
                <a:off x="4473575" y="593725"/>
                <a:ext cx="241300" cy="117475"/>
              </a:xfrm>
              <a:custGeom>
                <a:avLst/>
                <a:gdLst>
                  <a:gd name="T0" fmla="*/ 36 w 152"/>
                  <a:gd name="T1" fmla="*/ 0 h 74"/>
                  <a:gd name="T2" fmla="*/ 152 w 152"/>
                  <a:gd name="T3" fmla="*/ 0 h 74"/>
                  <a:gd name="T4" fmla="*/ 114 w 152"/>
                  <a:gd name="T5" fmla="*/ 74 h 74"/>
                  <a:gd name="T6" fmla="*/ 0 w 152"/>
                  <a:gd name="T7" fmla="*/ 74 h 74"/>
                  <a:gd name="T8" fmla="*/ 36 w 152"/>
                  <a:gd name="T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74">
                    <a:moveTo>
                      <a:pt x="36" y="0"/>
                    </a:moveTo>
                    <a:lnTo>
                      <a:pt x="152" y="0"/>
                    </a:lnTo>
                    <a:lnTo>
                      <a:pt x="114" y="74"/>
                    </a:lnTo>
                    <a:lnTo>
                      <a:pt x="0" y="7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22"/>
              <p:cNvSpPr>
                <a:spLocks/>
              </p:cNvSpPr>
              <p:nvPr/>
            </p:nvSpPr>
            <p:spPr bwMode="auto">
              <a:xfrm>
                <a:off x="4721225" y="339725"/>
                <a:ext cx="504825" cy="558800"/>
              </a:xfrm>
              <a:custGeom>
                <a:avLst/>
                <a:gdLst>
                  <a:gd name="T0" fmla="*/ 180 w 318"/>
                  <a:gd name="T1" fmla="*/ 0 h 352"/>
                  <a:gd name="T2" fmla="*/ 232 w 318"/>
                  <a:gd name="T3" fmla="*/ 6 h 352"/>
                  <a:gd name="T4" fmla="*/ 266 w 318"/>
                  <a:gd name="T5" fmla="*/ 20 h 352"/>
                  <a:gd name="T6" fmla="*/ 286 w 318"/>
                  <a:gd name="T7" fmla="*/ 32 h 352"/>
                  <a:gd name="T8" fmla="*/ 302 w 318"/>
                  <a:gd name="T9" fmla="*/ 50 h 352"/>
                  <a:gd name="T10" fmla="*/ 312 w 318"/>
                  <a:gd name="T11" fmla="*/ 74 h 352"/>
                  <a:gd name="T12" fmla="*/ 318 w 318"/>
                  <a:gd name="T13" fmla="*/ 100 h 352"/>
                  <a:gd name="T14" fmla="*/ 222 w 318"/>
                  <a:gd name="T15" fmla="*/ 116 h 352"/>
                  <a:gd name="T16" fmla="*/ 222 w 318"/>
                  <a:gd name="T17" fmla="*/ 108 h 352"/>
                  <a:gd name="T18" fmla="*/ 216 w 318"/>
                  <a:gd name="T19" fmla="*/ 90 h 352"/>
                  <a:gd name="T20" fmla="*/ 204 w 318"/>
                  <a:gd name="T21" fmla="*/ 76 h 352"/>
                  <a:gd name="T22" fmla="*/ 188 w 318"/>
                  <a:gd name="T23" fmla="*/ 68 h 352"/>
                  <a:gd name="T24" fmla="*/ 176 w 318"/>
                  <a:gd name="T25" fmla="*/ 68 h 352"/>
                  <a:gd name="T26" fmla="*/ 150 w 318"/>
                  <a:gd name="T27" fmla="*/ 72 h 352"/>
                  <a:gd name="T28" fmla="*/ 128 w 318"/>
                  <a:gd name="T29" fmla="*/ 88 h 352"/>
                  <a:gd name="T30" fmla="*/ 108 w 318"/>
                  <a:gd name="T31" fmla="*/ 118 h 352"/>
                  <a:gd name="T32" fmla="*/ 98 w 318"/>
                  <a:gd name="T33" fmla="*/ 162 h 352"/>
                  <a:gd name="T34" fmla="*/ 96 w 318"/>
                  <a:gd name="T35" fmla="*/ 188 h 352"/>
                  <a:gd name="T36" fmla="*/ 98 w 318"/>
                  <a:gd name="T37" fmla="*/ 234 h 352"/>
                  <a:gd name="T38" fmla="*/ 112 w 318"/>
                  <a:gd name="T39" fmla="*/ 266 h 352"/>
                  <a:gd name="T40" fmla="*/ 122 w 318"/>
                  <a:gd name="T41" fmla="*/ 278 h 352"/>
                  <a:gd name="T42" fmla="*/ 138 w 318"/>
                  <a:gd name="T43" fmla="*/ 284 h 352"/>
                  <a:gd name="T44" fmla="*/ 158 w 318"/>
                  <a:gd name="T45" fmla="*/ 288 h 352"/>
                  <a:gd name="T46" fmla="*/ 174 w 318"/>
                  <a:gd name="T47" fmla="*/ 286 h 352"/>
                  <a:gd name="T48" fmla="*/ 198 w 318"/>
                  <a:gd name="T49" fmla="*/ 274 h 352"/>
                  <a:gd name="T50" fmla="*/ 212 w 318"/>
                  <a:gd name="T51" fmla="*/ 256 h 352"/>
                  <a:gd name="T52" fmla="*/ 218 w 318"/>
                  <a:gd name="T53" fmla="*/ 236 h 352"/>
                  <a:gd name="T54" fmla="*/ 314 w 318"/>
                  <a:gd name="T55" fmla="*/ 236 h 352"/>
                  <a:gd name="T56" fmla="*/ 306 w 318"/>
                  <a:gd name="T57" fmla="*/ 270 h 352"/>
                  <a:gd name="T58" fmla="*/ 290 w 318"/>
                  <a:gd name="T59" fmla="*/ 300 h 352"/>
                  <a:gd name="T60" fmla="*/ 272 w 318"/>
                  <a:gd name="T61" fmla="*/ 318 h 352"/>
                  <a:gd name="T62" fmla="*/ 248 w 318"/>
                  <a:gd name="T63" fmla="*/ 334 h 352"/>
                  <a:gd name="T64" fmla="*/ 216 w 318"/>
                  <a:gd name="T65" fmla="*/ 346 h 352"/>
                  <a:gd name="T66" fmla="*/ 176 w 318"/>
                  <a:gd name="T67" fmla="*/ 352 h 352"/>
                  <a:gd name="T68" fmla="*/ 152 w 318"/>
                  <a:gd name="T69" fmla="*/ 352 h 352"/>
                  <a:gd name="T70" fmla="*/ 106 w 318"/>
                  <a:gd name="T71" fmla="*/ 348 h 352"/>
                  <a:gd name="T72" fmla="*/ 70 w 318"/>
                  <a:gd name="T73" fmla="*/ 336 h 352"/>
                  <a:gd name="T74" fmla="*/ 42 w 318"/>
                  <a:gd name="T75" fmla="*/ 316 h 352"/>
                  <a:gd name="T76" fmla="*/ 22 w 318"/>
                  <a:gd name="T77" fmla="*/ 292 h 352"/>
                  <a:gd name="T78" fmla="*/ 8 w 318"/>
                  <a:gd name="T79" fmla="*/ 262 h 352"/>
                  <a:gd name="T80" fmla="*/ 2 w 318"/>
                  <a:gd name="T81" fmla="*/ 230 h 352"/>
                  <a:gd name="T82" fmla="*/ 0 w 318"/>
                  <a:gd name="T83" fmla="*/ 194 h 352"/>
                  <a:gd name="T84" fmla="*/ 2 w 318"/>
                  <a:gd name="T85" fmla="*/ 160 h 352"/>
                  <a:gd name="T86" fmla="*/ 18 w 318"/>
                  <a:gd name="T87" fmla="*/ 102 h 352"/>
                  <a:gd name="T88" fmla="*/ 32 w 318"/>
                  <a:gd name="T89" fmla="*/ 74 h 352"/>
                  <a:gd name="T90" fmla="*/ 52 w 318"/>
                  <a:gd name="T91" fmla="*/ 50 h 352"/>
                  <a:gd name="T92" fmla="*/ 76 w 318"/>
                  <a:gd name="T93" fmla="*/ 30 h 352"/>
                  <a:gd name="T94" fmla="*/ 106 w 318"/>
                  <a:gd name="T95" fmla="*/ 14 h 352"/>
                  <a:gd name="T96" fmla="*/ 140 w 318"/>
                  <a:gd name="T97" fmla="*/ 4 h 352"/>
                  <a:gd name="T98" fmla="*/ 180 w 318"/>
                  <a:gd name="T99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18" h="352">
                    <a:moveTo>
                      <a:pt x="180" y="0"/>
                    </a:moveTo>
                    <a:lnTo>
                      <a:pt x="180" y="0"/>
                    </a:lnTo>
                    <a:lnTo>
                      <a:pt x="206" y="0"/>
                    </a:lnTo>
                    <a:lnTo>
                      <a:pt x="232" y="6"/>
                    </a:lnTo>
                    <a:lnTo>
                      <a:pt x="256" y="14"/>
                    </a:lnTo>
                    <a:lnTo>
                      <a:pt x="266" y="20"/>
                    </a:lnTo>
                    <a:lnTo>
                      <a:pt x="276" y="26"/>
                    </a:lnTo>
                    <a:lnTo>
                      <a:pt x="286" y="32"/>
                    </a:lnTo>
                    <a:lnTo>
                      <a:pt x="294" y="42"/>
                    </a:lnTo>
                    <a:lnTo>
                      <a:pt x="302" y="50"/>
                    </a:lnTo>
                    <a:lnTo>
                      <a:pt x="308" y="62"/>
                    </a:lnTo>
                    <a:lnTo>
                      <a:pt x="312" y="74"/>
                    </a:lnTo>
                    <a:lnTo>
                      <a:pt x="316" y="86"/>
                    </a:lnTo>
                    <a:lnTo>
                      <a:pt x="318" y="100"/>
                    </a:lnTo>
                    <a:lnTo>
                      <a:pt x="318" y="116"/>
                    </a:lnTo>
                    <a:lnTo>
                      <a:pt x="222" y="116"/>
                    </a:lnTo>
                    <a:lnTo>
                      <a:pt x="222" y="116"/>
                    </a:lnTo>
                    <a:lnTo>
                      <a:pt x="222" y="108"/>
                    </a:lnTo>
                    <a:lnTo>
                      <a:pt x="220" y="98"/>
                    </a:lnTo>
                    <a:lnTo>
                      <a:pt x="216" y="90"/>
                    </a:lnTo>
                    <a:lnTo>
                      <a:pt x="212" y="84"/>
                    </a:lnTo>
                    <a:lnTo>
                      <a:pt x="204" y="76"/>
                    </a:lnTo>
                    <a:lnTo>
                      <a:pt x="198" y="72"/>
                    </a:lnTo>
                    <a:lnTo>
                      <a:pt x="188" y="68"/>
                    </a:lnTo>
                    <a:lnTo>
                      <a:pt x="176" y="68"/>
                    </a:lnTo>
                    <a:lnTo>
                      <a:pt x="176" y="68"/>
                    </a:lnTo>
                    <a:lnTo>
                      <a:pt x="164" y="68"/>
                    </a:lnTo>
                    <a:lnTo>
                      <a:pt x="150" y="72"/>
                    </a:lnTo>
                    <a:lnTo>
                      <a:pt x="138" y="80"/>
                    </a:lnTo>
                    <a:lnTo>
                      <a:pt x="128" y="88"/>
                    </a:lnTo>
                    <a:lnTo>
                      <a:pt x="118" y="102"/>
                    </a:lnTo>
                    <a:lnTo>
                      <a:pt x="108" y="118"/>
                    </a:lnTo>
                    <a:lnTo>
                      <a:pt x="102" y="138"/>
                    </a:lnTo>
                    <a:lnTo>
                      <a:pt x="98" y="162"/>
                    </a:lnTo>
                    <a:lnTo>
                      <a:pt x="98" y="162"/>
                    </a:lnTo>
                    <a:lnTo>
                      <a:pt x="96" y="188"/>
                    </a:lnTo>
                    <a:lnTo>
                      <a:pt x="96" y="212"/>
                    </a:lnTo>
                    <a:lnTo>
                      <a:pt x="98" y="234"/>
                    </a:lnTo>
                    <a:lnTo>
                      <a:pt x="104" y="252"/>
                    </a:lnTo>
                    <a:lnTo>
                      <a:pt x="112" y="266"/>
                    </a:lnTo>
                    <a:lnTo>
                      <a:pt x="116" y="272"/>
                    </a:lnTo>
                    <a:lnTo>
                      <a:pt x="122" y="278"/>
                    </a:lnTo>
                    <a:lnTo>
                      <a:pt x="130" y="282"/>
                    </a:lnTo>
                    <a:lnTo>
                      <a:pt x="138" y="284"/>
                    </a:lnTo>
                    <a:lnTo>
                      <a:pt x="148" y="286"/>
                    </a:lnTo>
                    <a:lnTo>
                      <a:pt x="158" y="288"/>
                    </a:lnTo>
                    <a:lnTo>
                      <a:pt x="158" y="288"/>
                    </a:lnTo>
                    <a:lnTo>
                      <a:pt x="174" y="286"/>
                    </a:lnTo>
                    <a:lnTo>
                      <a:pt x="188" y="280"/>
                    </a:lnTo>
                    <a:lnTo>
                      <a:pt x="198" y="274"/>
                    </a:lnTo>
                    <a:lnTo>
                      <a:pt x="206" y="264"/>
                    </a:lnTo>
                    <a:lnTo>
                      <a:pt x="212" y="256"/>
                    </a:lnTo>
                    <a:lnTo>
                      <a:pt x="214" y="248"/>
                    </a:lnTo>
                    <a:lnTo>
                      <a:pt x="218" y="236"/>
                    </a:lnTo>
                    <a:lnTo>
                      <a:pt x="314" y="236"/>
                    </a:lnTo>
                    <a:lnTo>
                      <a:pt x="314" y="236"/>
                    </a:lnTo>
                    <a:lnTo>
                      <a:pt x="312" y="252"/>
                    </a:lnTo>
                    <a:lnTo>
                      <a:pt x="306" y="270"/>
                    </a:lnTo>
                    <a:lnTo>
                      <a:pt x="296" y="290"/>
                    </a:lnTo>
                    <a:lnTo>
                      <a:pt x="290" y="300"/>
                    </a:lnTo>
                    <a:lnTo>
                      <a:pt x="282" y="308"/>
                    </a:lnTo>
                    <a:lnTo>
                      <a:pt x="272" y="318"/>
                    </a:lnTo>
                    <a:lnTo>
                      <a:pt x="260" y="326"/>
                    </a:lnTo>
                    <a:lnTo>
                      <a:pt x="248" y="334"/>
                    </a:lnTo>
                    <a:lnTo>
                      <a:pt x="232" y="340"/>
                    </a:lnTo>
                    <a:lnTo>
                      <a:pt x="216" y="346"/>
                    </a:lnTo>
                    <a:lnTo>
                      <a:pt x="196" y="350"/>
                    </a:lnTo>
                    <a:lnTo>
                      <a:pt x="176" y="352"/>
                    </a:lnTo>
                    <a:lnTo>
                      <a:pt x="152" y="352"/>
                    </a:lnTo>
                    <a:lnTo>
                      <a:pt x="152" y="352"/>
                    </a:lnTo>
                    <a:lnTo>
                      <a:pt x="128" y="352"/>
                    </a:lnTo>
                    <a:lnTo>
                      <a:pt x="106" y="348"/>
                    </a:lnTo>
                    <a:lnTo>
                      <a:pt x="86" y="342"/>
                    </a:lnTo>
                    <a:lnTo>
                      <a:pt x="70" y="336"/>
                    </a:lnTo>
                    <a:lnTo>
                      <a:pt x="54" y="326"/>
                    </a:lnTo>
                    <a:lnTo>
                      <a:pt x="42" y="316"/>
                    </a:lnTo>
                    <a:lnTo>
                      <a:pt x="30" y="304"/>
                    </a:lnTo>
                    <a:lnTo>
                      <a:pt x="22" y="292"/>
                    </a:lnTo>
                    <a:lnTo>
                      <a:pt x="14" y="276"/>
                    </a:lnTo>
                    <a:lnTo>
                      <a:pt x="8" y="262"/>
                    </a:lnTo>
                    <a:lnTo>
                      <a:pt x="4" y="246"/>
                    </a:lnTo>
                    <a:lnTo>
                      <a:pt x="2" y="230"/>
                    </a:lnTo>
                    <a:lnTo>
                      <a:pt x="0" y="212"/>
                    </a:lnTo>
                    <a:lnTo>
                      <a:pt x="0" y="194"/>
                    </a:lnTo>
                    <a:lnTo>
                      <a:pt x="2" y="160"/>
                    </a:lnTo>
                    <a:lnTo>
                      <a:pt x="2" y="160"/>
                    </a:lnTo>
                    <a:lnTo>
                      <a:pt x="8" y="130"/>
                    </a:lnTo>
                    <a:lnTo>
                      <a:pt x="18" y="102"/>
                    </a:lnTo>
                    <a:lnTo>
                      <a:pt x="24" y="88"/>
                    </a:lnTo>
                    <a:lnTo>
                      <a:pt x="32" y="74"/>
                    </a:lnTo>
                    <a:lnTo>
                      <a:pt x="42" y="62"/>
                    </a:lnTo>
                    <a:lnTo>
                      <a:pt x="52" y="50"/>
                    </a:lnTo>
                    <a:lnTo>
                      <a:pt x="64" y="40"/>
                    </a:lnTo>
                    <a:lnTo>
                      <a:pt x="76" y="30"/>
                    </a:lnTo>
                    <a:lnTo>
                      <a:pt x="90" y="20"/>
                    </a:lnTo>
                    <a:lnTo>
                      <a:pt x="106" y="14"/>
                    </a:lnTo>
                    <a:lnTo>
                      <a:pt x="122" y="8"/>
                    </a:lnTo>
                    <a:lnTo>
                      <a:pt x="140" y="4"/>
                    </a:lnTo>
                    <a:lnTo>
                      <a:pt x="160" y="0"/>
                    </a:lnTo>
                    <a:lnTo>
                      <a:pt x="180" y="0"/>
                    </a:lnTo>
                    <a:lnTo>
                      <a:pt x="18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" name="Freeform 23"/>
              <p:cNvSpPr>
                <a:spLocks/>
              </p:cNvSpPr>
              <p:nvPr/>
            </p:nvSpPr>
            <p:spPr bwMode="auto">
              <a:xfrm>
                <a:off x="5229225" y="352425"/>
                <a:ext cx="177800" cy="542925"/>
              </a:xfrm>
              <a:custGeom>
                <a:avLst/>
                <a:gdLst>
                  <a:gd name="T0" fmla="*/ 0 w 112"/>
                  <a:gd name="T1" fmla="*/ 342 h 342"/>
                  <a:gd name="T2" fmla="*/ 24 w 112"/>
                  <a:gd name="T3" fmla="*/ 0 h 342"/>
                  <a:gd name="T4" fmla="*/ 112 w 112"/>
                  <a:gd name="T5" fmla="*/ 0 h 342"/>
                  <a:gd name="T6" fmla="*/ 88 w 112"/>
                  <a:gd name="T7" fmla="*/ 342 h 342"/>
                  <a:gd name="T8" fmla="*/ 0 w 112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2" y="0"/>
                    </a:lnTo>
                    <a:lnTo>
                      <a:pt x="88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24"/>
              <p:cNvSpPr>
                <a:spLocks/>
              </p:cNvSpPr>
              <p:nvPr/>
            </p:nvSpPr>
            <p:spPr bwMode="auto">
              <a:xfrm>
                <a:off x="5803900" y="517525"/>
                <a:ext cx="295275" cy="377825"/>
              </a:xfrm>
              <a:custGeom>
                <a:avLst/>
                <a:gdLst>
                  <a:gd name="T0" fmla="*/ 106 w 186"/>
                  <a:gd name="T1" fmla="*/ 34 h 238"/>
                  <a:gd name="T2" fmla="*/ 106 w 186"/>
                  <a:gd name="T3" fmla="*/ 34 h 238"/>
                  <a:gd name="T4" fmla="*/ 106 w 186"/>
                  <a:gd name="T5" fmla="*/ 34 h 238"/>
                  <a:gd name="T6" fmla="*/ 116 w 186"/>
                  <a:gd name="T7" fmla="*/ 24 h 238"/>
                  <a:gd name="T8" fmla="*/ 124 w 186"/>
                  <a:gd name="T9" fmla="*/ 16 h 238"/>
                  <a:gd name="T10" fmla="*/ 134 w 186"/>
                  <a:gd name="T11" fmla="*/ 10 h 238"/>
                  <a:gd name="T12" fmla="*/ 144 w 186"/>
                  <a:gd name="T13" fmla="*/ 6 h 238"/>
                  <a:gd name="T14" fmla="*/ 154 w 186"/>
                  <a:gd name="T15" fmla="*/ 4 h 238"/>
                  <a:gd name="T16" fmla="*/ 164 w 186"/>
                  <a:gd name="T17" fmla="*/ 2 h 238"/>
                  <a:gd name="T18" fmla="*/ 186 w 186"/>
                  <a:gd name="T19" fmla="*/ 0 h 238"/>
                  <a:gd name="T20" fmla="*/ 180 w 186"/>
                  <a:gd name="T21" fmla="*/ 76 h 238"/>
                  <a:gd name="T22" fmla="*/ 180 w 186"/>
                  <a:gd name="T23" fmla="*/ 76 h 238"/>
                  <a:gd name="T24" fmla="*/ 162 w 186"/>
                  <a:gd name="T25" fmla="*/ 76 h 238"/>
                  <a:gd name="T26" fmla="*/ 162 w 186"/>
                  <a:gd name="T27" fmla="*/ 76 h 238"/>
                  <a:gd name="T28" fmla="*/ 142 w 186"/>
                  <a:gd name="T29" fmla="*/ 78 h 238"/>
                  <a:gd name="T30" fmla="*/ 126 w 186"/>
                  <a:gd name="T31" fmla="*/ 82 h 238"/>
                  <a:gd name="T32" fmla="*/ 116 w 186"/>
                  <a:gd name="T33" fmla="*/ 88 h 238"/>
                  <a:gd name="T34" fmla="*/ 108 w 186"/>
                  <a:gd name="T35" fmla="*/ 98 h 238"/>
                  <a:gd name="T36" fmla="*/ 104 w 186"/>
                  <a:gd name="T37" fmla="*/ 108 h 238"/>
                  <a:gd name="T38" fmla="*/ 100 w 186"/>
                  <a:gd name="T39" fmla="*/ 120 h 238"/>
                  <a:gd name="T40" fmla="*/ 98 w 186"/>
                  <a:gd name="T41" fmla="*/ 148 h 238"/>
                  <a:gd name="T42" fmla="*/ 92 w 186"/>
                  <a:gd name="T43" fmla="*/ 238 h 238"/>
                  <a:gd name="T44" fmla="*/ 0 w 186"/>
                  <a:gd name="T45" fmla="*/ 238 h 238"/>
                  <a:gd name="T46" fmla="*/ 14 w 186"/>
                  <a:gd name="T47" fmla="*/ 62 h 238"/>
                  <a:gd name="T48" fmla="*/ 14 w 186"/>
                  <a:gd name="T49" fmla="*/ 62 h 238"/>
                  <a:gd name="T50" fmla="*/ 14 w 186"/>
                  <a:gd name="T51" fmla="*/ 32 h 238"/>
                  <a:gd name="T52" fmla="*/ 14 w 186"/>
                  <a:gd name="T53" fmla="*/ 0 h 238"/>
                  <a:gd name="T54" fmla="*/ 102 w 186"/>
                  <a:gd name="T55" fmla="*/ 0 h 238"/>
                  <a:gd name="T56" fmla="*/ 106 w 186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6" h="238">
                    <a:moveTo>
                      <a:pt x="106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6" y="24"/>
                    </a:lnTo>
                    <a:lnTo>
                      <a:pt x="124" y="16"/>
                    </a:lnTo>
                    <a:lnTo>
                      <a:pt x="134" y="10"/>
                    </a:lnTo>
                    <a:lnTo>
                      <a:pt x="144" y="6"/>
                    </a:lnTo>
                    <a:lnTo>
                      <a:pt x="154" y="4"/>
                    </a:lnTo>
                    <a:lnTo>
                      <a:pt x="164" y="2"/>
                    </a:lnTo>
                    <a:lnTo>
                      <a:pt x="186" y="0"/>
                    </a:lnTo>
                    <a:lnTo>
                      <a:pt x="180" y="76"/>
                    </a:lnTo>
                    <a:lnTo>
                      <a:pt x="180" y="76"/>
                    </a:lnTo>
                    <a:lnTo>
                      <a:pt x="162" y="76"/>
                    </a:lnTo>
                    <a:lnTo>
                      <a:pt x="162" y="76"/>
                    </a:lnTo>
                    <a:lnTo>
                      <a:pt x="142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4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6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0649175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7FBFD-78E1-42FB-85FC-D9CE5E3DEFA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85699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268" y="245857"/>
            <a:ext cx="11227905" cy="102635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0268" y="1484640"/>
            <a:ext cx="5355409" cy="47048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199" y="1484640"/>
            <a:ext cx="5555973" cy="47048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7FBFD-78E1-42FB-85FC-D9CE5E3DEFA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81065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7FBFD-78E1-42FB-85FC-D9CE5E3DEFA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61655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2"/>
            <a:ext cx="12195050" cy="685628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58369" y="2336800"/>
            <a:ext cx="5788152" cy="2091087"/>
          </a:xfrm>
        </p:spPr>
        <p:txBody>
          <a:bodyPr anchor="ctr">
            <a:normAutofit/>
          </a:bodyPr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58369" y="4427887"/>
            <a:ext cx="5789202" cy="1285515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3E7FBFD-78E1-42FB-85FC-D9CE5E3DEFA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70622" y="276225"/>
            <a:ext cx="2165537" cy="271230"/>
            <a:chOff x="158750" y="276225"/>
            <a:chExt cx="6388100" cy="800100"/>
          </a:xfrm>
          <a:solidFill>
            <a:schemeClr val="accent1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158750" y="276225"/>
              <a:ext cx="857250" cy="736600"/>
            </a:xfrm>
            <a:custGeom>
              <a:avLst/>
              <a:gdLst>
                <a:gd name="T0" fmla="*/ 298 w 540"/>
                <a:gd name="T1" fmla="*/ 0 h 464"/>
                <a:gd name="T2" fmla="*/ 374 w 540"/>
                <a:gd name="T3" fmla="*/ 18 h 464"/>
                <a:gd name="T4" fmla="*/ 442 w 540"/>
                <a:gd name="T5" fmla="*/ 52 h 464"/>
                <a:gd name="T6" fmla="*/ 494 w 540"/>
                <a:gd name="T7" fmla="*/ 102 h 464"/>
                <a:gd name="T8" fmla="*/ 528 w 540"/>
                <a:gd name="T9" fmla="*/ 162 h 464"/>
                <a:gd name="T10" fmla="*/ 540 w 540"/>
                <a:gd name="T11" fmla="*/ 232 h 464"/>
                <a:gd name="T12" fmla="*/ 534 w 540"/>
                <a:gd name="T13" fmla="*/ 278 h 464"/>
                <a:gd name="T14" fmla="*/ 506 w 540"/>
                <a:gd name="T15" fmla="*/ 342 h 464"/>
                <a:gd name="T16" fmla="*/ 460 w 540"/>
                <a:gd name="T17" fmla="*/ 396 h 464"/>
                <a:gd name="T18" fmla="*/ 398 w 540"/>
                <a:gd name="T19" fmla="*/ 436 h 464"/>
                <a:gd name="T20" fmla="*/ 324 w 540"/>
                <a:gd name="T21" fmla="*/ 460 h 464"/>
                <a:gd name="T22" fmla="*/ 270 w 540"/>
                <a:gd name="T23" fmla="*/ 464 h 464"/>
                <a:gd name="T24" fmla="*/ 190 w 540"/>
                <a:gd name="T25" fmla="*/ 454 h 464"/>
                <a:gd name="T26" fmla="*/ 118 w 540"/>
                <a:gd name="T27" fmla="*/ 424 h 464"/>
                <a:gd name="T28" fmla="*/ 62 w 540"/>
                <a:gd name="T29" fmla="*/ 380 h 464"/>
                <a:gd name="T30" fmla="*/ 20 w 540"/>
                <a:gd name="T31" fmla="*/ 322 h 464"/>
                <a:gd name="T32" fmla="*/ 2 w 540"/>
                <a:gd name="T33" fmla="*/ 256 h 464"/>
                <a:gd name="T34" fmla="*/ 2 w 540"/>
                <a:gd name="T35" fmla="*/ 208 h 464"/>
                <a:gd name="T36" fmla="*/ 20 w 540"/>
                <a:gd name="T37" fmla="*/ 142 h 464"/>
                <a:gd name="T38" fmla="*/ 62 w 540"/>
                <a:gd name="T39" fmla="*/ 84 h 464"/>
                <a:gd name="T40" fmla="*/ 118 w 540"/>
                <a:gd name="T41" fmla="*/ 40 h 464"/>
                <a:gd name="T42" fmla="*/ 190 w 540"/>
                <a:gd name="T43" fmla="*/ 10 h 464"/>
                <a:gd name="T44" fmla="*/ 270 w 540"/>
                <a:gd name="T45" fmla="*/ 0 h 464"/>
                <a:gd name="T46" fmla="*/ 270 w 540"/>
                <a:gd name="T47" fmla="*/ 232 h 464"/>
                <a:gd name="T48" fmla="*/ 220 w 540"/>
                <a:gd name="T49" fmla="*/ 196 h 464"/>
                <a:gd name="T50" fmla="*/ 208 w 540"/>
                <a:gd name="T51" fmla="*/ 176 h 464"/>
                <a:gd name="T52" fmla="*/ 156 w 540"/>
                <a:gd name="T53" fmla="*/ 130 h 464"/>
                <a:gd name="T54" fmla="*/ 76 w 540"/>
                <a:gd name="T55" fmla="*/ 152 h 464"/>
                <a:gd name="T56" fmla="*/ 130 w 540"/>
                <a:gd name="T57" fmla="*/ 204 h 464"/>
                <a:gd name="T58" fmla="*/ 138 w 540"/>
                <a:gd name="T59" fmla="*/ 230 h 464"/>
                <a:gd name="T60" fmla="*/ 132 w 540"/>
                <a:gd name="T61" fmla="*/ 244 h 464"/>
                <a:gd name="T62" fmla="*/ 108 w 540"/>
                <a:gd name="T63" fmla="*/ 250 h 464"/>
                <a:gd name="T64" fmla="*/ 38 w 540"/>
                <a:gd name="T65" fmla="*/ 330 h 464"/>
                <a:gd name="T66" fmla="*/ 146 w 540"/>
                <a:gd name="T67" fmla="*/ 330 h 464"/>
                <a:gd name="T68" fmla="*/ 186 w 540"/>
                <a:gd name="T69" fmla="*/ 320 h 464"/>
                <a:gd name="T70" fmla="*/ 214 w 540"/>
                <a:gd name="T71" fmla="*/ 296 h 464"/>
                <a:gd name="T72" fmla="*/ 320 w 540"/>
                <a:gd name="T73" fmla="*/ 390 h 464"/>
                <a:gd name="T74" fmla="*/ 326 w 540"/>
                <a:gd name="T75" fmla="*/ 296 h 464"/>
                <a:gd name="T76" fmla="*/ 352 w 540"/>
                <a:gd name="T77" fmla="*/ 320 h 464"/>
                <a:gd name="T78" fmla="*/ 392 w 540"/>
                <a:gd name="T79" fmla="*/ 330 h 464"/>
                <a:gd name="T80" fmla="*/ 500 w 540"/>
                <a:gd name="T81" fmla="*/ 250 h 464"/>
                <a:gd name="T82" fmla="*/ 432 w 540"/>
                <a:gd name="T83" fmla="*/ 250 h 464"/>
                <a:gd name="T84" fmla="*/ 408 w 540"/>
                <a:gd name="T85" fmla="*/ 244 h 464"/>
                <a:gd name="T86" fmla="*/ 400 w 540"/>
                <a:gd name="T87" fmla="*/ 230 h 464"/>
                <a:gd name="T88" fmla="*/ 410 w 540"/>
                <a:gd name="T89" fmla="*/ 204 h 464"/>
                <a:gd name="T90" fmla="*/ 462 w 540"/>
                <a:gd name="T91" fmla="*/ 152 h 464"/>
                <a:gd name="T92" fmla="*/ 382 w 540"/>
                <a:gd name="T93" fmla="*/ 130 h 464"/>
                <a:gd name="T94" fmla="*/ 330 w 540"/>
                <a:gd name="T95" fmla="*/ 176 h 464"/>
                <a:gd name="T96" fmla="*/ 320 w 540"/>
                <a:gd name="T97" fmla="*/ 19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40" h="464">
                  <a:moveTo>
                    <a:pt x="270" y="0"/>
                  </a:moveTo>
                  <a:lnTo>
                    <a:pt x="270" y="0"/>
                  </a:lnTo>
                  <a:lnTo>
                    <a:pt x="298" y="0"/>
                  </a:lnTo>
                  <a:lnTo>
                    <a:pt x="324" y="4"/>
                  </a:lnTo>
                  <a:lnTo>
                    <a:pt x="350" y="10"/>
                  </a:lnTo>
                  <a:lnTo>
                    <a:pt x="374" y="18"/>
                  </a:lnTo>
                  <a:lnTo>
                    <a:pt x="398" y="28"/>
                  </a:lnTo>
                  <a:lnTo>
                    <a:pt x="420" y="40"/>
                  </a:lnTo>
                  <a:lnTo>
                    <a:pt x="442" y="52"/>
                  </a:lnTo>
                  <a:lnTo>
                    <a:pt x="460" y="68"/>
                  </a:lnTo>
                  <a:lnTo>
                    <a:pt x="478" y="84"/>
                  </a:lnTo>
                  <a:lnTo>
                    <a:pt x="494" y="102"/>
                  </a:lnTo>
                  <a:lnTo>
                    <a:pt x="506" y="122"/>
                  </a:lnTo>
                  <a:lnTo>
                    <a:pt x="518" y="142"/>
                  </a:lnTo>
                  <a:lnTo>
                    <a:pt x="528" y="162"/>
                  </a:lnTo>
                  <a:lnTo>
                    <a:pt x="534" y="184"/>
                  </a:lnTo>
                  <a:lnTo>
                    <a:pt x="538" y="208"/>
                  </a:lnTo>
                  <a:lnTo>
                    <a:pt x="540" y="232"/>
                  </a:lnTo>
                  <a:lnTo>
                    <a:pt x="540" y="232"/>
                  </a:lnTo>
                  <a:lnTo>
                    <a:pt x="538" y="256"/>
                  </a:lnTo>
                  <a:lnTo>
                    <a:pt x="534" y="278"/>
                  </a:lnTo>
                  <a:lnTo>
                    <a:pt x="528" y="300"/>
                  </a:lnTo>
                  <a:lnTo>
                    <a:pt x="518" y="322"/>
                  </a:lnTo>
                  <a:lnTo>
                    <a:pt x="506" y="342"/>
                  </a:lnTo>
                  <a:lnTo>
                    <a:pt x="494" y="362"/>
                  </a:lnTo>
                  <a:lnTo>
                    <a:pt x="478" y="380"/>
                  </a:lnTo>
                  <a:lnTo>
                    <a:pt x="460" y="396"/>
                  </a:lnTo>
                  <a:lnTo>
                    <a:pt x="442" y="410"/>
                  </a:lnTo>
                  <a:lnTo>
                    <a:pt x="420" y="424"/>
                  </a:lnTo>
                  <a:lnTo>
                    <a:pt x="398" y="436"/>
                  </a:lnTo>
                  <a:lnTo>
                    <a:pt x="374" y="446"/>
                  </a:lnTo>
                  <a:lnTo>
                    <a:pt x="350" y="454"/>
                  </a:lnTo>
                  <a:lnTo>
                    <a:pt x="324" y="460"/>
                  </a:lnTo>
                  <a:lnTo>
                    <a:pt x="298" y="462"/>
                  </a:lnTo>
                  <a:lnTo>
                    <a:pt x="270" y="464"/>
                  </a:lnTo>
                  <a:lnTo>
                    <a:pt x="270" y="464"/>
                  </a:lnTo>
                  <a:lnTo>
                    <a:pt x="242" y="462"/>
                  </a:lnTo>
                  <a:lnTo>
                    <a:pt x="216" y="458"/>
                  </a:lnTo>
                  <a:lnTo>
                    <a:pt x="190" y="454"/>
                  </a:lnTo>
                  <a:lnTo>
                    <a:pt x="164" y="446"/>
                  </a:lnTo>
                  <a:lnTo>
                    <a:pt x="140" y="436"/>
                  </a:lnTo>
                  <a:lnTo>
                    <a:pt x="118" y="424"/>
                  </a:lnTo>
                  <a:lnTo>
                    <a:pt x="98" y="410"/>
                  </a:lnTo>
                  <a:lnTo>
                    <a:pt x="78" y="396"/>
                  </a:lnTo>
                  <a:lnTo>
                    <a:pt x="62" y="380"/>
                  </a:lnTo>
                  <a:lnTo>
                    <a:pt x="46" y="362"/>
                  </a:lnTo>
                  <a:lnTo>
                    <a:pt x="32" y="342"/>
                  </a:lnTo>
                  <a:lnTo>
                    <a:pt x="20" y="322"/>
                  </a:lnTo>
                  <a:lnTo>
                    <a:pt x="12" y="300"/>
                  </a:lnTo>
                  <a:lnTo>
                    <a:pt x="6" y="278"/>
                  </a:lnTo>
                  <a:lnTo>
                    <a:pt x="2" y="256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08"/>
                  </a:lnTo>
                  <a:lnTo>
                    <a:pt x="6" y="184"/>
                  </a:lnTo>
                  <a:lnTo>
                    <a:pt x="12" y="162"/>
                  </a:lnTo>
                  <a:lnTo>
                    <a:pt x="20" y="142"/>
                  </a:lnTo>
                  <a:lnTo>
                    <a:pt x="32" y="120"/>
                  </a:lnTo>
                  <a:lnTo>
                    <a:pt x="46" y="102"/>
                  </a:lnTo>
                  <a:lnTo>
                    <a:pt x="62" y="84"/>
                  </a:lnTo>
                  <a:lnTo>
                    <a:pt x="78" y="68"/>
                  </a:lnTo>
                  <a:lnTo>
                    <a:pt x="98" y="52"/>
                  </a:lnTo>
                  <a:lnTo>
                    <a:pt x="118" y="40"/>
                  </a:lnTo>
                  <a:lnTo>
                    <a:pt x="140" y="28"/>
                  </a:lnTo>
                  <a:lnTo>
                    <a:pt x="164" y="18"/>
                  </a:lnTo>
                  <a:lnTo>
                    <a:pt x="190" y="10"/>
                  </a:lnTo>
                  <a:lnTo>
                    <a:pt x="216" y="4"/>
                  </a:lnTo>
                  <a:lnTo>
                    <a:pt x="242" y="0"/>
                  </a:lnTo>
                  <a:lnTo>
                    <a:pt x="270" y="0"/>
                  </a:lnTo>
                  <a:lnTo>
                    <a:pt x="270" y="0"/>
                  </a:lnTo>
                  <a:close/>
                  <a:moveTo>
                    <a:pt x="270" y="232"/>
                  </a:moveTo>
                  <a:lnTo>
                    <a:pt x="270" y="232"/>
                  </a:lnTo>
                  <a:close/>
                  <a:moveTo>
                    <a:pt x="220" y="50"/>
                  </a:moveTo>
                  <a:lnTo>
                    <a:pt x="220" y="50"/>
                  </a:lnTo>
                  <a:lnTo>
                    <a:pt x="220" y="196"/>
                  </a:lnTo>
                  <a:lnTo>
                    <a:pt x="220" y="196"/>
                  </a:lnTo>
                  <a:lnTo>
                    <a:pt x="214" y="186"/>
                  </a:lnTo>
                  <a:lnTo>
                    <a:pt x="208" y="176"/>
                  </a:lnTo>
                  <a:lnTo>
                    <a:pt x="194" y="160"/>
                  </a:lnTo>
                  <a:lnTo>
                    <a:pt x="176" y="144"/>
                  </a:lnTo>
                  <a:lnTo>
                    <a:pt x="156" y="130"/>
                  </a:lnTo>
                  <a:lnTo>
                    <a:pt x="48" y="130"/>
                  </a:lnTo>
                  <a:lnTo>
                    <a:pt x="48" y="130"/>
                  </a:lnTo>
                  <a:lnTo>
                    <a:pt x="76" y="152"/>
                  </a:lnTo>
                  <a:lnTo>
                    <a:pt x="106" y="178"/>
                  </a:lnTo>
                  <a:lnTo>
                    <a:pt x="120" y="192"/>
                  </a:lnTo>
                  <a:lnTo>
                    <a:pt x="130" y="204"/>
                  </a:lnTo>
                  <a:lnTo>
                    <a:pt x="136" y="218"/>
                  </a:lnTo>
                  <a:lnTo>
                    <a:pt x="138" y="230"/>
                  </a:lnTo>
                  <a:lnTo>
                    <a:pt x="138" y="230"/>
                  </a:lnTo>
                  <a:lnTo>
                    <a:pt x="138" y="236"/>
                  </a:lnTo>
                  <a:lnTo>
                    <a:pt x="136" y="240"/>
                  </a:lnTo>
                  <a:lnTo>
                    <a:pt x="132" y="244"/>
                  </a:lnTo>
                  <a:lnTo>
                    <a:pt x="128" y="246"/>
                  </a:lnTo>
                  <a:lnTo>
                    <a:pt x="11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38" y="25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146" y="330"/>
                  </a:lnTo>
                  <a:lnTo>
                    <a:pt x="146" y="330"/>
                  </a:lnTo>
                  <a:lnTo>
                    <a:pt x="166" y="328"/>
                  </a:lnTo>
                  <a:lnTo>
                    <a:pt x="176" y="324"/>
                  </a:lnTo>
                  <a:lnTo>
                    <a:pt x="186" y="320"/>
                  </a:lnTo>
                  <a:lnTo>
                    <a:pt x="196" y="314"/>
                  </a:lnTo>
                  <a:lnTo>
                    <a:pt x="206" y="306"/>
                  </a:lnTo>
                  <a:lnTo>
                    <a:pt x="214" y="296"/>
                  </a:lnTo>
                  <a:lnTo>
                    <a:pt x="220" y="284"/>
                  </a:lnTo>
                  <a:lnTo>
                    <a:pt x="220" y="390"/>
                  </a:lnTo>
                  <a:lnTo>
                    <a:pt x="320" y="390"/>
                  </a:lnTo>
                  <a:lnTo>
                    <a:pt x="320" y="284"/>
                  </a:lnTo>
                  <a:lnTo>
                    <a:pt x="320" y="284"/>
                  </a:lnTo>
                  <a:lnTo>
                    <a:pt x="326" y="296"/>
                  </a:lnTo>
                  <a:lnTo>
                    <a:pt x="334" y="306"/>
                  </a:lnTo>
                  <a:lnTo>
                    <a:pt x="342" y="314"/>
                  </a:lnTo>
                  <a:lnTo>
                    <a:pt x="352" y="320"/>
                  </a:lnTo>
                  <a:lnTo>
                    <a:pt x="362" y="324"/>
                  </a:lnTo>
                  <a:lnTo>
                    <a:pt x="372" y="328"/>
                  </a:lnTo>
                  <a:lnTo>
                    <a:pt x="392" y="330"/>
                  </a:lnTo>
                  <a:lnTo>
                    <a:pt x="392" y="330"/>
                  </a:lnTo>
                  <a:lnTo>
                    <a:pt x="500" y="330"/>
                  </a:lnTo>
                  <a:lnTo>
                    <a:pt x="500" y="250"/>
                  </a:lnTo>
                  <a:lnTo>
                    <a:pt x="500" y="250"/>
                  </a:lnTo>
                  <a:lnTo>
                    <a:pt x="432" y="250"/>
                  </a:lnTo>
                  <a:lnTo>
                    <a:pt x="432" y="250"/>
                  </a:lnTo>
                  <a:lnTo>
                    <a:pt x="422" y="250"/>
                  </a:lnTo>
                  <a:lnTo>
                    <a:pt x="412" y="246"/>
                  </a:lnTo>
                  <a:lnTo>
                    <a:pt x="408" y="244"/>
                  </a:lnTo>
                  <a:lnTo>
                    <a:pt x="404" y="240"/>
                  </a:lnTo>
                  <a:lnTo>
                    <a:pt x="402" y="236"/>
                  </a:lnTo>
                  <a:lnTo>
                    <a:pt x="400" y="230"/>
                  </a:lnTo>
                  <a:lnTo>
                    <a:pt x="400" y="230"/>
                  </a:lnTo>
                  <a:lnTo>
                    <a:pt x="402" y="218"/>
                  </a:lnTo>
                  <a:lnTo>
                    <a:pt x="410" y="204"/>
                  </a:lnTo>
                  <a:lnTo>
                    <a:pt x="420" y="192"/>
                  </a:lnTo>
                  <a:lnTo>
                    <a:pt x="432" y="178"/>
                  </a:lnTo>
                  <a:lnTo>
                    <a:pt x="462" y="152"/>
                  </a:lnTo>
                  <a:lnTo>
                    <a:pt x="492" y="130"/>
                  </a:lnTo>
                  <a:lnTo>
                    <a:pt x="382" y="130"/>
                  </a:lnTo>
                  <a:lnTo>
                    <a:pt x="382" y="130"/>
                  </a:lnTo>
                  <a:lnTo>
                    <a:pt x="364" y="144"/>
                  </a:lnTo>
                  <a:lnTo>
                    <a:pt x="346" y="160"/>
                  </a:lnTo>
                  <a:lnTo>
                    <a:pt x="330" y="176"/>
                  </a:lnTo>
                  <a:lnTo>
                    <a:pt x="324" y="186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20" y="50"/>
                  </a:lnTo>
                  <a:lnTo>
                    <a:pt x="22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1314450" y="339725"/>
              <a:ext cx="5232400" cy="736600"/>
              <a:chOff x="1314450" y="339725"/>
              <a:chExt cx="5232400" cy="736600"/>
            </a:xfrm>
            <a:grpFill/>
          </p:grpSpPr>
          <p:sp>
            <p:nvSpPr>
              <p:cNvPr id="11" name="Freeform 9"/>
              <p:cNvSpPr>
                <a:spLocks/>
              </p:cNvSpPr>
              <p:nvPr/>
            </p:nvSpPr>
            <p:spPr bwMode="auto">
              <a:xfrm>
                <a:off x="1908175" y="352425"/>
                <a:ext cx="139700" cy="98425"/>
              </a:xfrm>
              <a:custGeom>
                <a:avLst/>
                <a:gdLst>
                  <a:gd name="T0" fmla="*/ 4 w 88"/>
                  <a:gd name="T1" fmla="*/ 0 h 62"/>
                  <a:gd name="T2" fmla="*/ 88 w 88"/>
                  <a:gd name="T3" fmla="*/ 0 h 62"/>
                  <a:gd name="T4" fmla="*/ 84 w 88"/>
                  <a:gd name="T5" fmla="*/ 62 h 62"/>
                  <a:gd name="T6" fmla="*/ 0 w 88"/>
                  <a:gd name="T7" fmla="*/ 62 h 62"/>
                  <a:gd name="T8" fmla="*/ 4 w 88"/>
                  <a:gd name="T9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" h="62">
                    <a:moveTo>
                      <a:pt x="4" y="0"/>
                    </a:moveTo>
                    <a:lnTo>
                      <a:pt x="88" y="0"/>
                    </a:lnTo>
                    <a:lnTo>
                      <a:pt x="84" y="62"/>
                    </a:lnTo>
                    <a:lnTo>
                      <a:pt x="0" y="6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10"/>
              <p:cNvSpPr>
                <a:spLocks noEditPoints="1"/>
              </p:cNvSpPr>
              <p:nvPr/>
            </p:nvSpPr>
            <p:spPr bwMode="auto">
              <a:xfrm>
                <a:off x="5397500" y="504825"/>
                <a:ext cx="393700" cy="393700"/>
              </a:xfrm>
              <a:custGeom>
                <a:avLst/>
                <a:gdLst>
                  <a:gd name="T0" fmla="*/ 152 w 248"/>
                  <a:gd name="T1" fmla="*/ 216 h 248"/>
                  <a:gd name="T2" fmla="*/ 138 w 248"/>
                  <a:gd name="T3" fmla="*/ 228 h 248"/>
                  <a:gd name="T4" fmla="*/ 112 w 248"/>
                  <a:gd name="T5" fmla="*/ 242 h 248"/>
                  <a:gd name="T6" fmla="*/ 92 w 248"/>
                  <a:gd name="T7" fmla="*/ 246 h 248"/>
                  <a:gd name="T8" fmla="*/ 80 w 248"/>
                  <a:gd name="T9" fmla="*/ 248 h 248"/>
                  <a:gd name="T10" fmla="*/ 44 w 248"/>
                  <a:gd name="T11" fmla="*/ 242 h 248"/>
                  <a:gd name="T12" fmla="*/ 18 w 248"/>
                  <a:gd name="T13" fmla="*/ 226 h 248"/>
                  <a:gd name="T14" fmla="*/ 4 w 248"/>
                  <a:gd name="T15" fmla="*/ 202 h 248"/>
                  <a:gd name="T16" fmla="*/ 0 w 248"/>
                  <a:gd name="T17" fmla="*/ 174 h 248"/>
                  <a:gd name="T18" fmla="*/ 2 w 248"/>
                  <a:gd name="T19" fmla="*/ 156 h 248"/>
                  <a:gd name="T20" fmla="*/ 20 w 248"/>
                  <a:gd name="T21" fmla="*/ 128 h 248"/>
                  <a:gd name="T22" fmla="*/ 54 w 248"/>
                  <a:gd name="T23" fmla="*/ 108 h 248"/>
                  <a:gd name="T24" fmla="*/ 104 w 248"/>
                  <a:gd name="T25" fmla="*/ 98 h 248"/>
                  <a:gd name="T26" fmla="*/ 162 w 248"/>
                  <a:gd name="T27" fmla="*/ 96 h 248"/>
                  <a:gd name="T28" fmla="*/ 164 w 248"/>
                  <a:gd name="T29" fmla="*/ 78 h 248"/>
                  <a:gd name="T30" fmla="*/ 162 w 248"/>
                  <a:gd name="T31" fmla="*/ 60 h 248"/>
                  <a:gd name="T32" fmla="*/ 154 w 248"/>
                  <a:gd name="T33" fmla="*/ 46 h 248"/>
                  <a:gd name="T34" fmla="*/ 136 w 248"/>
                  <a:gd name="T35" fmla="*/ 40 h 248"/>
                  <a:gd name="T36" fmla="*/ 126 w 248"/>
                  <a:gd name="T37" fmla="*/ 42 h 248"/>
                  <a:gd name="T38" fmla="*/ 114 w 248"/>
                  <a:gd name="T39" fmla="*/ 48 h 248"/>
                  <a:gd name="T40" fmla="*/ 106 w 248"/>
                  <a:gd name="T41" fmla="*/ 66 h 248"/>
                  <a:gd name="T42" fmla="*/ 22 w 248"/>
                  <a:gd name="T43" fmla="*/ 76 h 248"/>
                  <a:gd name="T44" fmla="*/ 24 w 248"/>
                  <a:gd name="T45" fmla="*/ 66 h 248"/>
                  <a:gd name="T46" fmla="*/ 28 w 248"/>
                  <a:gd name="T47" fmla="*/ 46 h 248"/>
                  <a:gd name="T48" fmla="*/ 38 w 248"/>
                  <a:gd name="T49" fmla="*/ 30 h 248"/>
                  <a:gd name="T50" fmla="*/ 54 w 248"/>
                  <a:gd name="T51" fmla="*/ 18 h 248"/>
                  <a:gd name="T52" fmla="*/ 62 w 248"/>
                  <a:gd name="T53" fmla="*/ 14 h 248"/>
                  <a:gd name="T54" fmla="*/ 102 w 248"/>
                  <a:gd name="T55" fmla="*/ 2 h 248"/>
                  <a:gd name="T56" fmla="*/ 144 w 248"/>
                  <a:gd name="T57" fmla="*/ 0 h 248"/>
                  <a:gd name="T58" fmla="*/ 164 w 248"/>
                  <a:gd name="T59" fmla="*/ 0 h 248"/>
                  <a:gd name="T60" fmla="*/ 200 w 248"/>
                  <a:gd name="T61" fmla="*/ 10 h 248"/>
                  <a:gd name="T62" fmla="*/ 230 w 248"/>
                  <a:gd name="T63" fmla="*/ 30 h 248"/>
                  <a:gd name="T64" fmla="*/ 240 w 248"/>
                  <a:gd name="T65" fmla="*/ 44 h 248"/>
                  <a:gd name="T66" fmla="*/ 246 w 248"/>
                  <a:gd name="T67" fmla="*/ 62 h 248"/>
                  <a:gd name="T68" fmla="*/ 248 w 248"/>
                  <a:gd name="T69" fmla="*/ 82 h 248"/>
                  <a:gd name="T70" fmla="*/ 242 w 248"/>
                  <a:gd name="T71" fmla="*/ 196 h 248"/>
                  <a:gd name="T72" fmla="*/ 242 w 248"/>
                  <a:gd name="T73" fmla="*/ 246 h 248"/>
                  <a:gd name="T74" fmla="*/ 152 w 248"/>
                  <a:gd name="T75" fmla="*/ 216 h 248"/>
                  <a:gd name="T76" fmla="*/ 114 w 248"/>
                  <a:gd name="T77" fmla="*/ 200 h 248"/>
                  <a:gd name="T78" fmla="*/ 138 w 248"/>
                  <a:gd name="T79" fmla="*/ 194 h 248"/>
                  <a:gd name="T80" fmla="*/ 152 w 248"/>
                  <a:gd name="T81" fmla="*/ 176 h 248"/>
                  <a:gd name="T82" fmla="*/ 158 w 248"/>
                  <a:gd name="T83" fmla="*/ 154 h 248"/>
                  <a:gd name="T84" fmla="*/ 160 w 248"/>
                  <a:gd name="T85" fmla="*/ 130 h 248"/>
                  <a:gd name="T86" fmla="*/ 122 w 248"/>
                  <a:gd name="T87" fmla="*/ 132 h 248"/>
                  <a:gd name="T88" fmla="*/ 110 w 248"/>
                  <a:gd name="T89" fmla="*/ 134 h 248"/>
                  <a:gd name="T90" fmla="*/ 94 w 248"/>
                  <a:gd name="T91" fmla="*/ 148 h 248"/>
                  <a:gd name="T92" fmla="*/ 86 w 248"/>
                  <a:gd name="T93" fmla="*/ 170 h 248"/>
                  <a:gd name="T94" fmla="*/ 86 w 248"/>
                  <a:gd name="T95" fmla="*/ 176 h 248"/>
                  <a:gd name="T96" fmla="*/ 92 w 248"/>
                  <a:gd name="T97" fmla="*/ 192 h 248"/>
                  <a:gd name="T98" fmla="*/ 102 w 248"/>
                  <a:gd name="T99" fmla="*/ 198 h 248"/>
                  <a:gd name="T100" fmla="*/ 114 w 248"/>
                  <a:gd name="T101" fmla="*/ 20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8" h="248">
                    <a:moveTo>
                      <a:pt x="152" y="216"/>
                    </a:moveTo>
                    <a:lnTo>
                      <a:pt x="152" y="216"/>
                    </a:lnTo>
                    <a:lnTo>
                      <a:pt x="152" y="216"/>
                    </a:lnTo>
                    <a:lnTo>
                      <a:pt x="138" y="228"/>
                    </a:lnTo>
                    <a:lnTo>
                      <a:pt x="122" y="238"/>
                    </a:lnTo>
                    <a:lnTo>
                      <a:pt x="112" y="242"/>
                    </a:lnTo>
                    <a:lnTo>
                      <a:pt x="102" y="246"/>
                    </a:lnTo>
                    <a:lnTo>
                      <a:pt x="92" y="246"/>
                    </a:lnTo>
                    <a:lnTo>
                      <a:pt x="80" y="248"/>
                    </a:lnTo>
                    <a:lnTo>
                      <a:pt x="80" y="248"/>
                    </a:lnTo>
                    <a:lnTo>
                      <a:pt x="60" y="246"/>
                    </a:lnTo>
                    <a:lnTo>
                      <a:pt x="44" y="242"/>
                    </a:lnTo>
                    <a:lnTo>
                      <a:pt x="30" y="234"/>
                    </a:lnTo>
                    <a:lnTo>
                      <a:pt x="18" y="226"/>
                    </a:lnTo>
                    <a:lnTo>
                      <a:pt x="10" y="216"/>
                    </a:lnTo>
                    <a:lnTo>
                      <a:pt x="4" y="202"/>
                    </a:lnTo>
                    <a:lnTo>
                      <a:pt x="0" y="188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2" y="156"/>
                    </a:lnTo>
                    <a:lnTo>
                      <a:pt x="8" y="142"/>
                    </a:lnTo>
                    <a:lnTo>
                      <a:pt x="20" y="128"/>
                    </a:lnTo>
                    <a:lnTo>
                      <a:pt x="34" y="116"/>
                    </a:lnTo>
                    <a:lnTo>
                      <a:pt x="54" y="108"/>
                    </a:lnTo>
                    <a:lnTo>
                      <a:pt x="76" y="102"/>
                    </a:lnTo>
                    <a:lnTo>
                      <a:pt x="104" y="98"/>
                    </a:lnTo>
                    <a:lnTo>
                      <a:pt x="134" y="96"/>
                    </a:lnTo>
                    <a:lnTo>
                      <a:pt x="162" y="96"/>
                    </a:lnTo>
                    <a:lnTo>
                      <a:pt x="162" y="96"/>
                    </a:lnTo>
                    <a:lnTo>
                      <a:pt x="164" y="78"/>
                    </a:lnTo>
                    <a:lnTo>
                      <a:pt x="164" y="70"/>
                    </a:lnTo>
                    <a:lnTo>
                      <a:pt x="162" y="60"/>
                    </a:lnTo>
                    <a:lnTo>
                      <a:pt x="160" y="52"/>
                    </a:lnTo>
                    <a:lnTo>
                      <a:pt x="154" y="46"/>
                    </a:lnTo>
                    <a:lnTo>
                      <a:pt x="146" y="42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26" y="42"/>
                    </a:lnTo>
                    <a:lnTo>
                      <a:pt x="120" y="44"/>
                    </a:lnTo>
                    <a:lnTo>
                      <a:pt x="114" y="48"/>
                    </a:lnTo>
                    <a:lnTo>
                      <a:pt x="110" y="54"/>
                    </a:lnTo>
                    <a:lnTo>
                      <a:pt x="106" y="66"/>
                    </a:lnTo>
                    <a:lnTo>
                      <a:pt x="104" y="76"/>
                    </a:lnTo>
                    <a:lnTo>
                      <a:pt x="22" y="76"/>
                    </a:lnTo>
                    <a:lnTo>
                      <a:pt x="22" y="76"/>
                    </a:lnTo>
                    <a:lnTo>
                      <a:pt x="24" y="66"/>
                    </a:lnTo>
                    <a:lnTo>
                      <a:pt x="26" y="54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38" y="30"/>
                    </a:lnTo>
                    <a:lnTo>
                      <a:pt x="46" y="24"/>
                    </a:lnTo>
                    <a:lnTo>
                      <a:pt x="54" y="18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2" y="6"/>
                    </a:lnTo>
                    <a:lnTo>
                      <a:pt x="102" y="2"/>
                    </a:lnTo>
                    <a:lnTo>
                      <a:pt x="124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64" y="0"/>
                    </a:lnTo>
                    <a:lnTo>
                      <a:pt x="182" y="4"/>
                    </a:lnTo>
                    <a:lnTo>
                      <a:pt x="200" y="10"/>
                    </a:lnTo>
                    <a:lnTo>
                      <a:pt x="216" y="18"/>
                    </a:lnTo>
                    <a:lnTo>
                      <a:pt x="230" y="30"/>
                    </a:lnTo>
                    <a:lnTo>
                      <a:pt x="236" y="38"/>
                    </a:lnTo>
                    <a:lnTo>
                      <a:pt x="240" y="44"/>
                    </a:lnTo>
                    <a:lnTo>
                      <a:pt x="244" y="52"/>
                    </a:lnTo>
                    <a:lnTo>
                      <a:pt x="246" y="62"/>
                    </a:lnTo>
                    <a:lnTo>
                      <a:pt x="248" y="72"/>
                    </a:lnTo>
                    <a:lnTo>
                      <a:pt x="248" y="82"/>
                    </a:lnTo>
                    <a:lnTo>
                      <a:pt x="242" y="196"/>
                    </a:lnTo>
                    <a:lnTo>
                      <a:pt x="242" y="196"/>
                    </a:lnTo>
                    <a:lnTo>
                      <a:pt x="240" y="214"/>
                    </a:lnTo>
                    <a:lnTo>
                      <a:pt x="242" y="246"/>
                    </a:lnTo>
                    <a:lnTo>
                      <a:pt x="158" y="246"/>
                    </a:lnTo>
                    <a:lnTo>
                      <a:pt x="152" y="216"/>
                    </a:lnTo>
                    <a:close/>
                    <a:moveTo>
                      <a:pt x="114" y="200"/>
                    </a:moveTo>
                    <a:lnTo>
                      <a:pt x="114" y="200"/>
                    </a:lnTo>
                    <a:lnTo>
                      <a:pt x="128" y="198"/>
                    </a:lnTo>
                    <a:lnTo>
                      <a:pt x="138" y="194"/>
                    </a:lnTo>
                    <a:lnTo>
                      <a:pt x="146" y="186"/>
                    </a:lnTo>
                    <a:lnTo>
                      <a:pt x="152" y="176"/>
                    </a:lnTo>
                    <a:lnTo>
                      <a:pt x="156" y="166"/>
                    </a:lnTo>
                    <a:lnTo>
                      <a:pt x="158" y="154"/>
                    </a:lnTo>
                    <a:lnTo>
                      <a:pt x="160" y="130"/>
                    </a:lnTo>
                    <a:lnTo>
                      <a:pt x="160" y="130"/>
                    </a:lnTo>
                    <a:lnTo>
                      <a:pt x="134" y="130"/>
                    </a:lnTo>
                    <a:lnTo>
                      <a:pt x="122" y="132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2" y="140"/>
                    </a:lnTo>
                    <a:lnTo>
                      <a:pt x="94" y="148"/>
                    </a:lnTo>
                    <a:lnTo>
                      <a:pt x="88" y="158"/>
                    </a:lnTo>
                    <a:lnTo>
                      <a:pt x="86" y="170"/>
                    </a:lnTo>
                    <a:lnTo>
                      <a:pt x="86" y="170"/>
                    </a:lnTo>
                    <a:lnTo>
                      <a:pt x="86" y="176"/>
                    </a:lnTo>
                    <a:lnTo>
                      <a:pt x="88" y="182"/>
                    </a:lnTo>
                    <a:lnTo>
                      <a:pt x="92" y="192"/>
                    </a:lnTo>
                    <a:lnTo>
                      <a:pt x="96" y="194"/>
                    </a:lnTo>
                    <a:lnTo>
                      <a:pt x="102" y="198"/>
                    </a:lnTo>
                    <a:lnTo>
                      <a:pt x="108" y="200"/>
                    </a:lnTo>
                    <a:lnTo>
                      <a:pt x="114" y="200"/>
                    </a:lnTo>
                    <a:lnTo>
                      <a:pt x="114" y="2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11"/>
              <p:cNvSpPr>
                <a:spLocks noEditPoints="1"/>
              </p:cNvSpPr>
              <p:nvPr/>
            </p:nvSpPr>
            <p:spPr bwMode="auto">
              <a:xfrm>
                <a:off x="6092825" y="352425"/>
                <a:ext cx="454025" cy="542925"/>
              </a:xfrm>
              <a:custGeom>
                <a:avLst/>
                <a:gdLst>
                  <a:gd name="T0" fmla="*/ 0 w 286"/>
                  <a:gd name="T1" fmla="*/ 342 h 342"/>
                  <a:gd name="T2" fmla="*/ 24 w 286"/>
                  <a:gd name="T3" fmla="*/ 0 h 342"/>
                  <a:gd name="T4" fmla="*/ 114 w 286"/>
                  <a:gd name="T5" fmla="*/ 0 h 342"/>
                  <a:gd name="T6" fmla="*/ 90 w 286"/>
                  <a:gd name="T7" fmla="*/ 342 h 342"/>
                  <a:gd name="T8" fmla="*/ 0 w 286"/>
                  <a:gd name="T9" fmla="*/ 342 h 342"/>
                  <a:gd name="T10" fmla="*/ 100 w 286"/>
                  <a:gd name="T11" fmla="*/ 210 h 342"/>
                  <a:gd name="T12" fmla="*/ 184 w 286"/>
                  <a:gd name="T13" fmla="*/ 104 h 342"/>
                  <a:gd name="T14" fmla="*/ 286 w 286"/>
                  <a:gd name="T15" fmla="*/ 104 h 342"/>
                  <a:gd name="T16" fmla="*/ 194 w 286"/>
                  <a:gd name="T17" fmla="*/ 204 h 342"/>
                  <a:gd name="T18" fmla="*/ 282 w 286"/>
                  <a:gd name="T19" fmla="*/ 342 h 342"/>
                  <a:gd name="T20" fmla="*/ 170 w 286"/>
                  <a:gd name="T21" fmla="*/ 342 h 342"/>
                  <a:gd name="T22" fmla="*/ 100 w 286"/>
                  <a:gd name="T23" fmla="*/ 21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6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4" y="0"/>
                    </a:lnTo>
                    <a:lnTo>
                      <a:pt x="90" y="342"/>
                    </a:lnTo>
                    <a:lnTo>
                      <a:pt x="0" y="342"/>
                    </a:lnTo>
                    <a:close/>
                    <a:moveTo>
                      <a:pt x="100" y="210"/>
                    </a:moveTo>
                    <a:lnTo>
                      <a:pt x="184" y="104"/>
                    </a:lnTo>
                    <a:lnTo>
                      <a:pt x="286" y="104"/>
                    </a:lnTo>
                    <a:lnTo>
                      <a:pt x="194" y="204"/>
                    </a:lnTo>
                    <a:lnTo>
                      <a:pt x="282" y="342"/>
                    </a:lnTo>
                    <a:lnTo>
                      <a:pt x="170" y="342"/>
                    </a:lnTo>
                    <a:lnTo>
                      <a:pt x="10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12"/>
              <p:cNvSpPr>
                <a:spLocks/>
              </p:cNvSpPr>
              <p:nvPr/>
            </p:nvSpPr>
            <p:spPr bwMode="auto">
              <a:xfrm>
                <a:off x="3606800" y="517525"/>
                <a:ext cx="292100" cy="377825"/>
              </a:xfrm>
              <a:custGeom>
                <a:avLst/>
                <a:gdLst>
                  <a:gd name="T0" fmla="*/ 104 w 184"/>
                  <a:gd name="T1" fmla="*/ 34 h 238"/>
                  <a:gd name="T2" fmla="*/ 106 w 184"/>
                  <a:gd name="T3" fmla="*/ 34 h 238"/>
                  <a:gd name="T4" fmla="*/ 106 w 184"/>
                  <a:gd name="T5" fmla="*/ 34 h 238"/>
                  <a:gd name="T6" fmla="*/ 114 w 184"/>
                  <a:gd name="T7" fmla="*/ 24 h 238"/>
                  <a:gd name="T8" fmla="*/ 124 w 184"/>
                  <a:gd name="T9" fmla="*/ 16 h 238"/>
                  <a:gd name="T10" fmla="*/ 132 w 184"/>
                  <a:gd name="T11" fmla="*/ 10 h 238"/>
                  <a:gd name="T12" fmla="*/ 142 w 184"/>
                  <a:gd name="T13" fmla="*/ 6 h 238"/>
                  <a:gd name="T14" fmla="*/ 152 w 184"/>
                  <a:gd name="T15" fmla="*/ 4 h 238"/>
                  <a:gd name="T16" fmla="*/ 162 w 184"/>
                  <a:gd name="T17" fmla="*/ 2 h 238"/>
                  <a:gd name="T18" fmla="*/ 184 w 184"/>
                  <a:gd name="T19" fmla="*/ 0 h 238"/>
                  <a:gd name="T20" fmla="*/ 178 w 184"/>
                  <a:gd name="T21" fmla="*/ 76 h 238"/>
                  <a:gd name="T22" fmla="*/ 178 w 184"/>
                  <a:gd name="T23" fmla="*/ 76 h 238"/>
                  <a:gd name="T24" fmla="*/ 160 w 184"/>
                  <a:gd name="T25" fmla="*/ 76 h 238"/>
                  <a:gd name="T26" fmla="*/ 160 w 184"/>
                  <a:gd name="T27" fmla="*/ 76 h 238"/>
                  <a:gd name="T28" fmla="*/ 140 w 184"/>
                  <a:gd name="T29" fmla="*/ 78 h 238"/>
                  <a:gd name="T30" fmla="*/ 126 w 184"/>
                  <a:gd name="T31" fmla="*/ 82 h 238"/>
                  <a:gd name="T32" fmla="*/ 116 w 184"/>
                  <a:gd name="T33" fmla="*/ 88 h 238"/>
                  <a:gd name="T34" fmla="*/ 108 w 184"/>
                  <a:gd name="T35" fmla="*/ 98 h 238"/>
                  <a:gd name="T36" fmla="*/ 102 w 184"/>
                  <a:gd name="T37" fmla="*/ 108 h 238"/>
                  <a:gd name="T38" fmla="*/ 100 w 184"/>
                  <a:gd name="T39" fmla="*/ 120 h 238"/>
                  <a:gd name="T40" fmla="*/ 98 w 184"/>
                  <a:gd name="T41" fmla="*/ 148 h 238"/>
                  <a:gd name="T42" fmla="*/ 92 w 184"/>
                  <a:gd name="T43" fmla="*/ 238 h 238"/>
                  <a:gd name="T44" fmla="*/ 0 w 184"/>
                  <a:gd name="T45" fmla="*/ 238 h 238"/>
                  <a:gd name="T46" fmla="*/ 12 w 184"/>
                  <a:gd name="T47" fmla="*/ 62 h 238"/>
                  <a:gd name="T48" fmla="*/ 12 w 184"/>
                  <a:gd name="T49" fmla="*/ 62 h 238"/>
                  <a:gd name="T50" fmla="*/ 14 w 184"/>
                  <a:gd name="T51" fmla="*/ 32 h 238"/>
                  <a:gd name="T52" fmla="*/ 14 w 184"/>
                  <a:gd name="T53" fmla="*/ 0 h 238"/>
                  <a:gd name="T54" fmla="*/ 102 w 184"/>
                  <a:gd name="T55" fmla="*/ 0 h 238"/>
                  <a:gd name="T56" fmla="*/ 104 w 184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4" h="238">
                    <a:moveTo>
                      <a:pt x="104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4" y="24"/>
                    </a:lnTo>
                    <a:lnTo>
                      <a:pt x="124" y="16"/>
                    </a:lnTo>
                    <a:lnTo>
                      <a:pt x="132" y="10"/>
                    </a:lnTo>
                    <a:lnTo>
                      <a:pt x="142" y="6"/>
                    </a:lnTo>
                    <a:lnTo>
                      <a:pt x="152" y="4"/>
                    </a:lnTo>
                    <a:lnTo>
                      <a:pt x="162" y="2"/>
                    </a:lnTo>
                    <a:lnTo>
                      <a:pt x="184" y="0"/>
                    </a:lnTo>
                    <a:lnTo>
                      <a:pt x="178" y="76"/>
                    </a:lnTo>
                    <a:lnTo>
                      <a:pt x="178" y="76"/>
                    </a:lnTo>
                    <a:lnTo>
                      <a:pt x="160" y="76"/>
                    </a:lnTo>
                    <a:lnTo>
                      <a:pt x="160" y="76"/>
                    </a:lnTo>
                    <a:lnTo>
                      <a:pt x="140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2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4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13"/>
              <p:cNvSpPr>
                <a:spLocks/>
              </p:cNvSpPr>
              <p:nvPr/>
            </p:nvSpPr>
            <p:spPr bwMode="auto">
              <a:xfrm>
                <a:off x="3889375" y="352425"/>
                <a:ext cx="174625" cy="542925"/>
              </a:xfrm>
              <a:custGeom>
                <a:avLst/>
                <a:gdLst>
                  <a:gd name="T0" fmla="*/ 0 w 110"/>
                  <a:gd name="T1" fmla="*/ 342 h 342"/>
                  <a:gd name="T2" fmla="*/ 24 w 110"/>
                  <a:gd name="T3" fmla="*/ 0 h 342"/>
                  <a:gd name="T4" fmla="*/ 110 w 110"/>
                  <a:gd name="T5" fmla="*/ 0 h 342"/>
                  <a:gd name="T6" fmla="*/ 86 w 110"/>
                  <a:gd name="T7" fmla="*/ 342 h 342"/>
                  <a:gd name="T8" fmla="*/ 0 w 110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0" y="0"/>
                    </a:lnTo>
                    <a:lnTo>
                      <a:pt x="86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14"/>
              <p:cNvSpPr>
                <a:spLocks noEditPoints="1"/>
              </p:cNvSpPr>
              <p:nvPr/>
            </p:nvSpPr>
            <p:spPr bwMode="auto">
              <a:xfrm>
                <a:off x="2740025" y="352425"/>
                <a:ext cx="438150" cy="546100"/>
              </a:xfrm>
              <a:custGeom>
                <a:avLst/>
                <a:gdLst>
                  <a:gd name="T0" fmla="*/ 112 w 276"/>
                  <a:gd name="T1" fmla="*/ 0 h 344"/>
                  <a:gd name="T2" fmla="*/ 104 w 276"/>
                  <a:gd name="T3" fmla="*/ 136 h 344"/>
                  <a:gd name="T4" fmla="*/ 120 w 276"/>
                  <a:gd name="T5" fmla="*/ 122 h 344"/>
                  <a:gd name="T6" fmla="*/ 146 w 276"/>
                  <a:gd name="T7" fmla="*/ 104 h 344"/>
                  <a:gd name="T8" fmla="*/ 168 w 276"/>
                  <a:gd name="T9" fmla="*/ 98 h 344"/>
                  <a:gd name="T10" fmla="*/ 180 w 276"/>
                  <a:gd name="T11" fmla="*/ 98 h 344"/>
                  <a:gd name="T12" fmla="*/ 206 w 276"/>
                  <a:gd name="T13" fmla="*/ 100 h 344"/>
                  <a:gd name="T14" fmla="*/ 226 w 276"/>
                  <a:gd name="T15" fmla="*/ 108 h 344"/>
                  <a:gd name="T16" fmla="*/ 244 w 276"/>
                  <a:gd name="T17" fmla="*/ 120 h 344"/>
                  <a:gd name="T18" fmla="*/ 258 w 276"/>
                  <a:gd name="T19" fmla="*/ 136 h 344"/>
                  <a:gd name="T20" fmla="*/ 274 w 276"/>
                  <a:gd name="T21" fmla="*/ 176 h 344"/>
                  <a:gd name="T22" fmla="*/ 276 w 276"/>
                  <a:gd name="T23" fmla="*/ 220 h 344"/>
                  <a:gd name="T24" fmla="*/ 274 w 276"/>
                  <a:gd name="T25" fmla="*/ 242 h 344"/>
                  <a:gd name="T26" fmla="*/ 260 w 276"/>
                  <a:gd name="T27" fmla="*/ 284 h 344"/>
                  <a:gd name="T28" fmla="*/ 240 w 276"/>
                  <a:gd name="T29" fmla="*/ 312 h 344"/>
                  <a:gd name="T30" fmla="*/ 222 w 276"/>
                  <a:gd name="T31" fmla="*/ 328 h 344"/>
                  <a:gd name="T32" fmla="*/ 202 w 276"/>
                  <a:gd name="T33" fmla="*/ 338 h 344"/>
                  <a:gd name="T34" fmla="*/ 176 w 276"/>
                  <a:gd name="T35" fmla="*/ 344 h 344"/>
                  <a:gd name="T36" fmla="*/ 160 w 276"/>
                  <a:gd name="T37" fmla="*/ 344 h 344"/>
                  <a:gd name="T38" fmla="*/ 140 w 276"/>
                  <a:gd name="T39" fmla="*/ 342 h 344"/>
                  <a:gd name="T40" fmla="*/ 106 w 276"/>
                  <a:gd name="T41" fmla="*/ 324 h 344"/>
                  <a:gd name="T42" fmla="*/ 92 w 276"/>
                  <a:gd name="T43" fmla="*/ 312 h 344"/>
                  <a:gd name="T44" fmla="*/ 0 w 276"/>
                  <a:gd name="T45" fmla="*/ 342 h 344"/>
                  <a:gd name="T46" fmla="*/ 94 w 276"/>
                  <a:gd name="T47" fmla="*/ 226 h 344"/>
                  <a:gd name="T48" fmla="*/ 96 w 276"/>
                  <a:gd name="T49" fmla="*/ 250 h 344"/>
                  <a:gd name="T50" fmla="*/ 102 w 276"/>
                  <a:gd name="T51" fmla="*/ 272 h 344"/>
                  <a:gd name="T52" fmla="*/ 114 w 276"/>
                  <a:gd name="T53" fmla="*/ 288 h 344"/>
                  <a:gd name="T54" fmla="*/ 134 w 276"/>
                  <a:gd name="T55" fmla="*/ 296 h 344"/>
                  <a:gd name="T56" fmla="*/ 148 w 276"/>
                  <a:gd name="T57" fmla="*/ 294 h 344"/>
                  <a:gd name="T58" fmla="*/ 168 w 276"/>
                  <a:gd name="T59" fmla="*/ 282 h 344"/>
                  <a:gd name="T60" fmla="*/ 180 w 276"/>
                  <a:gd name="T61" fmla="*/ 260 h 344"/>
                  <a:gd name="T62" fmla="*/ 186 w 276"/>
                  <a:gd name="T63" fmla="*/ 222 h 344"/>
                  <a:gd name="T64" fmla="*/ 186 w 276"/>
                  <a:gd name="T65" fmla="*/ 198 h 344"/>
                  <a:gd name="T66" fmla="*/ 180 w 276"/>
                  <a:gd name="T67" fmla="*/ 174 h 344"/>
                  <a:gd name="T68" fmla="*/ 168 w 276"/>
                  <a:gd name="T69" fmla="*/ 156 h 344"/>
                  <a:gd name="T70" fmla="*/ 146 w 276"/>
                  <a:gd name="T71" fmla="*/ 150 h 344"/>
                  <a:gd name="T72" fmla="*/ 132 w 276"/>
                  <a:gd name="T73" fmla="*/ 152 h 344"/>
                  <a:gd name="T74" fmla="*/ 112 w 276"/>
                  <a:gd name="T75" fmla="*/ 166 h 344"/>
                  <a:gd name="T76" fmla="*/ 100 w 276"/>
                  <a:gd name="T77" fmla="*/ 188 h 344"/>
                  <a:gd name="T78" fmla="*/ 94 w 276"/>
                  <a:gd name="T79" fmla="*/ 226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6" h="344">
                    <a:moveTo>
                      <a:pt x="24" y="0"/>
                    </a:moveTo>
                    <a:lnTo>
                      <a:pt x="112" y="0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20" y="122"/>
                    </a:lnTo>
                    <a:lnTo>
                      <a:pt x="138" y="108"/>
                    </a:lnTo>
                    <a:lnTo>
                      <a:pt x="146" y="104"/>
                    </a:lnTo>
                    <a:lnTo>
                      <a:pt x="158" y="100"/>
                    </a:lnTo>
                    <a:lnTo>
                      <a:pt x="168" y="98"/>
                    </a:lnTo>
                    <a:lnTo>
                      <a:pt x="180" y="98"/>
                    </a:lnTo>
                    <a:lnTo>
                      <a:pt x="180" y="98"/>
                    </a:lnTo>
                    <a:lnTo>
                      <a:pt x="194" y="98"/>
                    </a:lnTo>
                    <a:lnTo>
                      <a:pt x="206" y="100"/>
                    </a:lnTo>
                    <a:lnTo>
                      <a:pt x="216" y="104"/>
                    </a:lnTo>
                    <a:lnTo>
                      <a:pt x="226" y="108"/>
                    </a:lnTo>
                    <a:lnTo>
                      <a:pt x="236" y="114"/>
                    </a:lnTo>
                    <a:lnTo>
                      <a:pt x="244" y="120"/>
                    </a:lnTo>
                    <a:lnTo>
                      <a:pt x="250" y="128"/>
                    </a:lnTo>
                    <a:lnTo>
                      <a:pt x="258" y="136"/>
                    </a:lnTo>
                    <a:lnTo>
                      <a:pt x="266" y="156"/>
                    </a:lnTo>
                    <a:lnTo>
                      <a:pt x="274" y="176"/>
                    </a:lnTo>
                    <a:lnTo>
                      <a:pt x="276" y="198"/>
                    </a:lnTo>
                    <a:lnTo>
                      <a:pt x="276" y="220"/>
                    </a:lnTo>
                    <a:lnTo>
                      <a:pt x="276" y="220"/>
                    </a:lnTo>
                    <a:lnTo>
                      <a:pt x="274" y="242"/>
                    </a:lnTo>
                    <a:lnTo>
                      <a:pt x="268" y="264"/>
                    </a:lnTo>
                    <a:lnTo>
                      <a:pt x="260" y="284"/>
                    </a:lnTo>
                    <a:lnTo>
                      <a:pt x="248" y="304"/>
                    </a:lnTo>
                    <a:lnTo>
                      <a:pt x="240" y="312"/>
                    </a:lnTo>
                    <a:lnTo>
                      <a:pt x="232" y="320"/>
                    </a:lnTo>
                    <a:lnTo>
                      <a:pt x="222" y="328"/>
                    </a:lnTo>
                    <a:lnTo>
                      <a:pt x="212" y="334"/>
                    </a:lnTo>
                    <a:lnTo>
                      <a:pt x="202" y="338"/>
                    </a:lnTo>
                    <a:lnTo>
                      <a:pt x="188" y="342"/>
                    </a:lnTo>
                    <a:lnTo>
                      <a:pt x="176" y="344"/>
                    </a:lnTo>
                    <a:lnTo>
                      <a:pt x="160" y="344"/>
                    </a:lnTo>
                    <a:lnTo>
                      <a:pt x="160" y="344"/>
                    </a:lnTo>
                    <a:lnTo>
                      <a:pt x="150" y="344"/>
                    </a:lnTo>
                    <a:lnTo>
                      <a:pt x="140" y="342"/>
                    </a:lnTo>
                    <a:lnTo>
                      <a:pt x="122" y="336"/>
                    </a:lnTo>
                    <a:lnTo>
                      <a:pt x="106" y="324"/>
                    </a:lnTo>
                    <a:lnTo>
                      <a:pt x="94" y="312"/>
                    </a:lnTo>
                    <a:lnTo>
                      <a:pt x="92" y="312"/>
                    </a:lnTo>
                    <a:lnTo>
                      <a:pt x="88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  <a:moveTo>
                      <a:pt x="94" y="226"/>
                    </a:moveTo>
                    <a:lnTo>
                      <a:pt x="94" y="226"/>
                    </a:lnTo>
                    <a:lnTo>
                      <a:pt x="96" y="250"/>
                    </a:lnTo>
                    <a:lnTo>
                      <a:pt x="98" y="260"/>
                    </a:lnTo>
                    <a:lnTo>
                      <a:pt x="102" y="272"/>
                    </a:lnTo>
                    <a:lnTo>
                      <a:pt x="106" y="282"/>
                    </a:lnTo>
                    <a:lnTo>
                      <a:pt x="114" y="288"/>
                    </a:lnTo>
                    <a:lnTo>
                      <a:pt x="122" y="294"/>
                    </a:lnTo>
                    <a:lnTo>
                      <a:pt x="134" y="296"/>
                    </a:lnTo>
                    <a:lnTo>
                      <a:pt x="134" y="296"/>
                    </a:lnTo>
                    <a:lnTo>
                      <a:pt x="148" y="294"/>
                    </a:lnTo>
                    <a:lnTo>
                      <a:pt x="158" y="288"/>
                    </a:lnTo>
                    <a:lnTo>
                      <a:pt x="168" y="282"/>
                    </a:lnTo>
                    <a:lnTo>
                      <a:pt x="174" y="272"/>
                    </a:lnTo>
                    <a:lnTo>
                      <a:pt x="180" y="260"/>
                    </a:lnTo>
                    <a:lnTo>
                      <a:pt x="184" y="248"/>
                    </a:lnTo>
                    <a:lnTo>
                      <a:pt x="186" y="222"/>
                    </a:lnTo>
                    <a:lnTo>
                      <a:pt x="186" y="222"/>
                    </a:lnTo>
                    <a:lnTo>
                      <a:pt x="186" y="198"/>
                    </a:lnTo>
                    <a:lnTo>
                      <a:pt x="184" y="186"/>
                    </a:lnTo>
                    <a:lnTo>
                      <a:pt x="180" y="174"/>
                    </a:lnTo>
                    <a:lnTo>
                      <a:pt x="176" y="164"/>
                    </a:lnTo>
                    <a:lnTo>
                      <a:pt x="168" y="156"/>
                    </a:lnTo>
                    <a:lnTo>
                      <a:pt x="158" y="152"/>
                    </a:lnTo>
                    <a:lnTo>
                      <a:pt x="146" y="150"/>
                    </a:lnTo>
                    <a:lnTo>
                      <a:pt x="146" y="150"/>
                    </a:lnTo>
                    <a:lnTo>
                      <a:pt x="132" y="152"/>
                    </a:lnTo>
                    <a:lnTo>
                      <a:pt x="120" y="156"/>
                    </a:lnTo>
                    <a:lnTo>
                      <a:pt x="112" y="166"/>
                    </a:lnTo>
                    <a:lnTo>
                      <a:pt x="104" y="176"/>
                    </a:lnTo>
                    <a:lnTo>
                      <a:pt x="100" y="188"/>
                    </a:lnTo>
                    <a:lnTo>
                      <a:pt x="98" y="200"/>
                    </a:lnTo>
                    <a:lnTo>
                      <a:pt x="94" y="226"/>
                    </a:lnTo>
                    <a:lnTo>
                      <a:pt x="94" y="2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15"/>
              <p:cNvSpPr>
                <a:spLocks noEditPoints="1"/>
              </p:cNvSpPr>
              <p:nvPr/>
            </p:nvSpPr>
            <p:spPr bwMode="auto">
              <a:xfrm>
                <a:off x="3197225" y="504825"/>
                <a:ext cx="406400" cy="396875"/>
              </a:xfrm>
              <a:custGeom>
                <a:avLst/>
                <a:gdLst>
                  <a:gd name="T0" fmla="*/ 86 w 256"/>
                  <a:gd name="T1" fmla="*/ 142 h 250"/>
                  <a:gd name="T2" fmla="*/ 86 w 256"/>
                  <a:gd name="T3" fmla="*/ 166 h 250"/>
                  <a:gd name="T4" fmla="*/ 90 w 256"/>
                  <a:gd name="T5" fmla="*/ 184 h 250"/>
                  <a:gd name="T6" fmla="*/ 102 w 256"/>
                  <a:gd name="T7" fmla="*/ 196 h 250"/>
                  <a:gd name="T8" fmla="*/ 124 w 256"/>
                  <a:gd name="T9" fmla="*/ 202 h 250"/>
                  <a:gd name="T10" fmla="*/ 132 w 256"/>
                  <a:gd name="T11" fmla="*/ 200 h 250"/>
                  <a:gd name="T12" fmla="*/ 148 w 256"/>
                  <a:gd name="T13" fmla="*/ 196 h 250"/>
                  <a:gd name="T14" fmla="*/ 158 w 256"/>
                  <a:gd name="T15" fmla="*/ 186 h 250"/>
                  <a:gd name="T16" fmla="*/ 164 w 256"/>
                  <a:gd name="T17" fmla="*/ 174 h 250"/>
                  <a:gd name="T18" fmla="*/ 248 w 256"/>
                  <a:gd name="T19" fmla="*/ 170 h 250"/>
                  <a:gd name="T20" fmla="*/ 246 w 256"/>
                  <a:gd name="T21" fmla="*/ 180 h 250"/>
                  <a:gd name="T22" fmla="*/ 238 w 256"/>
                  <a:gd name="T23" fmla="*/ 198 h 250"/>
                  <a:gd name="T24" fmla="*/ 218 w 256"/>
                  <a:gd name="T25" fmla="*/ 222 h 250"/>
                  <a:gd name="T26" fmla="*/ 202 w 256"/>
                  <a:gd name="T27" fmla="*/ 234 h 250"/>
                  <a:gd name="T28" fmla="*/ 168 w 256"/>
                  <a:gd name="T29" fmla="*/ 246 h 250"/>
                  <a:gd name="T30" fmla="*/ 128 w 256"/>
                  <a:gd name="T31" fmla="*/ 250 h 250"/>
                  <a:gd name="T32" fmla="*/ 96 w 256"/>
                  <a:gd name="T33" fmla="*/ 248 h 250"/>
                  <a:gd name="T34" fmla="*/ 66 w 256"/>
                  <a:gd name="T35" fmla="*/ 242 h 250"/>
                  <a:gd name="T36" fmla="*/ 44 w 256"/>
                  <a:gd name="T37" fmla="*/ 232 h 250"/>
                  <a:gd name="T38" fmla="*/ 26 w 256"/>
                  <a:gd name="T39" fmla="*/ 218 h 250"/>
                  <a:gd name="T40" fmla="*/ 12 w 256"/>
                  <a:gd name="T41" fmla="*/ 200 h 250"/>
                  <a:gd name="T42" fmla="*/ 4 w 256"/>
                  <a:gd name="T43" fmla="*/ 178 h 250"/>
                  <a:gd name="T44" fmla="*/ 0 w 256"/>
                  <a:gd name="T45" fmla="*/ 150 h 250"/>
                  <a:gd name="T46" fmla="*/ 0 w 256"/>
                  <a:gd name="T47" fmla="*/ 118 h 250"/>
                  <a:gd name="T48" fmla="*/ 4 w 256"/>
                  <a:gd name="T49" fmla="*/ 92 h 250"/>
                  <a:gd name="T50" fmla="*/ 14 w 256"/>
                  <a:gd name="T51" fmla="*/ 68 h 250"/>
                  <a:gd name="T52" fmla="*/ 26 w 256"/>
                  <a:gd name="T53" fmla="*/ 48 h 250"/>
                  <a:gd name="T54" fmla="*/ 44 w 256"/>
                  <a:gd name="T55" fmla="*/ 32 h 250"/>
                  <a:gd name="T56" fmla="*/ 86 w 256"/>
                  <a:gd name="T57" fmla="*/ 8 h 250"/>
                  <a:gd name="T58" fmla="*/ 138 w 256"/>
                  <a:gd name="T59" fmla="*/ 0 h 250"/>
                  <a:gd name="T60" fmla="*/ 154 w 256"/>
                  <a:gd name="T61" fmla="*/ 2 h 250"/>
                  <a:gd name="T62" fmla="*/ 184 w 256"/>
                  <a:gd name="T63" fmla="*/ 6 h 250"/>
                  <a:gd name="T64" fmla="*/ 208 w 256"/>
                  <a:gd name="T65" fmla="*/ 18 h 250"/>
                  <a:gd name="T66" fmla="*/ 228 w 256"/>
                  <a:gd name="T67" fmla="*/ 32 h 250"/>
                  <a:gd name="T68" fmla="*/ 242 w 256"/>
                  <a:gd name="T69" fmla="*/ 50 h 250"/>
                  <a:gd name="T70" fmla="*/ 250 w 256"/>
                  <a:gd name="T71" fmla="*/ 72 h 250"/>
                  <a:gd name="T72" fmla="*/ 256 w 256"/>
                  <a:gd name="T73" fmla="*/ 112 h 250"/>
                  <a:gd name="T74" fmla="*/ 86 w 256"/>
                  <a:gd name="T75" fmla="*/ 142 h 250"/>
                  <a:gd name="T76" fmla="*/ 172 w 256"/>
                  <a:gd name="T77" fmla="*/ 98 h 250"/>
                  <a:gd name="T78" fmla="*/ 170 w 256"/>
                  <a:gd name="T79" fmla="*/ 78 h 250"/>
                  <a:gd name="T80" fmla="*/ 164 w 256"/>
                  <a:gd name="T81" fmla="*/ 62 h 250"/>
                  <a:gd name="T82" fmla="*/ 158 w 256"/>
                  <a:gd name="T83" fmla="*/ 56 h 250"/>
                  <a:gd name="T84" fmla="*/ 142 w 256"/>
                  <a:gd name="T85" fmla="*/ 48 h 250"/>
                  <a:gd name="T86" fmla="*/ 134 w 256"/>
                  <a:gd name="T87" fmla="*/ 46 h 250"/>
                  <a:gd name="T88" fmla="*/ 114 w 256"/>
                  <a:gd name="T89" fmla="*/ 52 h 250"/>
                  <a:gd name="T90" fmla="*/ 102 w 256"/>
                  <a:gd name="T91" fmla="*/ 62 h 250"/>
                  <a:gd name="T92" fmla="*/ 94 w 256"/>
                  <a:gd name="T93" fmla="*/ 78 h 250"/>
                  <a:gd name="T94" fmla="*/ 172 w 256"/>
                  <a:gd name="T95" fmla="*/ 98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6" h="250">
                    <a:moveTo>
                      <a:pt x="86" y="142"/>
                    </a:moveTo>
                    <a:lnTo>
                      <a:pt x="86" y="142"/>
                    </a:lnTo>
                    <a:lnTo>
                      <a:pt x="84" y="154"/>
                    </a:lnTo>
                    <a:lnTo>
                      <a:pt x="86" y="166"/>
                    </a:lnTo>
                    <a:lnTo>
                      <a:pt x="88" y="176"/>
                    </a:lnTo>
                    <a:lnTo>
                      <a:pt x="90" y="184"/>
                    </a:lnTo>
                    <a:lnTo>
                      <a:pt x="96" y="192"/>
                    </a:lnTo>
                    <a:lnTo>
                      <a:pt x="102" y="196"/>
                    </a:lnTo>
                    <a:lnTo>
                      <a:pt x="112" y="200"/>
                    </a:lnTo>
                    <a:lnTo>
                      <a:pt x="124" y="202"/>
                    </a:lnTo>
                    <a:lnTo>
                      <a:pt x="124" y="202"/>
                    </a:lnTo>
                    <a:lnTo>
                      <a:pt x="132" y="200"/>
                    </a:lnTo>
                    <a:lnTo>
                      <a:pt x="140" y="198"/>
                    </a:lnTo>
                    <a:lnTo>
                      <a:pt x="148" y="196"/>
                    </a:lnTo>
                    <a:lnTo>
                      <a:pt x="154" y="192"/>
                    </a:lnTo>
                    <a:lnTo>
                      <a:pt x="158" y="186"/>
                    </a:lnTo>
                    <a:lnTo>
                      <a:pt x="162" y="180"/>
                    </a:lnTo>
                    <a:lnTo>
                      <a:pt x="164" y="174"/>
                    </a:lnTo>
                    <a:lnTo>
                      <a:pt x="164" y="170"/>
                    </a:lnTo>
                    <a:lnTo>
                      <a:pt x="248" y="170"/>
                    </a:lnTo>
                    <a:lnTo>
                      <a:pt x="248" y="170"/>
                    </a:lnTo>
                    <a:lnTo>
                      <a:pt x="246" y="180"/>
                    </a:lnTo>
                    <a:lnTo>
                      <a:pt x="242" y="190"/>
                    </a:lnTo>
                    <a:lnTo>
                      <a:pt x="238" y="198"/>
                    </a:lnTo>
                    <a:lnTo>
                      <a:pt x="232" y="208"/>
                    </a:lnTo>
                    <a:lnTo>
                      <a:pt x="218" y="222"/>
                    </a:lnTo>
                    <a:lnTo>
                      <a:pt x="202" y="234"/>
                    </a:lnTo>
                    <a:lnTo>
                      <a:pt x="202" y="234"/>
                    </a:lnTo>
                    <a:lnTo>
                      <a:pt x="186" y="242"/>
                    </a:lnTo>
                    <a:lnTo>
                      <a:pt x="168" y="246"/>
                    </a:lnTo>
                    <a:lnTo>
                      <a:pt x="148" y="248"/>
                    </a:lnTo>
                    <a:lnTo>
                      <a:pt x="128" y="250"/>
                    </a:lnTo>
                    <a:lnTo>
                      <a:pt x="128" y="250"/>
                    </a:lnTo>
                    <a:lnTo>
                      <a:pt x="96" y="248"/>
                    </a:lnTo>
                    <a:lnTo>
                      <a:pt x="80" y="244"/>
                    </a:lnTo>
                    <a:lnTo>
                      <a:pt x="66" y="242"/>
                    </a:lnTo>
                    <a:lnTo>
                      <a:pt x="54" y="238"/>
                    </a:lnTo>
                    <a:lnTo>
                      <a:pt x="44" y="232"/>
                    </a:lnTo>
                    <a:lnTo>
                      <a:pt x="34" y="226"/>
                    </a:lnTo>
                    <a:lnTo>
                      <a:pt x="26" y="218"/>
                    </a:lnTo>
                    <a:lnTo>
                      <a:pt x="18" y="210"/>
                    </a:lnTo>
                    <a:lnTo>
                      <a:pt x="12" y="200"/>
                    </a:lnTo>
                    <a:lnTo>
                      <a:pt x="8" y="190"/>
                    </a:lnTo>
                    <a:lnTo>
                      <a:pt x="4" y="178"/>
                    </a:lnTo>
                    <a:lnTo>
                      <a:pt x="2" y="164"/>
                    </a:lnTo>
                    <a:lnTo>
                      <a:pt x="0" y="150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2" y="106"/>
                    </a:lnTo>
                    <a:lnTo>
                      <a:pt x="4" y="92"/>
                    </a:lnTo>
                    <a:lnTo>
                      <a:pt x="8" y="80"/>
                    </a:lnTo>
                    <a:lnTo>
                      <a:pt x="14" y="68"/>
                    </a:lnTo>
                    <a:lnTo>
                      <a:pt x="20" y="58"/>
                    </a:lnTo>
                    <a:lnTo>
                      <a:pt x="26" y="48"/>
                    </a:lnTo>
                    <a:lnTo>
                      <a:pt x="34" y="40"/>
                    </a:lnTo>
                    <a:lnTo>
                      <a:pt x="44" y="32"/>
                    </a:lnTo>
                    <a:lnTo>
                      <a:pt x="64" y="18"/>
                    </a:lnTo>
                    <a:lnTo>
                      <a:pt x="86" y="8"/>
                    </a:lnTo>
                    <a:lnTo>
                      <a:pt x="110" y="2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4" y="2"/>
                    </a:lnTo>
                    <a:lnTo>
                      <a:pt x="170" y="4"/>
                    </a:lnTo>
                    <a:lnTo>
                      <a:pt x="184" y="6"/>
                    </a:lnTo>
                    <a:lnTo>
                      <a:pt x="196" y="12"/>
                    </a:lnTo>
                    <a:lnTo>
                      <a:pt x="208" y="18"/>
                    </a:lnTo>
                    <a:lnTo>
                      <a:pt x="218" y="24"/>
                    </a:lnTo>
                    <a:lnTo>
                      <a:pt x="228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46" y="60"/>
                    </a:lnTo>
                    <a:lnTo>
                      <a:pt x="250" y="72"/>
                    </a:lnTo>
                    <a:lnTo>
                      <a:pt x="254" y="84"/>
                    </a:lnTo>
                    <a:lnTo>
                      <a:pt x="256" y="112"/>
                    </a:lnTo>
                    <a:lnTo>
                      <a:pt x="254" y="142"/>
                    </a:lnTo>
                    <a:lnTo>
                      <a:pt x="86" y="142"/>
                    </a:lnTo>
                    <a:close/>
                    <a:moveTo>
                      <a:pt x="172" y="98"/>
                    </a:moveTo>
                    <a:lnTo>
                      <a:pt x="172" y="98"/>
                    </a:lnTo>
                    <a:lnTo>
                      <a:pt x="172" y="88"/>
                    </a:lnTo>
                    <a:lnTo>
                      <a:pt x="170" y="78"/>
                    </a:lnTo>
                    <a:lnTo>
                      <a:pt x="168" y="70"/>
                    </a:lnTo>
                    <a:lnTo>
                      <a:pt x="164" y="62"/>
                    </a:lnTo>
                    <a:lnTo>
                      <a:pt x="164" y="62"/>
                    </a:lnTo>
                    <a:lnTo>
                      <a:pt x="158" y="56"/>
                    </a:lnTo>
                    <a:lnTo>
                      <a:pt x="150" y="50"/>
                    </a:lnTo>
                    <a:lnTo>
                      <a:pt x="142" y="48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22" y="48"/>
                    </a:lnTo>
                    <a:lnTo>
                      <a:pt x="114" y="52"/>
                    </a:lnTo>
                    <a:lnTo>
                      <a:pt x="106" y="56"/>
                    </a:lnTo>
                    <a:lnTo>
                      <a:pt x="102" y="62"/>
                    </a:lnTo>
                    <a:lnTo>
                      <a:pt x="96" y="70"/>
                    </a:lnTo>
                    <a:lnTo>
                      <a:pt x="94" y="78"/>
                    </a:lnTo>
                    <a:lnTo>
                      <a:pt x="90" y="98"/>
                    </a:lnTo>
                    <a:lnTo>
                      <a:pt x="172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16"/>
              <p:cNvSpPr>
                <a:spLocks/>
              </p:cNvSpPr>
              <p:nvPr/>
            </p:nvSpPr>
            <p:spPr bwMode="auto">
              <a:xfrm>
                <a:off x="1314450" y="352425"/>
                <a:ext cx="196850" cy="542925"/>
              </a:xfrm>
              <a:custGeom>
                <a:avLst/>
                <a:gdLst>
                  <a:gd name="T0" fmla="*/ 24 w 124"/>
                  <a:gd name="T1" fmla="*/ 0 h 342"/>
                  <a:gd name="T2" fmla="*/ 124 w 124"/>
                  <a:gd name="T3" fmla="*/ 0 h 342"/>
                  <a:gd name="T4" fmla="*/ 100 w 124"/>
                  <a:gd name="T5" fmla="*/ 342 h 342"/>
                  <a:gd name="T6" fmla="*/ 0 w 124"/>
                  <a:gd name="T7" fmla="*/ 342 h 342"/>
                  <a:gd name="T8" fmla="*/ 24 w 124"/>
                  <a:gd name="T9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342">
                    <a:moveTo>
                      <a:pt x="24" y="0"/>
                    </a:moveTo>
                    <a:lnTo>
                      <a:pt x="124" y="0"/>
                    </a:lnTo>
                    <a:lnTo>
                      <a:pt x="100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17"/>
              <p:cNvSpPr>
                <a:spLocks/>
              </p:cNvSpPr>
              <p:nvPr/>
            </p:nvSpPr>
            <p:spPr bwMode="auto">
              <a:xfrm>
                <a:off x="1498600" y="352425"/>
                <a:ext cx="368300" cy="542925"/>
              </a:xfrm>
              <a:custGeom>
                <a:avLst/>
                <a:gdLst>
                  <a:gd name="T0" fmla="*/ 120 w 232"/>
                  <a:gd name="T1" fmla="*/ 0 h 342"/>
                  <a:gd name="T2" fmla="*/ 0 w 232"/>
                  <a:gd name="T3" fmla="*/ 152 h 342"/>
                  <a:gd name="T4" fmla="*/ 106 w 232"/>
                  <a:gd name="T5" fmla="*/ 342 h 342"/>
                  <a:gd name="T6" fmla="*/ 226 w 232"/>
                  <a:gd name="T7" fmla="*/ 342 h 342"/>
                  <a:gd name="T8" fmla="*/ 106 w 232"/>
                  <a:gd name="T9" fmla="*/ 148 h 342"/>
                  <a:gd name="T10" fmla="*/ 232 w 232"/>
                  <a:gd name="T11" fmla="*/ 0 h 342"/>
                  <a:gd name="T12" fmla="*/ 120 w 232"/>
                  <a:gd name="T13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2" h="342">
                    <a:moveTo>
                      <a:pt x="120" y="0"/>
                    </a:moveTo>
                    <a:lnTo>
                      <a:pt x="0" y="152"/>
                    </a:lnTo>
                    <a:lnTo>
                      <a:pt x="106" y="342"/>
                    </a:lnTo>
                    <a:lnTo>
                      <a:pt x="226" y="342"/>
                    </a:lnTo>
                    <a:lnTo>
                      <a:pt x="106" y="148"/>
                    </a:lnTo>
                    <a:lnTo>
                      <a:pt x="232" y="0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18"/>
              <p:cNvSpPr>
                <a:spLocks/>
              </p:cNvSpPr>
              <p:nvPr/>
            </p:nvSpPr>
            <p:spPr bwMode="auto">
              <a:xfrm>
                <a:off x="1876425" y="517525"/>
                <a:ext cx="158750" cy="377825"/>
              </a:xfrm>
              <a:custGeom>
                <a:avLst/>
                <a:gdLst>
                  <a:gd name="T0" fmla="*/ 16 w 100"/>
                  <a:gd name="T1" fmla="*/ 0 h 238"/>
                  <a:gd name="T2" fmla="*/ 100 w 100"/>
                  <a:gd name="T3" fmla="*/ 0 h 238"/>
                  <a:gd name="T4" fmla="*/ 84 w 100"/>
                  <a:gd name="T5" fmla="*/ 238 h 238"/>
                  <a:gd name="T6" fmla="*/ 0 w 100"/>
                  <a:gd name="T7" fmla="*/ 238 h 238"/>
                  <a:gd name="T8" fmla="*/ 16 w 100"/>
                  <a:gd name="T9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238">
                    <a:moveTo>
                      <a:pt x="16" y="0"/>
                    </a:moveTo>
                    <a:lnTo>
                      <a:pt x="100" y="0"/>
                    </a:lnTo>
                    <a:lnTo>
                      <a:pt x="84" y="238"/>
                    </a:lnTo>
                    <a:lnTo>
                      <a:pt x="0" y="238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19"/>
              <p:cNvSpPr>
                <a:spLocks/>
              </p:cNvSpPr>
              <p:nvPr/>
            </p:nvSpPr>
            <p:spPr bwMode="auto">
              <a:xfrm>
                <a:off x="2038350" y="504825"/>
                <a:ext cx="692150" cy="390525"/>
              </a:xfrm>
              <a:custGeom>
                <a:avLst/>
                <a:gdLst>
                  <a:gd name="T0" fmla="*/ 106 w 436"/>
                  <a:gd name="T1" fmla="*/ 40 h 246"/>
                  <a:gd name="T2" fmla="*/ 106 w 436"/>
                  <a:gd name="T3" fmla="*/ 40 h 246"/>
                  <a:gd name="T4" fmla="*/ 128 w 436"/>
                  <a:gd name="T5" fmla="*/ 20 h 246"/>
                  <a:gd name="T6" fmla="*/ 150 w 436"/>
                  <a:gd name="T7" fmla="*/ 8 h 246"/>
                  <a:gd name="T8" fmla="*/ 172 w 436"/>
                  <a:gd name="T9" fmla="*/ 2 h 246"/>
                  <a:gd name="T10" fmla="*/ 192 w 436"/>
                  <a:gd name="T11" fmla="*/ 2 h 246"/>
                  <a:gd name="T12" fmla="*/ 216 w 436"/>
                  <a:gd name="T13" fmla="*/ 6 h 246"/>
                  <a:gd name="T14" fmla="*/ 238 w 436"/>
                  <a:gd name="T15" fmla="*/ 14 h 246"/>
                  <a:gd name="T16" fmla="*/ 254 w 436"/>
                  <a:gd name="T17" fmla="*/ 28 h 246"/>
                  <a:gd name="T18" fmla="*/ 264 w 436"/>
                  <a:gd name="T19" fmla="*/ 44 h 246"/>
                  <a:gd name="T20" fmla="*/ 272 w 436"/>
                  <a:gd name="T21" fmla="*/ 34 h 246"/>
                  <a:gd name="T22" fmla="*/ 290 w 436"/>
                  <a:gd name="T23" fmla="*/ 18 h 246"/>
                  <a:gd name="T24" fmla="*/ 312 w 436"/>
                  <a:gd name="T25" fmla="*/ 8 h 246"/>
                  <a:gd name="T26" fmla="*/ 338 w 436"/>
                  <a:gd name="T27" fmla="*/ 2 h 246"/>
                  <a:gd name="T28" fmla="*/ 352 w 436"/>
                  <a:gd name="T29" fmla="*/ 0 h 246"/>
                  <a:gd name="T30" fmla="*/ 386 w 436"/>
                  <a:gd name="T31" fmla="*/ 6 h 246"/>
                  <a:gd name="T32" fmla="*/ 414 w 436"/>
                  <a:gd name="T33" fmla="*/ 24 h 246"/>
                  <a:gd name="T34" fmla="*/ 432 w 436"/>
                  <a:gd name="T35" fmla="*/ 50 h 246"/>
                  <a:gd name="T36" fmla="*/ 436 w 436"/>
                  <a:gd name="T37" fmla="*/ 86 h 246"/>
                  <a:gd name="T38" fmla="*/ 332 w 436"/>
                  <a:gd name="T39" fmla="*/ 246 h 246"/>
                  <a:gd name="T40" fmla="*/ 342 w 436"/>
                  <a:gd name="T41" fmla="*/ 106 h 246"/>
                  <a:gd name="T42" fmla="*/ 342 w 436"/>
                  <a:gd name="T43" fmla="*/ 80 h 246"/>
                  <a:gd name="T44" fmla="*/ 336 w 436"/>
                  <a:gd name="T45" fmla="*/ 66 h 246"/>
                  <a:gd name="T46" fmla="*/ 322 w 436"/>
                  <a:gd name="T47" fmla="*/ 58 h 246"/>
                  <a:gd name="T48" fmla="*/ 312 w 436"/>
                  <a:gd name="T49" fmla="*/ 58 h 246"/>
                  <a:gd name="T50" fmla="*/ 288 w 436"/>
                  <a:gd name="T51" fmla="*/ 66 h 246"/>
                  <a:gd name="T52" fmla="*/ 276 w 436"/>
                  <a:gd name="T53" fmla="*/ 82 h 246"/>
                  <a:gd name="T54" fmla="*/ 270 w 436"/>
                  <a:gd name="T55" fmla="*/ 100 h 246"/>
                  <a:gd name="T56" fmla="*/ 260 w 436"/>
                  <a:gd name="T57" fmla="*/ 246 h 246"/>
                  <a:gd name="T58" fmla="*/ 180 w 436"/>
                  <a:gd name="T59" fmla="*/ 106 h 246"/>
                  <a:gd name="T60" fmla="*/ 178 w 436"/>
                  <a:gd name="T61" fmla="*/ 88 h 246"/>
                  <a:gd name="T62" fmla="*/ 174 w 436"/>
                  <a:gd name="T63" fmla="*/ 72 h 246"/>
                  <a:gd name="T64" fmla="*/ 164 w 436"/>
                  <a:gd name="T65" fmla="*/ 62 h 246"/>
                  <a:gd name="T66" fmla="*/ 148 w 436"/>
                  <a:gd name="T67" fmla="*/ 58 h 246"/>
                  <a:gd name="T68" fmla="*/ 132 w 436"/>
                  <a:gd name="T69" fmla="*/ 60 h 246"/>
                  <a:gd name="T70" fmla="*/ 114 w 436"/>
                  <a:gd name="T71" fmla="*/ 72 h 246"/>
                  <a:gd name="T72" fmla="*/ 104 w 436"/>
                  <a:gd name="T73" fmla="*/ 92 h 246"/>
                  <a:gd name="T74" fmla="*/ 102 w 436"/>
                  <a:gd name="T75" fmla="*/ 110 h 246"/>
                  <a:gd name="T76" fmla="*/ 0 w 436"/>
                  <a:gd name="T77" fmla="*/ 246 h 246"/>
                  <a:gd name="T78" fmla="*/ 106 w 436"/>
                  <a:gd name="T79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36" h="246">
                    <a:moveTo>
                      <a:pt x="106" y="8"/>
                    </a:moveTo>
                    <a:lnTo>
                      <a:pt x="106" y="40"/>
                    </a:lnTo>
                    <a:lnTo>
                      <a:pt x="106" y="40"/>
                    </a:lnTo>
                    <a:lnTo>
                      <a:pt x="106" y="40"/>
                    </a:lnTo>
                    <a:lnTo>
                      <a:pt x="118" y="28"/>
                    </a:lnTo>
                    <a:lnTo>
                      <a:pt x="128" y="20"/>
                    </a:lnTo>
                    <a:lnTo>
                      <a:pt x="140" y="12"/>
                    </a:lnTo>
                    <a:lnTo>
                      <a:pt x="150" y="8"/>
                    </a:lnTo>
                    <a:lnTo>
                      <a:pt x="162" y="4"/>
                    </a:lnTo>
                    <a:lnTo>
                      <a:pt x="172" y="2"/>
                    </a:lnTo>
                    <a:lnTo>
                      <a:pt x="192" y="2"/>
                    </a:lnTo>
                    <a:lnTo>
                      <a:pt x="192" y="2"/>
                    </a:lnTo>
                    <a:lnTo>
                      <a:pt x="204" y="2"/>
                    </a:lnTo>
                    <a:lnTo>
                      <a:pt x="216" y="6"/>
                    </a:lnTo>
                    <a:lnTo>
                      <a:pt x="228" y="8"/>
                    </a:lnTo>
                    <a:lnTo>
                      <a:pt x="238" y="14"/>
                    </a:lnTo>
                    <a:lnTo>
                      <a:pt x="246" y="20"/>
                    </a:lnTo>
                    <a:lnTo>
                      <a:pt x="254" y="28"/>
                    </a:lnTo>
                    <a:lnTo>
                      <a:pt x="260" y="36"/>
                    </a:lnTo>
                    <a:lnTo>
                      <a:pt x="264" y="44"/>
                    </a:lnTo>
                    <a:lnTo>
                      <a:pt x="264" y="44"/>
                    </a:lnTo>
                    <a:lnTo>
                      <a:pt x="272" y="34"/>
                    </a:lnTo>
                    <a:lnTo>
                      <a:pt x="280" y="26"/>
                    </a:lnTo>
                    <a:lnTo>
                      <a:pt x="290" y="18"/>
                    </a:lnTo>
                    <a:lnTo>
                      <a:pt x="302" y="12"/>
                    </a:lnTo>
                    <a:lnTo>
                      <a:pt x="312" y="8"/>
                    </a:lnTo>
                    <a:lnTo>
                      <a:pt x="326" y="4"/>
                    </a:lnTo>
                    <a:lnTo>
                      <a:pt x="338" y="2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70" y="2"/>
                    </a:lnTo>
                    <a:lnTo>
                      <a:pt x="386" y="6"/>
                    </a:lnTo>
                    <a:lnTo>
                      <a:pt x="402" y="14"/>
                    </a:lnTo>
                    <a:lnTo>
                      <a:pt x="414" y="24"/>
                    </a:lnTo>
                    <a:lnTo>
                      <a:pt x="424" y="36"/>
                    </a:lnTo>
                    <a:lnTo>
                      <a:pt x="432" y="50"/>
                    </a:lnTo>
                    <a:lnTo>
                      <a:pt x="436" y="68"/>
                    </a:lnTo>
                    <a:lnTo>
                      <a:pt x="436" y="86"/>
                    </a:lnTo>
                    <a:lnTo>
                      <a:pt x="424" y="246"/>
                    </a:lnTo>
                    <a:lnTo>
                      <a:pt x="332" y="246"/>
                    </a:lnTo>
                    <a:lnTo>
                      <a:pt x="342" y="106"/>
                    </a:lnTo>
                    <a:lnTo>
                      <a:pt x="342" y="106"/>
                    </a:lnTo>
                    <a:lnTo>
                      <a:pt x="342" y="88"/>
                    </a:lnTo>
                    <a:lnTo>
                      <a:pt x="342" y="80"/>
                    </a:lnTo>
                    <a:lnTo>
                      <a:pt x="340" y="74"/>
                    </a:lnTo>
                    <a:lnTo>
                      <a:pt x="336" y="66"/>
                    </a:lnTo>
                    <a:lnTo>
                      <a:pt x="330" y="62"/>
                    </a:lnTo>
                    <a:lnTo>
                      <a:pt x="322" y="58"/>
                    </a:lnTo>
                    <a:lnTo>
                      <a:pt x="312" y="58"/>
                    </a:lnTo>
                    <a:lnTo>
                      <a:pt x="312" y="58"/>
                    </a:lnTo>
                    <a:lnTo>
                      <a:pt x="298" y="60"/>
                    </a:lnTo>
                    <a:lnTo>
                      <a:pt x="288" y="66"/>
                    </a:lnTo>
                    <a:lnTo>
                      <a:pt x="280" y="72"/>
                    </a:lnTo>
                    <a:lnTo>
                      <a:pt x="276" y="82"/>
                    </a:lnTo>
                    <a:lnTo>
                      <a:pt x="272" y="92"/>
                    </a:lnTo>
                    <a:lnTo>
                      <a:pt x="270" y="100"/>
                    </a:lnTo>
                    <a:lnTo>
                      <a:pt x="270" y="110"/>
                    </a:lnTo>
                    <a:lnTo>
                      <a:pt x="260" y="246"/>
                    </a:lnTo>
                    <a:lnTo>
                      <a:pt x="170" y="246"/>
                    </a:lnTo>
                    <a:lnTo>
                      <a:pt x="180" y="106"/>
                    </a:lnTo>
                    <a:lnTo>
                      <a:pt x="180" y="106"/>
                    </a:lnTo>
                    <a:lnTo>
                      <a:pt x="178" y="88"/>
                    </a:lnTo>
                    <a:lnTo>
                      <a:pt x="178" y="80"/>
                    </a:lnTo>
                    <a:lnTo>
                      <a:pt x="174" y="72"/>
                    </a:lnTo>
                    <a:lnTo>
                      <a:pt x="170" y="66"/>
                    </a:lnTo>
                    <a:lnTo>
                      <a:pt x="164" y="62"/>
                    </a:lnTo>
                    <a:lnTo>
                      <a:pt x="15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32" y="60"/>
                    </a:lnTo>
                    <a:lnTo>
                      <a:pt x="122" y="66"/>
                    </a:lnTo>
                    <a:lnTo>
                      <a:pt x="114" y="72"/>
                    </a:lnTo>
                    <a:lnTo>
                      <a:pt x="108" y="82"/>
                    </a:lnTo>
                    <a:lnTo>
                      <a:pt x="104" y="92"/>
                    </a:lnTo>
                    <a:lnTo>
                      <a:pt x="104" y="100"/>
                    </a:lnTo>
                    <a:lnTo>
                      <a:pt x="102" y="110"/>
                    </a:lnTo>
                    <a:lnTo>
                      <a:pt x="94" y="246"/>
                    </a:lnTo>
                    <a:lnTo>
                      <a:pt x="0" y="246"/>
                    </a:lnTo>
                    <a:lnTo>
                      <a:pt x="16" y="8"/>
                    </a:lnTo>
                    <a:lnTo>
                      <a:pt x="106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20"/>
              <p:cNvSpPr>
                <a:spLocks/>
              </p:cNvSpPr>
              <p:nvPr/>
            </p:nvSpPr>
            <p:spPr bwMode="auto">
              <a:xfrm>
                <a:off x="4064000" y="517525"/>
                <a:ext cx="454025" cy="558800"/>
              </a:xfrm>
              <a:custGeom>
                <a:avLst/>
                <a:gdLst>
                  <a:gd name="T0" fmla="*/ 116 w 286"/>
                  <a:gd name="T1" fmla="*/ 352 h 352"/>
                  <a:gd name="T2" fmla="*/ 34 w 286"/>
                  <a:gd name="T3" fmla="*/ 352 h 352"/>
                  <a:gd name="T4" fmla="*/ 86 w 286"/>
                  <a:gd name="T5" fmla="*/ 242 h 352"/>
                  <a:gd name="T6" fmla="*/ 0 w 286"/>
                  <a:gd name="T7" fmla="*/ 0 h 352"/>
                  <a:gd name="T8" fmla="*/ 100 w 286"/>
                  <a:gd name="T9" fmla="*/ 0 h 352"/>
                  <a:gd name="T10" fmla="*/ 140 w 286"/>
                  <a:gd name="T11" fmla="*/ 148 h 352"/>
                  <a:gd name="T12" fmla="*/ 202 w 286"/>
                  <a:gd name="T13" fmla="*/ 0 h 352"/>
                  <a:gd name="T14" fmla="*/ 286 w 286"/>
                  <a:gd name="T15" fmla="*/ 0 h 352"/>
                  <a:gd name="T16" fmla="*/ 116 w 286"/>
                  <a:gd name="T17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6" h="352">
                    <a:moveTo>
                      <a:pt x="116" y="352"/>
                    </a:moveTo>
                    <a:lnTo>
                      <a:pt x="34" y="352"/>
                    </a:lnTo>
                    <a:lnTo>
                      <a:pt x="86" y="242"/>
                    </a:lnTo>
                    <a:lnTo>
                      <a:pt x="0" y="0"/>
                    </a:lnTo>
                    <a:lnTo>
                      <a:pt x="100" y="0"/>
                    </a:lnTo>
                    <a:lnTo>
                      <a:pt x="140" y="148"/>
                    </a:lnTo>
                    <a:lnTo>
                      <a:pt x="202" y="0"/>
                    </a:lnTo>
                    <a:lnTo>
                      <a:pt x="286" y="0"/>
                    </a:lnTo>
                    <a:lnTo>
                      <a:pt x="116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21"/>
              <p:cNvSpPr>
                <a:spLocks/>
              </p:cNvSpPr>
              <p:nvPr/>
            </p:nvSpPr>
            <p:spPr bwMode="auto">
              <a:xfrm>
                <a:off x="4473575" y="593725"/>
                <a:ext cx="241300" cy="117475"/>
              </a:xfrm>
              <a:custGeom>
                <a:avLst/>
                <a:gdLst>
                  <a:gd name="T0" fmla="*/ 36 w 152"/>
                  <a:gd name="T1" fmla="*/ 0 h 74"/>
                  <a:gd name="T2" fmla="*/ 152 w 152"/>
                  <a:gd name="T3" fmla="*/ 0 h 74"/>
                  <a:gd name="T4" fmla="*/ 114 w 152"/>
                  <a:gd name="T5" fmla="*/ 74 h 74"/>
                  <a:gd name="T6" fmla="*/ 0 w 152"/>
                  <a:gd name="T7" fmla="*/ 74 h 74"/>
                  <a:gd name="T8" fmla="*/ 36 w 152"/>
                  <a:gd name="T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74">
                    <a:moveTo>
                      <a:pt x="36" y="0"/>
                    </a:moveTo>
                    <a:lnTo>
                      <a:pt x="152" y="0"/>
                    </a:lnTo>
                    <a:lnTo>
                      <a:pt x="114" y="74"/>
                    </a:lnTo>
                    <a:lnTo>
                      <a:pt x="0" y="7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" name="Freeform 22"/>
              <p:cNvSpPr>
                <a:spLocks/>
              </p:cNvSpPr>
              <p:nvPr/>
            </p:nvSpPr>
            <p:spPr bwMode="auto">
              <a:xfrm>
                <a:off x="4721225" y="339725"/>
                <a:ext cx="504825" cy="558800"/>
              </a:xfrm>
              <a:custGeom>
                <a:avLst/>
                <a:gdLst>
                  <a:gd name="T0" fmla="*/ 180 w 318"/>
                  <a:gd name="T1" fmla="*/ 0 h 352"/>
                  <a:gd name="T2" fmla="*/ 232 w 318"/>
                  <a:gd name="T3" fmla="*/ 6 h 352"/>
                  <a:gd name="T4" fmla="*/ 266 w 318"/>
                  <a:gd name="T5" fmla="*/ 20 h 352"/>
                  <a:gd name="T6" fmla="*/ 286 w 318"/>
                  <a:gd name="T7" fmla="*/ 32 h 352"/>
                  <a:gd name="T8" fmla="*/ 302 w 318"/>
                  <a:gd name="T9" fmla="*/ 50 h 352"/>
                  <a:gd name="T10" fmla="*/ 312 w 318"/>
                  <a:gd name="T11" fmla="*/ 74 h 352"/>
                  <a:gd name="T12" fmla="*/ 318 w 318"/>
                  <a:gd name="T13" fmla="*/ 100 h 352"/>
                  <a:gd name="T14" fmla="*/ 222 w 318"/>
                  <a:gd name="T15" fmla="*/ 116 h 352"/>
                  <a:gd name="T16" fmla="*/ 222 w 318"/>
                  <a:gd name="T17" fmla="*/ 108 h 352"/>
                  <a:gd name="T18" fmla="*/ 216 w 318"/>
                  <a:gd name="T19" fmla="*/ 90 h 352"/>
                  <a:gd name="T20" fmla="*/ 204 w 318"/>
                  <a:gd name="T21" fmla="*/ 76 h 352"/>
                  <a:gd name="T22" fmla="*/ 188 w 318"/>
                  <a:gd name="T23" fmla="*/ 68 h 352"/>
                  <a:gd name="T24" fmla="*/ 176 w 318"/>
                  <a:gd name="T25" fmla="*/ 68 h 352"/>
                  <a:gd name="T26" fmla="*/ 150 w 318"/>
                  <a:gd name="T27" fmla="*/ 72 h 352"/>
                  <a:gd name="T28" fmla="*/ 128 w 318"/>
                  <a:gd name="T29" fmla="*/ 88 h 352"/>
                  <a:gd name="T30" fmla="*/ 108 w 318"/>
                  <a:gd name="T31" fmla="*/ 118 h 352"/>
                  <a:gd name="T32" fmla="*/ 98 w 318"/>
                  <a:gd name="T33" fmla="*/ 162 h 352"/>
                  <a:gd name="T34" fmla="*/ 96 w 318"/>
                  <a:gd name="T35" fmla="*/ 188 h 352"/>
                  <a:gd name="T36" fmla="*/ 98 w 318"/>
                  <a:gd name="T37" fmla="*/ 234 h 352"/>
                  <a:gd name="T38" fmla="*/ 112 w 318"/>
                  <a:gd name="T39" fmla="*/ 266 h 352"/>
                  <a:gd name="T40" fmla="*/ 122 w 318"/>
                  <a:gd name="T41" fmla="*/ 278 h 352"/>
                  <a:gd name="T42" fmla="*/ 138 w 318"/>
                  <a:gd name="T43" fmla="*/ 284 h 352"/>
                  <a:gd name="T44" fmla="*/ 158 w 318"/>
                  <a:gd name="T45" fmla="*/ 288 h 352"/>
                  <a:gd name="T46" fmla="*/ 174 w 318"/>
                  <a:gd name="T47" fmla="*/ 286 h 352"/>
                  <a:gd name="T48" fmla="*/ 198 w 318"/>
                  <a:gd name="T49" fmla="*/ 274 h 352"/>
                  <a:gd name="T50" fmla="*/ 212 w 318"/>
                  <a:gd name="T51" fmla="*/ 256 h 352"/>
                  <a:gd name="T52" fmla="*/ 218 w 318"/>
                  <a:gd name="T53" fmla="*/ 236 h 352"/>
                  <a:gd name="T54" fmla="*/ 314 w 318"/>
                  <a:gd name="T55" fmla="*/ 236 h 352"/>
                  <a:gd name="T56" fmla="*/ 306 w 318"/>
                  <a:gd name="T57" fmla="*/ 270 h 352"/>
                  <a:gd name="T58" fmla="*/ 290 w 318"/>
                  <a:gd name="T59" fmla="*/ 300 h 352"/>
                  <a:gd name="T60" fmla="*/ 272 w 318"/>
                  <a:gd name="T61" fmla="*/ 318 h 352"/>
                  <a:gd name="T62" fmla="*/ 248 w 318"/>
                  <a:gd name="T63" fmla="*/ 334 h 352"/>
                  <a:gd name="T64" fmla="*/ 216 w 318"/>
                  <a:gd name="T65" fmla="*/ 346 h 352"/>
                  <a:gd name="T66" fmla="*/ 176 w 318"/>
                  <a:gd name="T67" fmla="*/ 352 h 352"/>
                  <a:gd name="T68" fmla="*/ 152 w 318"/>
                  <a:gd name="T69" fmla="*/ 352 h 352"/>
                  <a:gd name="T70" fmla="*/ 106 w 318"/>
                  <a:gd name="T71" fmla="*/ 348 h 352"/>
                  <a:gd name="T72" fmla="*/ 70 w 318"/>
                  <a:gd name="T73" fmla="*/ 336 h 352"/>
                  <a:gd name="T74" fmla="*/ 42 w 318"/>
                  <a:gd name="T75" fmla="*/ 316 h 352"/>
                  <a:gd name="T76" fmla="*/ 22 w 318"/>
                  <a:gd name="T77" fmla="*/ 292 h 352"/>
                  <a:gd name="T78" fmla="*/ 8 w 318"/>
                  <a:gd name="T79" fmla="*/ 262 h 352"/>
                  <a:gd name="T80" fmla="*/ 2 w 318"/>
                  <a:gd name="T81" fmla="*/ 230 h 352"/>
                  <a:gd name="T82" fmla="*/ 0 w 318"/>
                  <a:gd name="T83" fmla="*/ 194 h 352"/>
                  <a:gd name="T84" fmla="*/ 2 w 318"/>
                  <a:gd name="T85" fmla="*/ 160 h 352"/>
                  <a:gd name="T86" fmla="*/ 18 w 318"/>
                  <a:gd name="T87" fmla="*/ 102 h 352"/>
                  <a:gd name="T88" fmla="*/ 32 w 318"/>
                  <a:gd name="T89" fmla="*/ 74 h 352"/>
                  <a:gd name="T90" fmla="*/ 52 w 318"/>
                  <a:gd name="T91" fmla="*/ 50 h 352"/>
                  <a:gd name="T92" fmla="*/ 76 w 318"/>
                  <a:gd name="T93" fmla="*/ 30 h 352"/>
                  <a:gd name="T94" fmla="*/ 106 w 318"/>
                  <a:gd name="T95" fmla="*/ 14 h 352"/>
                  <a:gd name="T96" fmla="*/ 140 w 318"/>
                  <a:gd name="T97" fmla="*/ 4 h 352"/>
                  <a:gd name="T98" fmla="*/ 180 w 318"/>
                  <a:gd name="T99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18" h="352">
                    <a:moveTo>
                      <a:pt x="180" y="0"/>
                    </a:moveTo>
                    <a:lnTo>
                      <a:pt x="180" y="0"/>
                    </a:lnTo>
                    <a:lnTo>
                      <a:pt x="206" y="0"/>
                    </a:lnTo>
                    <a:lnTo>
                      <a:pt x="232" y="6"/>
                    </a:lnTo>
                    <a:lnTo>
                      <a:pt x="256" y="14"/>
                    </a:lnTo>
                    <a:lnTo>
                      <a:pt x="266" y="20"/>
                    </a:lnTo>
                    <a:lnTo>
                      <a:pt x="276" y="26"/>
                    </a:lnTo>
                    <a:lnTo>
                      <a:pt x="286" y="32"/>
                    </a:lnTo>
                    <a:lnTo>
                      <a:pt x="294" y="42"/>
                    </a:lnTo>
                    <a:lnTo>
                      <a:pt x="302" y="50"/>
                    </a:lnTo>
                    <a:lnTo>
                      <a:pt x="308" y="62"/>
                    </a:lnTo>
                    <a:lnTo>
                      <a:pt x="312" y="74"/>
                    </a:lnTo>
                    <a:lnTo>
                      <a:pt x="316" y="86"/>
                    </a:lnTo>
                    <a:lnTo>
                      <a:pt x="318" y="100"/>
                    </a:lnTo>
                    <a:lnTo>
                      <a:pt x="318" y="116"/>
                    </a:lnTo>
                    <a:lnTo>
                      <a:pt x="222" y="116"/>
                    </a:lnTo>
                    <a:lnTo>
                      <a:pt x="222" y="116"/>
                    </a:lnTo>
                    <a:lnTo>
                      <a:pt x="222" y="108"/>
                    </a:lnTo>
                    <a:lnTo>
                      <a:pt x="220" y="98"/>
                    </a:lnTo>
                    <a:lnTo>
                      <a:pt x="216" y="90"/>
                    </a:lnTo>
                    <a:lnTo>
                      <a:pt x="212" y="84"/>
                    </a:lnTo>
                    <a:lnTo>
                      <a:pt x="204" y="76"/>
                    </a:lnTo>
                    <a:lnTo>
                      <a:pt x="198" y="72"/>
                    </a:lnTo>
                    <a:lnTo>
                      <a:pt x="188" y="68"/>
                    </a:lnTo>
                    <a:lnTo>
                      <a:pt x="176" y="68"/>
                    </a:lnTo>
                    <a:lnTo>
                      <a:pt x="176" y="68"/>
                    </a:lnTo>
                    <a:lnTo>
                      <a:pt x="164" y="68"/>
                    </a:lnTo>
                    <a:lnTo>
                      <a:pt x="150" y="72"/>
                    </a:lnTo>
                    <a:lnTo>
                      <a:pt x="138" y="80"/>
                    </a:lnTo>
                    <a:lnTo>
                      <a:pt x="128" y="88"/>
                    </a:lnTo>
                    <a:lnTo>
                      <a:pt x="118" y="102"/>
                    </a:lnTo>
                    <a:lnTo>
                      <a:pt x="108" y="118"/>
                    </a:lnTo>
                    <a:lnTo>
                      <a:pt x="102" y="138"/>
                    </a:lnTo>
                    <a:lnTo>
                      <a:pt x="98" y="162"/>
                    </a:lnTo>
                    <a:lnTo>
                      <a:pt x="98" y="162"/>
                    </a:lnTo>
                    <a:lnTo>
                      <a:pt x="96" y="188"/>
                    </a:lnTo>
                    <a:lnTo>
                      <a:pt x="96" y="212"/>
                    </a:lnTo>
                    <a:lnTo>
                      <a:pt x="98" y="234"/>
                    </a:lnTo>
                    <a:lnTo>
                      <a:pt x="104" y="252"/>
                    </a:lnTo>
                    <a:lnTo>
                      <a:pt x="112" y="266"/>
                    </a:lnTo>
                    <a:lnTo>
                      <a:pt x="116" y="272"/>
                    </a:lnTo>
                    <a:lnTo>
                      <a:pt x="122" y="278"/>
                    </a:lnTo>
                    <a:lnTo>
                      <a:pt x="130" y="282"/>
                    </a:lnTo>
                    <a:lnTo>
                      <a:pt x="138" y="284"/>
                    </a:lnTo>
                    <a:lnTo>
                      <a:pt x="148" y="286"/>
                    </a:lnTo>
                    <a:lnTo>
                      <a:pt x="158" y="288"/>
                    </a:lnTo>
                    <a:lnTo>
                      <a:pt x="158" y="288"/>
                    </a:lnTo>
                    <a:lnTo>
                      <a:pt x="174" y="286"/>
                    </a:lnTo>
                    <a:lnTo>
                      <a:pt x="188" y="280"/>
                    </a:lnTo>
                    <a:lnTo>
                      <a:pt x="198" y="274"/>
                    </a:lnTo>
                    <a:lnTo>
                      <a:pt x="206" y="264"/>
                    </a:lnTo>
                    <a:lnTo>
                      <a:pt x="212" y="256"/>
                    </a:lnTo>
                    <a:lnTo>
                      <a:pt x="214" y="248"/>
                    </a:lnTo>
                    <a:lnTo>
                      <a:pt x="218" y="236"/>
                    </a:lnTo>
                    <a:lnTo>
                      <a:pt x="314" y="236"/>
                    </a:lnTo>
                    <a:lnTo>
                      <a:pt x="314" y="236"/>
                    </a:lnTo>
                    <a:lnTo>
                      <a:pt x="312" y="252"/>
                    </a:lnTo>
                    <a:lnTo>
                      <a:pt x="306" y="270"/>
                    </a:lnTo>
                    <a:lnTo>
                      <a:pt x="296" y="290"/>
                    </a:lnTo>
                    <a:lnTo>
                      <a:pt x="290" y="300"/>
                    </a:lnTo>
                    <a:lnTo>
                      <a:pt x="282" y="308"/>
                    </a:lnTo>
                    <a:lnTo>
                      <a:pt x="272" y="318"/>
                    </a:lnTo>
                    <a:lnTo>
                      <a:pt x="260" y="326"/>
                    </a:lnTo>
                    <a:lnTo>
                      <a:pt x="248" y="334"/>
                    </a:lnTo>
                    <a:lnTo>
                      <a:pt x="232" y="340"/>
                    </a:lnTo>
                    <a:lnTo>
                      <a:pt x="216" y="346"/>
                    </a:lnTo>
                    <a:lnTo>
                      <a:pt x="196" y="350"/>
                    </a:lnTo>
                    <a:lnTo>
                      <a:pt x="176" y="352"/>
                    </a:lnTo>
                    <a:lnTo>
                      <a:pt x="152" y="352"/>
                    </a:lnTo>
                    <a:lnTo>
                      <a:pt x="152" y="352"/>
                    </a:lnTo>
                    <a:lnTo>
                      <a:pt x="128" y="352"/>
                    </a:lnTo>
                    <a:lnTo>
                      <a:pt x="106" y="348"/>
                    </a:lnTo>
                    <a:lnTo>
                      <a:pt x="86" y="342"/>
                    </a:lnTo>
                    <a:lnTo>
                      <a:pt x="70" y="336"/>
                    </a:lnTo>
                    <a:lnTo>
                      <a:pt x="54" y="326"/>
                    </a:lnTo>
                    <a:lnTo>
                      <a:pt x="42" y="316"/>
                    </a:lnTo>
                    <a:lnTo>
                      <a:pt x="30" y="304"/>
                    </a:lnTo>
                    <a:lnTo>
                      <a:pt x="22" y="292"/>
                    </a:lnTo>
                    <a:lnTo>
                      <a:pt x="14" y="276"/>
                    </a:lnTo>
                    <a:lnTo>
                      <a:pt x="8" y="262"/>
                    </a:lnTo>
                    <a:lnTo>
                      <a:pt x="4" y="246"/>
                    </a:lnTo>
                    <a:lnTo>
                      <a:pt x="2" y="230"/>
                    </a:lnTo>
                    <a:lnTo>
                      <a:pt x="0" y="212"/>
                    </a:lnTo>
                    <a:lnTo>
                      <a:pt x="0" y="194"/>
                    </a:lnTo>
                    <a:lnTo>
                      <a:pt x="2" y="160"/>
                    </a:lnTo>
                    <a:lnTo>
                      <a:pt x="2" y="160"/>
                    </a:lnTo>
                    <a:lnTo>
                      <a:pt x="8" y="130"/>
                    </a:lnTo>
                    <a:lnTo>
                      <a:pt x="18" y="102"/>
                    </a:lnTo>
                    <a:lnTo>
                      <a:pt x="24" y="88"/>
                    </a:lnTo>
                    <a:lnTo>
                      <a:pt x="32" y="74"/>
                    </a:lnTo>
                    <a:lnTo>
                      <a:pt x="42" y="62"/>
                    </a:lnTo>
                    <a:lnTo>
                      <a:pt x="52" y="50"/>
                    </a:lnTo>
                    <a:lnTo>
                      <a:pt x="64" y="40"/>
                    </a:lnTo>
                    <a:lnTo>
                      <a:pt x="76" y="30"/>
                    </a:lnTo>
                    <a:lnTo>
                      <a:pt x="90" y="20"/>
                    </a:lnTo>
                    <a:lnTo>
                      <a:pt x="106" y="14"/>
                    </a:lnTo>
                    <a:lnTo>
                      <a:pt x="122" y="8"/>
                    </a:lnTo>
                    <a:lnTo>
                      <a:pt x="140" y="4"/>
                    </a:lnTo>
                    <a:lnTo>
                      <a:pt x="160" y="0"/>
                    </a:lnTo>
                    <a:lnTo>
                      <a:pt x="180" y="0"/>
                    </a:lnTo>
                    <a:lnTo>
                      <a:pt x="18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23"/>
              <p:cNvSpPr>
                <a:spLocks/>
              </p:cNvSpPr>
              <p:nvPr/>
            </p:nvSpPr>
            <p:spPr bwMode="auto">
              <a:xfrm>
                <a:off x="5229225" y="352425"/>
                <a:ext cx="177800" cy="542925"/>
              </a:xfrm>
              <a:custGeom>
                <a:avLst/>
                <a:gdLst>
                  <a:gd name="T0" fmla="*/ 0 w 112"/>
                  <a:gd name="T1" fmla="*/ 342 h 342"/>
                  <a:gd name="T2" fmla="*/ 24 w 112"/>
                  <a:gd name="T3" fmla="*/ 0 h 342"/>
                  <a:gd name="T4" fmla="*/ 112 w 112"/>
                  <a:gd name="T5" fmla="*/ 0 h 342"/>
                  <a:gd name="T6" fmla="*/ 88 w 112"/>
                  <a:gd name="T7" fmla="*/ 342 h 342"/>
                  <a:gd name="T8" fmla="*/ 0 w 112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2" y="0"/>
                    </a:lnTo>
                    <a:lnTo>
                      <a:pt x="88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Freeform 24"/>
              <p:cNvSpPr>
                <a:spLocks/>
              </p:cNvSpPr>
              <p:nvPr/>
            </p:nvSpPr>
            <p:spPr bwMode="auto">
              <a:xfrm>
                <a:off x="5803900" y="517525"/>
                <a:ext cx="295275" cy="377825"/>
              </a:xfrm>
              <a:custGeom>
                <a:avLst/>
                <a:gdLst>
                  <a:gd name="T0" fmla="*/ 106 w 186"/>
                  <a:gd name="T1" fmla="*/ 34 h 238"/>
                  <a:gd name="T2" fmla="*/ 106 w 186"/>
                  <a:gd name="T3" fmla="*/ 34 h 238"/>
                  <a:gd name="T4" fmla="*/ 106 w 186"/>
                  <a:gd name="T5" fmla="*/ 34 h 238"/>
                  <a:gd name="T6" fmla="*/ 116 w 186"/>
                  <a:gd name="T7" fmla="*/ 24 h 238"/>
                  <a:gd name="T8" fmla="*/ 124 w 186"/>
                  <a:gd name="T9" fmla="*/ 16 h 238"/>
                  <a:gd name="T10" fmla="*/ 134 w 186"/>
                  <a:gd name="T11" fmla="*/ 10 h 238"/>
                  <a:gd name="T12" fmla="*/ 144 w 186"/>
                  <a:gd name="T13" fmla="*/ 6 h 238"/>
                  <a:gd name="T14" fmla="*/ 154 w 186"/>
                  <a:gd name="T15" fmla="*/ 4 h 238"/>
                  <a:gd name="T16" fmla="*/ 164 w 186"/>
                  <a:gd name="T17" fmla="*/ 2 h 238"/>
                  <a:gd name="T18" fmla="*/ 186 w 186"/>
                  <a:gd name="T19" fmla="*/ 0 h 238"/>
                  <a:gd name="T20" fmla="*/ 180 w 186"/>
                  <a:gd name="T21" fmla="*/ 76 h 238"/>
                  <a:gd name="T22" fmla="*/ 180 w 186"/>
                  <a:gd name="T23" fmla="*/ 76 h 238"/>
                  <a:gd name="T24" fmla="*/ 162 w 186"/>
                  <a:gd name="T25" fmla="*/ 76 h 238"/>
                  <a:gd name="T26" fmla="*/ 162 w 186"/>
                  <a:gd name="T27" fmla="*/ 76 h 238"/>
                  <a:gd name="T28" fmla="*/ 142 w 186"/>
                  <a:gd name="T29" fmla="*/ 78 h 238"/>
                  <a:gd name="T30" fmla="*/ 126 w 186"/>
                  <a:gd name="T31" fmla="*/ 82 h 238"/>
                  <a:gd name="T32" fmla="*/ 116 w 186"/>
                  <a:gd name="T33" fmla="*/ 88 h 238"/>
                  <a:gd name="T34" fmla="*/ 108 w 186"/>
                  <a:gd name="T35" fmla="*/ 98 h 238"/>
                  <a:gd name="T36" fmla="*/ 104 w 186"/>
                  <a:gd name="T37" fmla="*/ 108 h 238"/>
                  <a:gd name="T38" fmla="*/ 100 w 186"/>
                  <a:gd name="T39" fmla="*/ 120 h 238"/>
                  <a:gd name="T40" fmla="*/ 98 w 186"/>
                  <a:gd name="T41" fmla="*/ 148 h 238"/>
                  <a:gd name="T42" fmla="*/ 92 w 186"/>
                  <a:gd name="T43" fmla="*/ 238 h 238"/>
                  <a:gd name="T44" fmla="*/ 0 w 186"/>
                  <a:gd name="T45" fmla="*/ 238 h 238"/>
                  <a:gd name="T46" fmla="*/ 14 w 186"/>
                  <a:gd name="T47" fmla="*/ 62 h 238"/>
                  <a:gd name="T48" fmla="*/ 14 w 186"/>
                  <a:gd name="T49" fmla="*/ 62 h 238"/>
                  <a:gd name="T50" fmla="*/ 14 w 186"/>
                  <a:gd name="T51" fmla="*/ 32 h 238"/>
                  <a:gd name="T52" fmla="*/ 14 w 186"/>
                  <a:gd name="T53" fmla="*/ 0 h 238"/>
                  <a:gd name="T54" fmla="*/ 102 w 186"/>
                  <a:gd name="T55" fmla="*/ 0 h 238"/>
                  <a:gd name="T56" fmla="*/ 106 w 186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6" h="238">
                    <a:moveTo>
                      <a:pt x="106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6" y="24"/>
                    </a:lnTo>
                    <a:lnTo>
                      <a:pt x="124" y="16"/>
                    </a:lnTo>
                    <a:lnTo>
                      <a:pt x="134" y="10"/>
                    </a:lnTo>
                    <a:lnTo>
                      <a:pt x="144" y="6"/>
                    </a:lnTo>
                    <a:lnTo>
                      <a:pt x="154" y="4"/>
                    </a:lnTo>
                    <a:lnTo>
                      <a:pt x="164" y="2"/>
                    </a:lnTo>
                    <a:lnTo>
                      <a:pt x="186" y="0"/>
                    </a:lnTo>
                    <a:lnTo>
                      <a:pt x="180" y="76"/>
                    </a:lnTo>
                    <a:lnTo>
                      <a:pt x="180" y="76"/>
                    </a:lnTo>
                    <a:lnTo>
                      <a:pt x="162" y="76"/>
                    </a:lnTo>
                    <a:lnTo>
                      <a:pt x="162" y="76"/>
                    </a:lnTo>
                    <a:lnTo>
                      <a:pt x="142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4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6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31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53074" y="553073"/>
            <a:ext cx="3571665" cy="316888"/>
          </a:xfrm>
        </p:spPr>
        <p:txBody>
          <a:bodyPr>
            <a:noAutofit/>
          </a:bodyPr>
          <a:lstStyle>
            <a:lvl1pPr marL="0" indent="0">
              <a:buNone/>
              <a:defRPr sz="1400" b="0" u="none">
                <a:solidFill>
                  <a:schemeClr val="accent1"/>
                </a:solidFill>
              </a:defRPr>
            </a:lvl1pPr>
            <a:lvl2pPr marL="457200" indent="0">
              <a:buNone/>
              <a:defRPr b="0" u="none"/>
            </a:lvl2pPr>
            <a:lvl3pPr marL="914400" indent="0">
              <a:buNone/>
              <a:defRPr b="0" u="none"/>
            </a:lvl3pPr>
            <a:lvl4pPr marL="1371600" indent="0">
              <a:buNone/>
              <a:defRPr b="0" u="none"/>
            </a:lvl4pPr>
            <a:lvl5pPr marL="1828800" indent="0">
              <a:buNone/>
              <a:defRPr b="0" u="none"/>
            </a:lvl5pPr>
          </a:lstStyle>
          <a:p>
            <a:pPr lvl="0"/>
            <a:r>
              <a:rPr lang="en-US"/>
              <a:t>BU/Function/Region</a:t>
            </a:r>
          </a:p>
        </p:txBody>
      </p:sp>
    </p:spTree>
    <p:extLst>
      <p:ext uri="{BB962C8B-B14F-4D97-AF65-F5344CB8AC3E}">
        <p14:creationId xmlns:p14="http://schemas.microsoft.com/office/powerpoint/2010/main" val="489545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7FBFD-78E1-42FB-85FC-D9CE5E3DEFA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14129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7FBFD-78E1-42FB-85FC-D9CE5E3DEFA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270622" y="276225"/>
            <a:ext cx="2165537" cy="271230"/>
            <a:chOff x="158750" y="276225"/>
            <a:chExt cx="6388100" cy="800100"/>
          </a:xfrm>
          <a:solidFill>
            <a:schemeClr val="accent1"/>
          </a:solidFill>
        </p:grpSpPr>
        <p:sp>
          <p:nvSpPr>
            <p:cNvPr id="6" name="Freeform 5"/>
            <p:cNvSpPr>
              <a:spLocks noEditPoints="1"/>
            </p:cNvSpPr>
            <p:nvPr/>
          </p:nvSpPr>
          <p:spPr bwMode="auto">
            <a:xfrm>
              <a:off x="158750" y="276225"/>
              <a:ext cx="857250" cy="736600"/>
            </a:xfrm>
            <a:custGeom>
              <a:avLst/>
              <a:gdLst>
                <a:gd name="T0" fmla="*/ 298 w 540"/>
                <a:gd name="T1" fmla="*/ 0 h 464"/>
                <a:gd name="T2" fmla="*/ 374 w 540"/>
                <a:gd name="T3" fmla="*/ 18 h 464"/>
                <a:gd name="T4" fmla="*/ 442 w 540"/>
                <a:gd name="T5" fmla="*/ 52 h 464"/>
                <a:gd name="T6" fmla="*/ 494 w 540"/>
                <a:gd name="T7" fmla="*/ 102 h 464"/>
                <a:gd name="T8" fmla="*/ 528 w 540"/>
                <a:gd name="T9" fmla="*/ 162 h 464"/>
                <a:gd name="T10" fmla="*/ 540 w 540"/>
                <a:gd name="T11" fmla="*/ 232 h 464"/>
                <a:gd name="T12" fmla="*/ 534 w 540"/>
                <a:gd name="T13" fmla="*/ 278 h 464"/>
                <a:gd name="T14" fmla="*/ 506 w 540"/>
                <a:gd name="T15" fmla="*/ 342 h 464"/>
                <a:gd name="T16" fmla="*/ 460 w 540"/>
                <a:gd name="T17" fmla="*/ 396 h 464"/>
                <a:gd name="T18" fmla="*/ 398 w 540"/>
                <a:gd name="T19" fmla="*/ 436 h 464"/>
                <a:gd name="T20" fmla="*/ 324 w 540"/>
                <a:gd name="T21" fmla="*/ 460 h 464"/>
                <a:gd name="T22" fmla="*/ 270 w 540"/>
                <a:gd name="T23" fmla="*/ 464 h 464"/>
                <a:gd name="T24" fmla="*/ 190 w 540"/>
                <a:gd name="T25" fmla="*/ 454 h 464"/>
                <a:gd name="T26" fmla="*/ 118 w 540"/>
                <a:gd name="T27" fmla="*/ 424 h 464"/>
                <a:gd name="T28" fmla="*/ 62 w 540"/>
                <a:gd name="T29" fmla="*/ 380 h 464"/>
                <a:gd name="T30" fmla="*/ 20 w 540"/>
                <a:gd name="T31" fmla="*/ 322 h 464"/>
                <a:gd name="T32" fmla="*/ 2 w 540"/>
                <a:gd name="T33" fmla="*/ 256 h 464"/>
                <a:gd name="T34" fmla="*/ 2 w 540"/>
                <a:gd name="T35" fmla="*/ 208 h 464"/>
                <a:gd name="T36" fmla="*/ 20 w 540"/>
                <a:gd name="T37" fmla="*/ 142 h 464"/>
                <a:gd name="T38" fmla="*/ 62 w 540"/>
                <a:gd name="T39" fmla="*/ 84 h 464"/>
                <a:gd name="T40" fmla="*/ 118 w 540"/>
                <a:gd name="T41" fmla="*/ 40 h 464"/>
                <a:gd name="T42" fmla="*/ 190 w 540"/>
                <a:gd name="T43" fmla="*/ 10 h 464"/>
                <a:gd name="T44" fmla="*/ 270 w 540"/>
                <a:gd name="T45" fmla="*/ 0 h 464"/>
                <a:gd name="T46" fmla="*/ 270 w 540"/>
                <a:gd name="T47" fmla="*/ 232 h 464"/>
                <a:gd name="T48" fmla="*/ 220 w 540"/>
                <a:gd name="T49" fmla="*/ 196 h 464"/>
                <a:gd name="T50" fmla="*/ 208 w 540"/>
                <a:gd name="T51" fmla="*/ 176 h 464"/>
                <a:gd name="T52" fmla="*/ 156 w 540"/>
                <a:gd name="T53" fmla="*/ 130 h 464"/>
                <a:gd name="T54" fmla="*/ 76 w 540"/>
                <a:gd name="T55" fmla="*/ 152 h 464"/>
                <a:gd name="T56" fmla="*/ 130 w 540"/>
                <a:gd name="T57" fmla="*/ 204 h 464"/>
                <a:gd name="T58" fmla="*/ 138 w 540"/>
                <a:gd name="T59" fmla="*/ 230 h 464"/>
                <a:gd name="T60" fmla="*/ 132 w 540"/>
                <a:gd name="T61" fmla="*/ 244 h 464"/>
                <a:gd name="T62" fmla="*/ 108 w 540"/>
                <a:gd name="T63" fmla="*/ 250 h 464"/>
                <a:gd name="T64" fmla="*/ 38 w 540"/>
                <a:gd name="T65" fmla="*/ 330 h 464"/>
                <a:gd name="T66" fmla="*/ 146 w 540"/>
                <a:gd name="T67" fmla="*/ 330 h 464"/>
                <a:gd name="T68" fmla="*/ 186 w 540"/>
                <a:gd name="T69" fmla="*/ 320 h 464"/>
                <a:gd name="T70" fmla="*/ 214 w 540"/>
                <a:gd name="T71" fmla="*/ 296 h 464"/>
                <a:gd name="T72" fmla="*/ 320 w 540"/>
                <a:gd name="T73" fmla="*/ 390 h 464"/>
                <a:gd name="T74" fmla="*/ 326 w 540"/>
                <a:gd name="T75" fmla="*/ 296 h 464"/>
                <a:gd name="T76" fmla="*/ 352 w 540"/>
                <a:gd name="T77" fmla="*/ 320 h 464"/>
                <a:gd name="T78" fmla="*/ 392 w 540"/>
                <a:gd name="T79" fmla="*/ 330 h 464"/>
                <a:gd name="T80" fmla="*/ 500 w 540"/>
                <a:gd name="T81" fmla="*/ 250 h 464"/>
                <a:gd name="T82" fmla="*/ 432 w 540"/>
                <a:gd name="T83" fmla="*/ 250 h 464"/>
                <a:gd name="T84" fmla="*/ 408 w 540"/>
                <a:gd name="T85" fmla="*/ 244 h 464"/>
                <a:gd name="T86" fmla="*/ 400 w 540"/>
                <a:gd name="T87" fmla="*/ 230 h 464"/>
                <a:gd name="T88" fmla="*/ 410 w 540"/>
                <a:gd name="T89" fmla="*/ 204 h 464"/>
                <a:gd name="T90" fmla="*/ 462 w 540"/>
                <a:gd name="T91" fmla="*/ 152 h 464"/>
                <a:gd name="T92" fmla="*/ 382 w 540"/>
                <a:gd name="T93" fmla="*/ 130 h 464"/>
                <a:gd name="T94" fmla="*/ 330 w 540"/>
                <a:gd name="T95" fmla="*/ 176 h 464"/>
                <a:gd name="T96" fmla="*/ 320 w 540"/>
                <a:gd name="T97" fmla="*/ 19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40" h="464">
                  <a:moveTo>
                    <a:pt x="270" y="0"/>
                  </a:moveTo>
                  <a:lnTo>
                    <a:pt x="270" y="0"/>
                  </a:lnTo>
                  <a:lnTo>
                    <a:pt x="298" y="0"/>
                  </a:lnTo>
                  <a:lnTo>
                    <a:pt x="324" y="4"/>
                  </a:lnTo>
                  <a:lnTo>
                    <a:pt x="350" y="10"/>
                  </a:lnTo>
                  <a:lnTo>
                    <a:pt x="374" y="18"/>
                  </a:lnTo>
                  <a:lnTo>
                    <a:pt x="398" y="28"/>
                  </a:lnTo>
                  <a:lnTo>
                    <a:pt x="420" y="40"/>
                  </a:lnTo>
                  <a:lnTo>
                    <a:pt x="442" y="52"/>
                  </a:lnTo>
                  <a:lnTo>
                    <a:pt x="460" y="68"/>
                  </a:lnTo>
                  <a:lnTo>
                    <a:pt x="478" y="84"/>
                  </a:lnTo>
                  <a:lnTo>
                    <a:pt x="494" y="102"/>
                  </a:lnTo>
                  <a:lnTo>
                    <a:pt x="506" y="122"/>
                  </a:lnTo>
                  <a:lnTo>
                    <a:pt x="518" y="142"/>
                  </a:lnTo>
                  <a:lnTo>
                    <a:pt x="528" y="162"/>
                  </a:lnTo>
                  <a:lnTo>
                    <a:pt x="534" y="184"/>
                  </a:lnTo>
                  <a:lnTo>
                    <a:pt x="538" y="208"/>
                  </a:lnTo>
                  <a:lnTo>
                    <a:pt x="540" y="232"/>
                  </a:lnTo>
                  <a:lnTo>
                    <a:pt x="540" y="232"/>
                  </a:lnTo>
                  <a:lnTo>
                    <a:pt x="538" y="256"/>
                  </a:lnTo>
                  <a:lnTo>
                    <a:pt x="534" y="278"/>
                  </a:lnTo>
                  <a:lnTo>
                    <a:pt x="528" y="300"/>
                  </a:lnTo>
                  <a:lnTo>
                    <a:pt x="518" y="322"/>
                  </a:lnTo>
                  <a:lnTo>
                    <a:pt x="506" y="342"/>
                  </a:lnTo>
                  <a:lnTo>
                    <a:pt x="494" y="362"/>
                  </a:lnTo>
                  <a:lnTo>
                    <a:pt x="478" y="380"/>
                  </a:lnTo>
                  <a:lnTo>
                    <a:pt x="460" y="396"/>
                  </a:lnTo>
                  <a:lnTo>
                    <a:pt x="442" y="410"/>
                  </a:lnTo>
                  <a:lnTo>
                    <a:pt x="420" y="424"/>
                  </a:lnTo>
                  <a:lnTo>
                    <a:pt x="398" y="436"/>
                  </a:lnTo>
                  <a:lnTo>
                    <a:pt x="374" y="446"/>
                  </a:lnTo>
                  <a:lnTo>
                    <a:pt x="350" y="454"/>
                  </a:lnTo>
                  <a:lnTo>
                    <a:pt x="324" y="460"/>
                  </a:lnTo>
                  <a:lnTo>
                    <a:pt x="298" y="462"/>
                  </a:lnTo>
                  <a:lnTo>
                    <a:pt x="270" y="464"/>
                  </a:lnTo>
                  <a:lnTo>
                    <a:pt x="270" y="464"/>
                  </a:lnTo>
                  <a:lnTo>
                    <a:pt x="242" y="462"/>
                  </a:lnTo>
                  <a:lnTo>
                    <a:pt x="216" y="458"/>
                  </a:lnTo>
                  <a:lnTo>
                    <a:pt x="190" y="454"/>
                  </a:lnTo>
                  <a:lnTo>
                    <a:pt x="164" y="446"/>
                  </a:lnTo>
                  <a:lnTo>
                    <a:pt x="140" y="436"/>
                  </a:lnTo>
                  <a:lnTo>
                    <a:pt x="118" y="424"/>
                  </a:lnTo>
                  <a:lnTo>
                    <a:pt x="98" y="410"/>
                  </a:lnTo>
                  <a:lnTo>
                    <a:pt x="78" y="396"/>
                  </a:lnTo>
                  <a:lnTo>
                    <a:pt x="62" y="380"/>
                  </a:lnTo>
                  <a:lnTo>
                    <a:pt x="46" y="362"/>
                  </a:lnTo>
                  <a:lnTo>
                    <a:pt x="32" y="342"/>
                  </a:lnTo>
                  <a:lnTo>
                    <a:pt x="20" y="322"/>
                  </a:lnTo>
                  <a:lnTo>
                    <a:pt x="12" y="300"/>
                  </a:lnTo>
                  <a:lnTo>
                    <a:pt x="6" y="278"/>
                  </a:lnTo>
                  <a:lnTo>
                    <a:pt x="2" y="256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08"/>
                  </a:lnTo>
                  <a:lnTo>
                    <a:pt x="6" y="184"/>
                  </a:lnTo>
                  <a:lnTo>
                    <a:pt x="12" y="162"/>
                  </a:lnTo>
                  <a:lnTo>
                    <a:pt x="20" y="142"/>
                  </a:lnTo>
                  <a:lnTo>
                    <a:pt x="32" y="120"/>
                  </a:lnTo>
                  <a:lnTo>
                    <a:pt x="46" y="102"/>
                  </a:lnTo>
                  <a:lnTo>
                    <a:pt x="62" y="84"/>
                  </a:lnTo>
                  <a:lnTo>
                    <a:pt x="78" y="68"/>
                  </a:lnTo>
                  <a:lnTo>
                    <a:pt x="98" y="52"/>
                  </a:lnTo>
                  <a:lnTo>
                    <a:pt x="118" y="40"/>
                  </a:lnTo>
                  <a:lnTo>
                    <a:pt x="140" y="28"/>
                  </a:lnTo>
                  <a:lnTo>
                    <a:pt x="164" y="18"/>
                  </a:lnTo>
                  <a:lnTo>
                    <a:pt x="190" y="10"/>
                  </a:lnTo>
                  <a:lnTo>
                    <a:pt x="216" y="4"/>
                  </a:lnTo>
                  <a:lnTo>
                    <a:pt x="242" y="0"/>
                  </a:lnTo>
                  <a:lnTo>
                    <a:pt x="270" y="0"/>
                  </a:lnTo>
                  <a:lnTo>
                    <a:pt x="270" y="0"/>
                  </a:lnTo>
                  <a:close/>
                  <a:moveTo>
                    <a:pt x="270" y="232"/>
                  </a:moveTo>
                  <a:lnTo>
                    <a:pt x="270" y="232"/>
                  </a:lnTo>
                  <a:close/>
                  <a:moveTo>
                    <a:pt x="220" y="50"/>
                  </a:moveTo>
                  <a:lnTo>
                    <a:pt x="220" y="50"/>
                  </a:lnTo>
                  <a:lnTo>
                    <a:pt x="220" y="196"/>
                  </a:lnTo>
                  <a:lnTo>
                    <a:pt x="220" y="196"/>
                  </a:lnTo>
                  <a:lnTo>
                    <a:pt x="214" y="186"/>
                  </a:lnTo>
                  <a:lnTo>
                    <a:pt x="208" y="176"/>
                  </a:lnTo>
                  <a:lnTo>
                    <a:pt x="194" y="160"/>
                  </a:lnTo>
                  <a:lnTo>
                    <a:pt x="176" y="144"/>
                  </a:lnTo>
                  <a:lnTo>
                    <a:pt x="156" y="130"/>
                  </a:lnTo>
                  <a:lnTo>
                    <a:pt x="48" y="130"/>
                  </a:lnTo>
                  <a:lnTo>
                    <a:pt x="48" y="130"/>
                  </a:lnTo>
                  <a:lnTo>
                    <a:pt x="76" y="152"/>
                  </a:lnTo>
                  <a:lnTo>
                    <a:pt x="106" y="178"/>
                  </a:lnTo>
                  <a:lnTo>
                    <a:pt x="120" y="192"/>
                  </a:lnTo>
                  <a:lnTo>
                    <a:pt x="130" y="204"/>
                  </a:lnTo>
                  <a:lnTo>
                    <a:pt x="136" y="218"/>
                  </a:lnTo>
                  <a:lnTo>
                    <a:pt x="138" y="230"/>
                  </a:lnTo>
                  <a:lnTo>
                    <a:pt x="138" y="230"/>
                  </a:lnTo>
                  <a:lnTo>
                    <a:pt x="138" y="236"/>
                  </a:lnTo>
                  <a:lnTo>
                    <a:pt x="136" y="240"/>
                  </a:lnTo>
                  <a:lnTo>
                    <a:pt x="132" y="244"/>
                  </a:lnTo>
                  <a:lnTo>
                    <a:pt x="128" y="246"/>
                  </a:lnTo>
                  <a:lnTo>
                    <a:pt x="11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38" y="25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146" y="330"/>
                  </a:lnTo>
                  <a:lnTo>
                    <a:pt x="146" y="330"/>
                  </a:lnTo>
                  <a:lnTo>
                    <a:pt x="166" y="328"/>
                  </a:lnTo>
                  <a:lnTo>
                    <a:pt x="176" y="324"/>
                  </a:lnTo>
                  <a:lnTo>
                    <a:pt x="186" y="320"/>
                  </a:lnTo>
                  <a:lnTo>
                    <a:pt x="196" y="314"/>
                  </a:lnTo>
                  <a:lnTo>
                    <a:pt x="206" y="306"/>
                  </a:lnTo>
                  <a:lnTo>
                    <a:pt x="214" y="296"/>
                  </a:lnTo>
                  <a:lnTo>
                    <a:pt x="220" y="284"/>
                  </a:lnTo>
                  <a:lnTo>
                    <a:pt x="220" y="390"/>
                  </a:lnTo>
                  <a:lnTo>
                    <a:pt x="320" y="390"/>
                  </a:lnTo>
                  <a:lnTo>
                    <a:pt x="320" y="284"/>
                  </a:lnTo>
                  <a:lnTo>
                    <a:pt x="320" y="284"/>
                  </a:lnTo>
                  <a:lnTo>
                    <a:pt x="326" y="296"/>
                  </a:lnTo>
                  <a:lnTo>
                    <a:pt x="334" y="306"/>
                  </a:lnTo>
                  <a:lnTo>
                    <a:pt x="342" y="314"/>
                  </a:lnTo>
                  <a:lnTo>
                    <a:pt x="352" y="320"/>
                  </a:lnTo>
                  <a:lnTo>
                    <a:pt x="362" y="324"/>
                  </a:lnTo>
                  <a:lnTo>
                    <a:pt x="372" y="328"/>
                  </a:lnTo>
                  <a:lnTo>
                    <a:pt x="392" y="330"/>
                  </a:lnTo>
                  <a:lnTo>
                    <a:pt x="392" y="330"/>
                  </a:lnTo>
                  <a:lnTo>
                    <a:pt x="500" y="330"/>
                  </a:lnTo>
                  <a:lnTo>
                    <a:pt x="500" y="250"/>
                  </a:lnTo>
                  <a:lnTo>
                    <a:pt x="500" y="250"/>
                  </a:lnTo>
                  <a:lnTo>
                    <a:pt x="432" y="250"/>
                  </a:lnTo>
                  <a:lnTo>
                    <a:pt x="432" y="250"/>
                  </a:lnTo>
                  <a:lnTo>
                    <a:pt x="422" y="250"/>
                  </a:lnTo>
                  <a:lnTo>
                    <a:pt x="412" y="246"/>
                  </a:lnTo>
                  <a:lnTo>
                    <a:pt x="408" y="244"/>
                  </a:lnTo>
                  <a:lnTo>
                    <a:pt x="404" y="240"/>
                  </a:lnTo>
                  <a:lnTo>
                    <a:pt x="402" y="236"/>
                  </a:lnTo>
                  <a:lnTo>
                    <a:pt x="400" y="230"/>
                  </a:lnTo>
                  <a:lnTo>
                    <a:pt x="400" y="230"/>
                  </a:lnTo>
                  <a:lnTo>
                    <a:pt x="402" y="218"/>
                  </a:lnTo>
                  <a:lnTo>
                    <a:pt x="410" y="204"/>
                  </a:lnTo>
                  <a:lnTo>
                    <a:pt x="420" y="192"/>
                  </a:lnTo>
                  <a:lnTo>
                    <a:pt x="432" y="178"/>
                  </a:lnTo>
                  <a:lnTo>
                    <a:pt x="462" y="152"/>
                  </a:lnTo>
                  <a:lnTo>
                    <a:pt x="492" y="130"/>
                  </a:lnTo>
                  <a:lnTo>
                    <a:pt x="382" y="130"/>
                  </a:lnTo>
                  <a:lnTo>
                    <a:pt x="382" y="130"/>
                  </a:lnTo>
                  <a:lnTo>
                    <a:pt x="364" y="144"/>
                  </a:lnTo>
                  <a:lnTo>
                    <a:pt x="346" y="160"/>
                  </a:lnTo>
                  <a:lnTo>
                    <a:pt x="330" y="176"/>
                  </a:lnTo>
                  <a:lnTo>
                    <a:pt x="324" y="186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20" y="50"/>
                  </a:lnTo>
                  <a:lnTo>
                    <a:pt x="22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1314450" y="339725"/>
              <a:ext cx="5232400" cy="736600"/>
              <a:chOff x="1314450" y="339725"/>
              <a:chExt cx="5232400" cy="736600"/>
            </a:xfrm>
            <a:grpFill/>
          </p:grpSpPr>
          <p:sp>
            <p:nvSpPr>
              <p:cNvPr id="8" name="Freeform 9"/>
              <p:cNvSpPr>
                <a:spLocks/>
              </p:cNvSpPr>
              <p:nvPr/>
            </p:nvSpPr>
            <p:spPr bwMode="auto">
              <a:xfrm>
                <a:off x="1908175" y="352425"/>
                <a:ext cx="139700" cy="98425"/>
              </a:xfrm>
              <a:custGeom>
                <a:avLst/>
                <a:gdLst>
                  <a:gd name="T0" fmla="*/ 4 w 88"/>
                  <a:gd name="T1" fmla="*/ 0 h 62"/>
                  <a:gd name="T2" fmla="*/ 88 w 88"/>
                  <a:gd name="T3" fmla="*/ 0 h 62"/>
                  <a:gd name="T4" fmla="*/ 84 w 88"/>
                  <a:gd name="T5" fmla="*/ 62 h 62"/>
                  <a:gd name="T6" fmla="*/ 0 w 88"/>
                  <a:gd name="T7" fmla="*/ 62 h 62"/>
                  <a:gd name="T8" fmla="*/ 4 w 88"/>
                  <a:gd name="T9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" h="62">
                    <a:moveTo>
                      <a:pt x="4" y="0"/>
                    </a:moveTo>
                    <a:lnTo>
                      <a:pt x="88" y="0"/>
                    </a:lnTo>
                    <a:lnTo>
                      <a:pt x="84" y="62"/>
                    </a:lnTo>
                    <a:lnTo>
                      <a:pt x="0" y="6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" name="Freeform 10"/>
              <p:cNvSpPr>
                <a:spLocks noEditPoints="1"/>
              </p:cNvSpPr>
              <p:nvPr/>
            </p:nvSpPr>
            <p:spPr bwMode="auto">
              <a:xfrm>
                <a:off x="5397500" y="504825"/>
                <a:ext cx="393700" cy="393700"/>
              </a:xfrm>
              <a:custGeom>
                <a:avLst/>
                <a:gdLst>
                  <a:gd name="T0" fmla="*/ 152 w 248"/>
                  <a:gd name="T1" fmla="*/ 216 h 248"/>
                  <a:gd name="T2" fmla="*/ 138 w 248"/>
                  <a:gd name="T3" fmla="*/ 228 h 248"/>
                  <a:gd name="T4" fmla="*/ 112 w 248"/>
                  <a:gd name="T5" fmla="*/ 242 h 248"/>
                  <a:gd name="T6" fmla="*/ 92 w 248"/>
                  <a:gd name="T7" fmla="*/ 246 h 248"/>
                  <a:gd name="T8" fmla="*/ 80 w 248"/>
                  <a:gd name="T9" fmla="*/ 248 h 248"/>
                  <a:gd name="T10" fmla="*/ 44 w 248"/>
                  <a:gd name="T11" fmla="*/ 242 h 248"/>
                  <a:gd name="T12" fmla="*/ 18 w 248"/>
                  <a:gd name="T13" fmla="*/ 226 h 248"/>
                  <a:gd name="T14" fmla="*/ 4 w 248"/>
                  <a:gd name="T15" fmla="*/ 202 h 248"/>
                  <a:gd name="T16" fmla="*/ 0 w 248"/>
                  <a:gd name="T17" fmla="*/ 174 h 248"/>
                  <a:gd name="T18" fmla="*/ 2 w 248"/>
                  <a:gd name="T19" fmla="*/ 156 h 248"/>
                  <a:gd name="T20" fmla="*/ 20 w 248"/>
                  <a:gd name="T21" fmla="*/ 128 h 248"/>
                  <a:gd name="T22" fmla="*/ 54 w 248"/>
                  <a:gd name="T23" fmla="*/ 108 h 248"/>
                  <a:gd name="T24" fmla="*/ 104 w 248"/>
                  <a:gd name="T25" fmla="*/ 98 h 248"/>
                  <a:gd name="T26" fmla="*/ 162 w 248"/>
                  <a:gd name="T27" fmla="*/ 96 h 248"/>
                  <a:gd name="T28" fmla="*/ 164 w 248"/>
                  <a:gd name="T29" fmla="*/ 78 h 248"/>
                  <a:gd name="T30" fmla="*/ 162 w 248"/>
                  <a:gd name="T31" fmla="*/ 60 h 248"/>
                  <a:gd name="T32" fmla="*/ 154 w 248"/>
                  <a:gd name="T33" fmla="*/ 46 h 248"/>
                  <a:gd name="T34" fmla="*/ 136 w 248"/>
                  <a:gd name="T35" fmla="*/ 40 h 248"/>
                  <a:gd name="T36" fmla="*/ 126 w 248"/>
                  <a:gd name="T37" fmla="*/ 42 h 248"/>
                  <a:gd name="T38" fmla="*/ 114 w 248"/>
                  <a:gd name="T39" fmla="*/ 48 h 248"/>
                  <a:gd name="T40" fmla="*/ 106 w 248"/>
                  <a:gd name="T41" fmla="*/ 66 h 248"/>
                  <a:gd name="T42" fmla="*/ 22 w 248"/>
                  <a:gd name="T43" fmla="*/ 76 h 248"/>
                  <a:gd name="T44" fmla="*/ 24 w 248"/>
                  <a:gd name="T45" fmla="*/ 66 h 248"/>
                  <a:gd name="T46" fmla="*/ 28 w 248"/>
                  <a:gd name="T47" fmla="*/ 46 h 248"/>
                  <a:gd name="T48" fmla="*/ 38 w 248"/>
                  <a:gd name="T49" fmla="*/ 30 h 248"/>
                  <a:gd name="T50" fmla="*/ 54 w 248"/>
                  <a:gd name="T51" fmla="*/ 18 h 248"/>
                  <a:gd name="T52" fmla="*/ 62 w 248"/>
                  <a:gd name="T53" fmla="*/ 14 h 248"/>
                  <a:gd name="T54" fmla="*/ 102 w 248"/>
                  <a:gd name="T55" fmla="*/ 2 h 248"/>
                  <a:gd name="T56" fmla="*/ 144 w 248"/>
                  <a:gd name="T57" fmla="*/ 0 h 248"/>
                  <a:gd name="T58" fmla="*/ 164 w 248"/>
                  <a:gd name="T59" fmla="*/ 0 h 248"/>
                  <a:gd name="T60" fmla="*/ 200 w 248"/>
                  <a:gd name="T61" fmla="*/ 10 h 248"/>
                  <a:gd name="T62" fmla="*/ 230 w 248"/>
                  <a:gd name="T63" fmla="*/ 30 h 248"/>
                  <a:gd name="T64" fmla="*/ 240 w 248"/>
                  <a:gd name="T65" fmla="*/ 44 h 248"/>
                  <a:gd name="T66" fmla="*/ 246 w 248"/>
                  <a:gd name="T67" fmla="*/ 62 h 248"/>
                  <a:gd name="T68" fmla="*/ 248 w 248"/>
                  <a:gd name="T69" fmla="*/ 82 h 248"/>
                  <a:gd name="T70" fmla="*/ 242 w 248"/>
                  <a:gd name="T71" fmla="*/ 196 h 248"/>
                  <a:gd name="T72" fmla="*/ 242 w 248"/>
                  <a:gd name="T73" fmla="*/ 246 h 248"/>
                  <a:gd name="T74" fmla="*/ 152 w 248"/>
                  <a:gd name="T75" fmla="*/ 216 h 248"/>
                  <a:gd name="T76" fmla="*/ 114 w 248"/>
                  <a:gd name="T77" fmla="*/ 200 h 248"/>
                  <a:gd name="T78" fmla="*/ 138 w 248"/>
                  <a:gd name="T79" fmla="*/ 194 h 248"/>
                  <a:gd name="T80" fmla="*/ 152 w 248"/>
                  <a:gd name="T81" fmla="*/ 176 h 248"/>
                  <a:gd name="T82" fmla="*/ 158 w 248"/>
                  <a:gd name="T83" fmla="*/ 154 h 248"/>
                  <a:gd name="T84" fmla="*/ 160 w 248"/>
                  <a:gd name="T85" fmla="*/ 130 h 248"/>
                  <a:gd name="T86" fmla="*/ 122 w 248"/>
                  <a:gd name="T87" fmla="*/ 132 h 248"/>
                  <a:gd name="T88" fmla="*/ 110 w 248"/>
                  <a:gd name="T89" fmla="*/ 134 h 248"/>
                  <a:gd name="T90" fmla="*/ 94 w 248"/>
                  <a:gd name="T91" fmla="*/ 148 h 248"/>
                  <a:gd name="T92" fmla="*/ 86 w 248"/>
                  <a:gd name="T93" fmla="*/ 170 h 248"/>
                  <a:gd name="T94" fmla="*/ 86 w 248"/>
                  <a:gd name="T95" fmla="*/ 176 h 248"/>
                  <a:gd name="T96" fmla="*/ 92 w 248"/>
                  <a:gd name="T97" fmla="*/ 192 h 248"/>
                  <a:gd name="T98" fmla="*/ 102 w 248"/>
                  <a:gd name="T99" fmla="*/ 198 h 248"/>
                  <a:gd name="T100" fmla="*/ 114 w 248"/>
                  <a:gd name="T101" fmla="*/ 20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8" h="248">
                    <a:moveTo>
                      <a:pt x="152" y="216"/>
                    </a:moveTo>
                    <a:lnTo>
                      <a:pt x="152" y="216"/>
                    </a:lnTo>
                    <a:lnTo>
                      <a:pt x="152" y="216"/>
                    </a:lnTo>
                    <a:lnTo>
                      <a:pt x="138" y="228"/>
                    </a:lnTo>
                    <a:lnTo>
                      <a:pt x="122" y="238"/>
                    </a:lnTo>
                    <a:lnTo>
                      <a:pt x="112" y="242"/>
                    </a:lnTo>
                    <a:lnTo>
                      <a:pt x="102" y="246"/>
                    </a:lnTo>
                    <a:lnTo>
                      <a:pt x="92" y="246"/>
                    </a:lnTo>
                    <a:lnTo>
                      <a:pt x="80" y="248"/>
                    </a:lnTo>
                    <a:lnTo>
                      <a:pt x="80" y="248"/>
                    </a:lnTo>
                    <a:lnTo>
                      <a:pt x="60" y="246"/>
                    </a:lnTo>
                    <a:lnTo>
                      <a:pt x="44" y="242"/>
                    </a:lnTo>
                    <a:lnTo>
                      <a:pt x="30" y="234"/>
                    </a:lnTo>
                    <a:lnTo>
                      <a:pt x="18" y="226"/>
                    </a:lnTo>
                    <a:lnTo>
                      <a:pt x="10" y="216"/>
                    </a:lnTo>
                    <a:lnTo>
                      <a:pt x="4" y="202"/>
                    </a:lnTo>
                    <a:lnTo>
                      <a:pt x="0" y="188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2" y="156"/>
                    </a:lnTo>
                    <a:lnTo>
                      <a:pt x="8" y="142"/>
                    </a:lnTo>
                    <a:lnTo>
                      <a:pt x="20" y="128"/>
                    </a:lnTo>
                    <a:lnTo>
                      <a:pt x="34" y="116"/>
                    </a:lnTo>
                    <a:lnTo>
                      <a:pt x="54" y="108"/>
                    </a:lnTo>
                    <a:lnTo>
                      <a:pt x="76" y="102"/>
                    </a:lnTo>
                    <a:lnTo>
                      <a:pt x="104" y="98"/>
                    </a:lnTo>
                    <a:lnTo>
                      <a:pt x="134" y="96"/>
                    </a:lnTo>
                    <a:lnTo>
                      <a:pt x="162" y="96"/>
                    </a:lnTo>
                    <a:lnTo>
                      <a:pt x="162" y="96"/>
                    </a:lnTo>
                    <a:lnTo>
                      <a:pt x="164" y="78"/>
                    </a:lnTo>
                    <a:lnTo>
                      <a:pt x="164" y="70"/>
                    </a:lnTo>
                    <a:lnTo>
                      <a:pt x="162" y="60"/>
                    </a:lnTo>
                    <a:lnTo>
                      <a:pt x="160" y="52"/>
                    </a:lnTo>
                    <a:lnTo>
                      <a:pt x="154" y="46"/>
                    </a:lnTo>
                    <a:lnTo>
                      <a:pt x="146" y="42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26" y="42"/>
                    </a:lnTo>
                    <a:lnTo>
                      <a:pt x="120" y="44"/>
                    </a:lnTo>
                    <a:lnTo>
                      <a:pt x="114" y="48"/>
                    </a:lnTo>
                    <a:lnTo>
                      <a:pt x="110" y="54"/>
                    </a:lnTo>
                    <a:lnTo>
                      <a:pt x="106" y="66"/>
                    </a:lnTo>
                    <a:lnTo>
                      <a:pt x="104" y="76"/>
                    </a:lnTo>
                    <a:lnTo>
                      <a:pt x="22" y="76"/>
                    </a:lnTo>
                    <a:lnTo>
                      <a:pt x="22" y="76"/>
                    </a:lnTo>
                    <a:lnTo>
                      <a:pt x="24" y="66"/>
                    </a:lnTo>
                    <a:lnTo>
                      <a:pt x="26" y="54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38" y="30"/>
                    </a:lnTo>
                    <a:lnTo>
                      <a:pt x="46" y="24"/>
                    </a:lnTo>
                    <a:lnTo>
                      <a:pt x="54" y="18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2" y="6"/>
                    </a:lnTo>
                    <a:lnTo>
                      <a:pt x="102" y="2"/>
                    </a:lnTo>
                    <a:lnTo>
                      <a:pt x="124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64" y="0"/>
                    </a:lnTo>
                    <a:lnTo>
                      <a:pt x="182" y="4"/>
                    </a:lnTo>
                    <a:lnTo>
                      <a:pt x="200" y="10"/>
                    </a:lnTo>
                    <a:lnTo>
                      <a:pt x="216" y="18"/>
                    </a:lnTo>
                    <a:lnTo>
                      <a:pt x="230" y="30"/>
                    </a:lnTo>
                    <a:lnTo>
                      <a:pt x="236" y="38"/>
                    </a:lnTo>
                    <a:lnTo>
                      <a:pt x="240" y="44"/>
                    </a:lnTo>
                    <a:lnTo>
                      <a:pt x="244" y="52"/>
                    </a:lnTo>
                    <a:lnTo>
                      <a:pt x="246" y="62"/>
                    </a:lnTo>
                    <a:lnTo>
                      <a:pt x="248" y="72"/>
                    </a:lnTo>
                    <a:lnTo>
                      <a:pt x="248" y="82"/>
                    </a:lnTo>
                    <a:lnTo>
                      <a:pt x="242" y="196"/>
                    </a:lnTo>
                    <a:lnTo>
                      <a:pt x="242" y="196"/>
                    </a:lnTo>
                    <a:lnTo>
                      <a:pt x="240" y="214"/>
                    </a:lnTo>
                    <a:lnTo>
                      <a:pt x="242" y="246"/>
                    </a:lnTo>
                    <a:lnTo>
                      <a:pt x="158" y="246"/>
                    </a:lnTo>
                    <a:lnTo>
                      <a:pt x="152" y="216"/>
                    </a:lnTo>
                    <a:close/>
                    <a:moveTo>
                      <a:pt x="114" y="200"/>
                    </a:moveTo>
                    <a:lnTo>
                      <a:pt x="114" y="200"/>
                    </a:lnTo>
                    <a:lnTo>
                      <a:pt x="128" y="198"/>
                    </a:lnTo>
                    <a:lnTo>
                      <a:pt x="138" y="194"/>
                    </a:lnTo>
                    <a:lnTo>
                      <a:pt x="146" y="186"/>
                    </a:lnTo>
                    <a:lnTo>
                      <a:pt x="152" y="176"/>
                    </a:lnTo>
                    <a:lnTo>
                      <a:pt x="156" y="166"/>
                    </a:lnTo>
                    <a:lnTo>
                      <a:pt x="158" y="154"/>
                    </a:lnTo>
                    <a:lnTo>
                      <a:pt x="160" y="130"/>
                    </a:lnTo>
                    <a:lnTo>
                      <a:pt x="160" y="130"/>
                    </a:lnTo>
                    <a:lnTo>
                      <a:pt x="134" y="130"/>
                    </a:lnTo>
                    <a:lnTo>
                      <a:pt x="122" y="132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2" y="140"/>
                    </a:lnTo>
                    <a:lnTo>
                      <a:pt x="94" y="148"/>
                    </a:lnTo>
                    <a:lnTo>
                      <a:pt x="88" y="158"/>
                    </a:lnTo>
                    <a:lnTo>
                      <a:pt x="86" y="170"/>
                    </a:lnTo>
                    <a:lnTo>
                      <a:pt x="86" y="170"/>
                    </a:lnTo>
                    <a:lnTo>
                      <a:pt x="86" y="176"/>
                    </a:lnTo>
                    <a:lnTo>
                      <a:pt x="88" y="182"/>
                    </a:lnTo>
                    <a:lnTo>
                      <a:pt x="92" y="192"/>
                    </a:lnTo>
                    <a:lnTo>
                      <a:pt x="96" y="194"/>
                    </a:lnTo>
                    <a:lnTo>
                      <a:pt x="102" y="198"/>
                    </a:lnTo>
                    <a:lnTo>
                      <a:pt x="108" y="200"/>
                    </a:lnTo>
                    <a:lnTo>
                      <a:pt x="114" y="200"/>
                    </a:lnTo>
                    <a:lnTo>
                      <a:pt x="114" y="2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Freeform 11"/>
              <p:cNvSpPr>
                <a:spLocks noEditPoints="1"/>
              </p:cNvSpPr>
              <p:nvPr/>
            </p:nvSpPr>
            <p:spPr bwMode="auto">
              <a:xfrm>
                <a:off x="6092825" y="352425"/>
                <a:ext cx="454025" cy="542925"/>
              </a:xfrm>
              <a:custGeom>
                <a:avLst/>
                <a:gdLst>
                  <a:gd name="T0" fmla="*/ 0 w 286"/>
                  <a:gd name="T1" fmla="*/ 342 h 342"/>
                  <a:gd name="T2" fmla="*/ 24 w 286"/>
                  <a:gd name="T3" fmla="*/ 0 h 342"/>
                  <a:gd name="T4" fmla="*/ 114 w 286"/>
                  <a:gd name="T5" fmla="*/ 0 h 342"/>
                  <a:gd name="T6" fmla="*/ 90 w 286"/>
                  <a:gd name="T7" fmla="*/ 342 h 342"/>
                  <a:gd name="T8" fmla="*/ 0 w 286"/>
                  <a:gd name="T9" fmla="*/ 342 h 342"/>
                  <a:gd name="T10" fmla="*/ 100 w 286"/>
                  <a:gd name="T11" fmla="*/ 210 h 342"/>
                  <a:gd name="T12" fmla="*/ 184 w 286"/>
                  <a:gd name="T13" fmla="*/ 104 h 342"/>
                  <a:gd name="T14" fmla="*/ 286 w 286"/>
                  <a:gd name="T15" fmla="*/ 104 h 342"/>
                  <a:gd name="T16" fmla="*/ 194 w 286"/>
                  <a:gd name="T17" fmla="*/ 204 h 342"/>
                  <a:gd name="T18" fmla="*/ 282 w 286"/>
                  <a:gd name="T19" fmla="*/ 342 h 342"/>
                  <a:gd name="T20" fmla="*/ 170 w 286"/>
                  <a:gd name="T21" fmla="*/ 342 h 342"/>
                  <a:gd name="T22" fmla="*/ 100 w 286"/>
                  <a:gd name="T23" fmla="*/ 21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6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4" y="0"/>
                    </a:lnTo>
                    <a:lnTo>
                      <a:pt x="90" y="342"/>
                    </a:lnTo>
                    <a:lnTo>
                      <a:pt x="0" y="342"/>
                    </a:lnTo>
                    <a:close/>
                    <a:moveTo>
                      <a:pt x="100" y="210"/>
                    </a:moveTo>
                    <a:lnTo>
                      <a:pt x="184" y="104"/>
                    </a:lnTo>
                    <a:lnTo>
                      <a:pt x="286" y="104"/>
                    </a:lnTo>
                    <a:lnTo>
                      <a:pt x="194" y="204"/>
                    </a:lnTo>
                    <a:lnTo>
                      <a:pt x="282" y="342"/>
                    </a:lnTo>
                    <a:lnTo>
                      <a:pt x="170" y="342"/>
                    </a:lnTo>
                    <a:lnTo>
                      <a:pt x="10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Freeform 12"/>
              <p:cNvSpPr>
                <a:spLocks/>
              </p:cNvSpPr>
              <p:nvPr/>
            </p:nvSpPr>
            <p:spPr bwMode="auto">
              <a:xfrm>
                <a:off x="3606800" y="517525"/>
                <a:ext cx="292100" cy="377825"/>
              </a:xfrm>
              <a:custGeom>
                <a:avLst/>
                <a:gdLst>
                  <a:gd name="T0" fmla="*/ 104 w 184"/>
                  <a:gd name="T1" fmla="*/ 34 h 238"/>
                  <a:gd name="T2" fmla="*/ 106 w 184"/>
                  <a:gd name="T3" fmla="*/ 34 h 238"/>
                  <a:gd name="T4" fmla="*/ 106 w 184"/>
                  <a:gd name="T5" fmla="*/ 34 h 238"/>
                  <a:gd name="T6" fmla="*/ 114 w 184"/>
                  <a:gd name="T7" fmla="*/ 24 h 238"/>
                  <a:gd name="T8" fmla="*/ 124 w 184"/>
                  <a:gd name="T9" fmla="*/ 16 h 238"/>
                  <a:gd name="T10" fmla="*/ 132 w 184"/>
                  <a:gd name="T11" fmla="*/ 10 h 238"/>
                  <a:gd name="T12" fmla="*/ 142 w 184"/>
                  <a:gd name="T13" fmla="*/ 6 h 238"/>
                  <a:gd name="T14" fmla="*/ 152 w 184"/>
                  <a:gd name="T15" fmla="*/ 4 h 238"/>
                  <a:gd name="T16" fmla="*/ 162 w 184"/>
                  <a:gd name="T17" fmla="*/ 2 h 238"/>
                  <a:gd name="T18" fmla="*/ 184 w 184"/>
                  <a:gd name="T19" fmla="*/ 0 h 238"/>
                  <a:gd name="T20" fmla="*/ 178 w 184"/>
                  <a:gd name="T21" fmla="*/ 76 h 238"/>
                  <a:gd name="T22" fmla="*/ 178 w 184"/>
                  <a:gd name="T23" fmla="*/ 76 h 238"/>
                  <a:gd name="T24" fmla="*/ 160 w 184"/>
                  <a:gd name="T25" fmla="*/ 76 h 238"/>
                  <a:gd name="T26" fmla="*/ 160 w 184"/>
                  <a:gd name="T27" fmla="*/ 76 h 238"/>
                  <a:gd name="T28" fmla="*/ 140 w 184"/>
                  <a:gd name="T29" fmla="*/ 78 h 238"/>
                  <a:gd name="T30" fmla="*/ 126 w 184"/>
                  <a:gd name="T31" fmla="*/ 82 h 238"/>
                  <a:gd name="T32" fmla="*/ 116 w 184"/>
                  <a:gd name="T33" fmla="*/ 88 h 238"/>
                  <a:gd name="T34" fmla="*/ 108 w 184"/>
                  <a:gd name="T35" fmla="*/ 98 h 238"/>
                  <a:gd name="T36" fmla="*/ 102 w 184"/>
                  <a:gd name="T37" fmla="*/ 108 h 238"/>
                  <a:gd name="T38" fmla="*/ 100 w 184"/>
                  <a:gd name="T39" fmla="*/ 120 h 238"/>
                  <a:gd name="T40" fmla="*/ 98 w 184"/>
                  <a:gd name="T41" fmla="*/ 148 h 238"/>
                  <a:gd name="T42" fmla="*/ 92 w 184"/>
                  <a:gd name="T43" fmla="*/ 238 h 238"/>
                  <a:gd name="T44" fmla="*/ 0 w 184"/>
                  <a:gd name="T45" fmla="*/ 238 h 238"/>
                  <a:gd name="T46" fmla="*/ 12 w 184"/>
                  <a:gd name="T47" fmla="*/ 62 h 238"/>
                  <a:gd name="T48" fmla="*/ 12 w 184"/>
                  <a:gd name="T49" fmla="*/ 62 h 238"/>
                  <a:gd name="T50" fmla="*/ 14 w 184"/>
                  <a:gd name="T51" fmla="*/ 32 h 238"/>
                  <a:gd name="T52" fmla="*/ 14 w 184"/>
                  <a:gd name="T53" fmla="*/ 0 h 238"/>
                  <a:gd name="T54" fmla="*/ 102 w 184"/>
                  <a:gd name="T55" fmla="*/ 0 h 238"/>
                  <a:gd name="T56" fmla="*/ 104 w 184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4" h="238">
                    <a:moveTo>
                      <a:pt x="104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4" y="24"/>
                    </a:lnTo>
                    <a:lnTo>
                      <a:pt x="124" y="16"/>
                    </a:lnTo>
                    <a:lnTo>
                      <a:pt x="132" y="10"/>
                    </a:lnTo>
                    <a:lnTo>
                      <a:pt x="142" y="6"/>
                    </a:lnTo>
                    <a:lnTo>
                      <a:pt x="152" y="4"/>
                    </a:lnTo>
                    <a:lnTo>
                      <a:pt x="162" y="2"/>
                    </a:lnTo>
                    <a:lnTo>
                      <a:pt x="184" y="0"/>
                    </a:lnTo>
                    <a:lnTo>
                      <a:pt x="178" y="76"/>
                    </a:lnTo>
                    <a:lnTo>
                      <a:pt x="178" y="76"/>
                    </a:lnTo>
                    <a:lnTo>
                      <a:pt x="160" y="76"/>
                    </a:lnTo>
                    <a:lnTo>
                      <a:pt x="160" y="76"/>
                    </a:lnTo>
                    <a:lnTo>
                      <a:pt x="140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2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4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13"/>
              <p:cNvSpPr>
                <a:spLocks/>
              </p:cNvSpPr>
              <p:nvPr/>
            </p:nvSpPr>
            <p:spPr bwMode="auto">
              <a:xfrm>
                <a:off x="3889375" y="352425"/>
                <a:ext cx="174625" cy="542925"/>
              </a:xfrm>
              <a:custGeom>
                <a:avLst/>
                <a:gdLst>
                  <a:gd name="T0" fmla="*/ 0 w 110"/>
                  <a:gd name="T1" fmla="*/ 342 h 342"/>
                  <a:gd name="T2" fmla="*/ 24 w 110"/>
                  <a:gd name="T3" fmla="*/ 0 h 342"/>
                  <a:gd name="T4" fmla="*/ 110 w 110"/>
                  <a:gd name="T5" fmla="*/ 0 h 342"/>
                  <a:gd name="T6" fmla="*/ 86 w 110"/>
                  <a:gd name="T7" fmla="*/ 342 h 342"/>
                  <a:gd name="T8" fmla="*/ 0 w 110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0" y="0"/>
                    </a:lnTo>
                    <a:lnTo>
                      <a:pt x="86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14"/>
              <p:cNvSpPr>
                <a:spLocks noEditPoints="1"/>
              </p:cNvSpPr>
              <p:nvPr/>
            </p:nvSpPr>
            <p:spPr bwMode="auto">
              <a:xfrm>
                <a:off x="2740025" y="352425"/>
                <a:ext cx="438150" cy="546100"/>
              </a:xfrm>
              <a:custGeom>
                <a:avLst/>
                <a:gdLst>
                  <a:gd name="T0" fmla="*/ 112 w 276"/>
                  <a:gd name="T1" fmla="*/ 0 h 344"/>
                  <a:gd name="T2" fmla="*/ 104 w 276"/>
                  <a:gd name="T3" fmla="*/ 136 h 344"/>
                  <a:gd name="T4" fmla="*/ 120 w 276"/>
                  <a:gd name="T5" fmla="*/ 122 h 344"/>
                  <a:gd name="T6" fmla="*/ 146 w 276"/>
                  <a:gd name="T7" fmla="*/ 104 h 344"/>
                  <a:gd name="T8" fmla="*/ 168 w 276"/>
                  <a:gd name="T9" fmla="*/ 98 h 344"/>
                  <a:gd name="T10" fmla="*/ 180 w 276"/>
                  <a:gd name="T11" fmla="*/ 98 h 344"/>
                  <a:gd name="T12" fmla="*/ 206 w 276"/>
                  <a:gd name="T13" fmla="*/ 100 h 344"/>
                  <a:gd name="T14" fmla="*/ 226 w 276"/>
                  <a:gd name="T15" fmla="*/ 108 h 344"/>
                  <a:gd name="T16" fmla="*/ 244 w 276"/>
                  <a:gd name="T17" fmla="*/ 120 h 344"/>
                  <a:gd name="T18" fmla="*/ 258 w 276"/>
                  <a:gd name="T19" fmla="*/ 136 h 344"/>
                  <a:gd name="T20" fmla="*/ 274 w 276"/>
                  <a:gd name="T21" fmla="*/ 176 h 344"/>
                  <a:gd name="T22" fmla="*/ 276 w 276"/>
                  <a:gd name="T23" fmla="*/ 220 h 344"/>
                  <a:gd name="T24" fmla="*/ 274 w 276"/>
                  <a:gd name="T25" fmla="*/ 242 h 344"/>
                  <a:gd name="T26" fmla="*/ 260 w 276"/>
                  <a:gd name="T27" fmla="*/ 284 h 344"/>
                  <a:gd name="T28" fmla="*/ 240 w 276"/>
                  <a:gd name="T29" fmla="*/ 312 h 344"/>
                  <a:gd name="T30" fmla="*/ 222 w 276"/>
                  <a:gd name="T31" fmla="*/ 328 h 344"/>
                  <a:gd name="T32" fmla="*/ 202 w 276"/>
                  <a:gd name="T33" fmla="*/ 338 h 344"/>
                  <a:gd name="T34" fmla="*/ 176 w 276"/>
                  <a:gd name="T35" fmla="*/ 344 h 344"/>
                  <a:gd name="T36" fmla="*/ 160 w 276"/>
                  <a:gd name="T37" fmla="*/ 344 h 344"/>
                  <a:gd name="T38" fmla="*/ 140 w 276"/>
                  <a:gd name="T39" fmla="*/ 342 h 344"/>
                  <a:gd name="T40" fmla="*/ 106 w 276"/>
                  <a:gd name="T41" fmla="*/ 324 h 344"/>
                  <a:gd name="T42" fmla="*/ 92 w 276"/>
                  <a:gd name="T43" fmla="*/ 312 h 344"/>
                  <a:gd name="T44" fmla="*/ 0 w 276"/>
                  <a:gd name="T45" fmla="*/ 342 h 344"/>
                  <a:gd name="T46" fmla="*/ 94 w 276"/>
                  <a:gd name="T47" fmla="*/ 226 h 344"/>
                  <a:gd name="T48" fmla="*/ 96 w 276"/>
                  <a:gd name="T49" fmla="*/ 250 h 344"/>
                  <a:gd name="T50" fmla="*/ 102 w 276"/>
                  <a:gd name="T51" fmla="*/ 272 h 344"/>
                  <a:gd name="T52" fmla="*/ 114 w 276"/>
                  <a:gd name="T53" fmla="*/ 288 h 344"/>
                  <a:gd name="T54" fmla="*/ 134 w 276"/>
                  <a:gd name="T55" fmla="*/ 296 h 344"/>
                  <a:gd name="T56" fmla="*/ 148 w 276"/>
                  <a:gd name="T57" fmla="*/ 294 h 344"/>
                  <a:gd name="T58" fmla="*/ 168 w 276"/>
                  <a:gd name="T59" fmla="*/ 282 h 344"/>
                  <a:gd name="T60" fmla="*/ 180 w 276"/>
                  <a:gd name="T61" fmla="*/ 260 h 344"/>
                  <a:gd name="T62" fmla="*/ 186 w 276"/>
                  <a:gd name="T63" fmla="*/ 222 h 344"/>
                  <a:gd name="T64" fmla="*/ 186 w 276"/>
                  <a:gd name="T65" fmla="*/ 198 h 344"/>
                  <a:gd name="T66" fmla="*/ 180 w 276"/>
                  <a:gd name="T67" fmla="*/ 174 h 344"/>
                  <a:gd name="T68" fmla="*/ 168 w 276"/>
                  <a:gd name="T69" fmla="*/ 156 h 344"/>
                  <a:gd name="T70" fmla="*/ 146 w 276"/>
                  <a:gd name="T71" fmla="*/ 150 h 344"/>
                  <a:gd name="T72" fmla="*/ 132 w 276"/>
                  <a:gd name="T73" fmla="*/ 152 h 344"/>
                  <a:gd name="T74" fmla="*/ 112 w 276"/>
                  <a:gd name="T75" fmla="*/ 166 h 344"/>
                  <a:gd name="T76" fmla="*/ 100 w 276"/>
                  <a:gd name="T77" fmla="*/ 188 h 344"/>
                  <a:gd name="T78" fmla="*/ 94 w 276"/>
                  <a:gd name="T79" fmla="*/ 226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6" h="344">
                    <a:moveTo>
                      <a:pt x="24" y="0"/>
                    </a:moveTo>
                    <a:lnTo>
                      <a:pt x="112" y="0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20" y="122"/>
                    </a:lnTo>
                    <a:lnTo>
                      <a:pt x="138" y="108"/>
                    </a:lnTo>
                    <a:lnTo>
                      <a:pt x="146" y="104"/>
                    </a:lnTo>
                    <a:lnTo>
                      <a:pt x="158" y="100"/>
                    </a:lnTo>
                    <a:lnTo>
                      <a:pt x="168" y="98"/>
                    </a:lnTo>
                    <a:lnTo>
                      <a:pt x="180" y="98"/>
                    </a:lnTo>
                    <a:lnTo>
                      <a:pt x="180" y="98"/>
                    </a:lnTo>
                    <a:lnTo>
                      <a:pt x="194" y="98"/>
                    </a:lnTo>
                    <a:lnTo>
                      <a:pt x="206" y="100"/>
                    </a:lnTo>
                    <a:lnTo>
                      <a:pt x="216" y="104"/>
                    </a:lnTo>
                    <a:lnTo>
                      <a:pt x="226" y="108"/>
                    </a:lnTo>
                    <a:lnTo>
                      <a:pt x="236" y="114"/>
                    </a:lnTo>
                    <a:lnTo>
                      <a:pt x="244" y="120"/>
                    </a:lnTo>
                    <a:lnTo>
                      <a:pt x="250" y="128"/>
                    </a:lnTo>
                    <a:lnTo>
                      <a:pt x="258" y="136"/>
                    </a:lnTo>
                    <a:lnTo>
                      <a:pt x="266" y="156"/>
                    </a:lnTo>
                    <a:lnTo>
                      <a:pt x="274" y="176"/>
                    </a:lnTo>
                    <a:lnTo>
                      <a:pt x="276" y="198"/>
                    </a:lnTo>
                    <a:lnTo>
                      <a:pt x="276" y="220"/>
                    </a:lnTo>
                    <a:lnTo>
                      <a:pt x="276" y="220"/>
                    </a:lnTo>
                    <a:lnTo>
                      <a:pt x="274" y="242"/>
                    </a:lnTo>
                    <a:lnTo>
                      <a:pt x="268" y="264"/>
                    </a:lnTo>
                    <a:lnTo>
                      <a:pt x="260" y="284"/>
                    </a:lnTo>
                    <a:lnTo>
                      <a:pt x="248" y="304"/>
                    </a:lnTo>
                    <a:lnTo>
                      <a:pt x="240" y="312"/>
                    </a:lnTo>
                    <a:lnTo>
                      <a:pt x="232" y="320"/>
                    </a:lnTo>
                    <a:lnTo>
                      <a:pt x="222" y="328"/>
                    </a:lnTo>
                    <a:lnTo>
                      <a:pt x="212" y="334"/>
                    </a:lnTo>
                    <a:lnTo>
                      <a:pt x="202" y="338"/>
                    </a:lnTo>
                    <a:lnTo>
                      <a:pt x="188" y="342"/>
                    </a:lnTo>
                    <a:lnTo>
                      <a:pt x="176" y="344"/>
                    </a:lnTo>
                    <a:lnTo>
                      <a:pt x="160" y="344"/>
                    </a:lnTo>
                    <a:lnTo>
                      <a:pt x="160" y="344"/>
                    </a:lnTo>
                    <a:lnTo>
                      <a:pt x="150" y="344"/>
                    </a:lnTo>
                    <a:lnTo>
                      <a:pt x="140" y="342"/>
                    </a:lnTo>
                    <a:lnTo>
                      <a:pt x="122" y="336"/>
                    </a:lnTo>
                    <a:lnTo>
                      <a:pt x="106" y="324"/>
                    </a:lnTo>
                    <a:lnTo>
                      <a:pt x="94" y="312"/>
                    </a:lnTo>
                    <a:lnTo>
                      <a:pt x="92" y="312"/>
                    </a:lnTo>
                    <a:lnTo>
                      <a:pt x="88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  <a:moveTo>
                      <a:pt x="94" y="226"/>
                    </a:moveTo>
                    <a:lnTo>
                      <a:pt x="94" y="226"/>
                    </a:lnTo>
                    <a:lnTo>
                      <a:pt x="96" y="250"/>
                    </a:lnTo>
                    <a:lnTo>
                      <a:pt x="98" y="260"/>
                    </a:lnTo>
                    <a:lnTo>
                      <a:pt x="102" y="272"/>
                    </a:lnTo>
                    <a:lnTo>
                      <a:pt x="106" y="282"/>
                    </a:lnTo>
                    <a:lnTo>
                      <a:pt x="114" y="288"/>
                    </a:lnTo>
                    <a:lnTo>
                      <a:pt x="122" y="294"/>
                    </a:lnTo>
                    <a:lnTo>
                      <a:pt x="134" y="296"/>
                    </a:lnTo>
                    <a:lnTo>
                      <a:pt x="134" y="296"/>
                    </a:lnTo>
                    <a:lnTo>
                      <a:pt x="148" y="294"/>
                    </a:lnTo>
                    <a:lnTo>
                      <a:pt x="158" y="288"/>
                    </a:lnTo>
                    <a:lnTo>
                      <a:pt x="168" y="282"/>
                    </a:lnTo>
                    <a:lnTo>
                      <a:pt x="174" y="272"/>
                    </a:lnTo>
                    <a:lnTo>
                      <a:pt x="180" y="260"/>
                    </a:lnTo>
                    <a:lnTo>
                      <a:pt x="184" y="248"/>
                    </a:lnTo>
                    <a:lnTo>
                      <a:pt x="186" y="222"/>
                    </a:lnTo>
                    <a:lnTo>
                      <a:pt x="186" y="222"/>
                    </a:lnTo>
                    <a:lnTo>
                      <a:pt x="186" y="198"/>
                    </a:lnTo>
                    <a:lnTo>
                      <a:pt x="184" y="186"/>
                    </a:lnTo>
                    <a:lnTo>
                      <a:pt x="180" y="174"/>
                    </a:lnTo>
                    <a:lnTo>
                      <a:pt x="176" y="164"/>
                    </a:lnTo>
                    <a:lnTo>
                      <a:pt x="168" y="156"/>
                    </a:lnTo>
                    <a:lnTo>
                      <a:pt x="158" y="152"/>
                    </a:lnTo>
                    <a:lnTo>
                      <a:pt x="146" y="150"/>
                    </a:lnTo>
                    <a:lnTo>
                      <a:pt x="146" y="150"/>
                    </a:lnTo>
                    <a:lnTo>
                      <a:pt x="132" y="152"/>
                    </a:lnTo>
                    <a:lnTo>
                      <a:pt x="120" y="156"/>
                    </a:lnTo>
                    <a:lnTo>
                      <a:pt x="112" y="166"/>
                    </a:lnTo>
                    <a:lnTo>
                      <a:pt x="104" y="176"/>
                    </a:lnTo>
                    <a:lnTo>
                      <a:pt x="100" y="188"/>
                    </a:lnTo>
                    <a:lnTo>
                      <a:pt x="98" y="200"/>
                    </a:lnTo>
                    <a:lnTo>
                      <a:pt x="94" y="226"/>
                    </a:lnTo>
                    <a:lnTo>
                      <a:pt x="94" y="2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15"/>
              <p:cNvSpPr>
                <a:spLocks noEditPoints="1"/>
              </p:cNvSpPr>
              <p:nvPr/>
            </p:nvSpPr>
            <p:spPr bwMode="auto">
              <a:xfrm>
                <a:off x="3197225" y="504825"/>
                <a:ext cx="406400" cy="396875"/>
              </a:xfrm>
              <a:custGeom>
                <a:avLst/>
                <a:gdLst>
                  <a:gd name="T0" fmla="*/ 86 w 256"/>
                  <a:gd name="T1" fmla="*/ 142 h 250"/>
                  <a:gd name="T2" fmla="*/ 86 w 256"/>
                  <a:gd name="T3" fmla="*/ 166 h 250"/>
                  <a:gd name="T4" fmla="*/ 90 w 256"/>
                  <a:gd name="T5" fmla="*/ 184 h 250"/>
                  <a:gd name="T6" fmla="*/ 102 w 256"/>
                  <a:gd name="T7" fmla="*/ 196 h 250"/>
                  <a:gd name="T8" fmla="*/ 124 w 256"/>
                  <a:gd name="T9" fmla="*/ 202 h 250"/>
                  <a:gd name="T10" fmla="*/ 132 w 256"/>
                  <a:gd name="T11" fmla="*/ 200 h 250"/>
                  <a:gd name="T12" fmla="*/ 148 w 256"/>
                  <a:gd name="T13" fmla="*/ 196 h 250"/>
                  <a:gd name="T14" fmla="*/ 158 w 256"/>
                  <a:gd name="T15" fmla="*/ 186 h 250"/>
                  <a:gd name="T16" fmla="*/ 164 w 256"/>
                  <a:gd name="T17" fmla="*/ 174 h 250"/>
                  <a:gd name="T18" fmla="*/ 248 w 256"/>
                  <a:gd name="T19" fmla="*/ 170 h 250"/>
                  <a:gd name="T20" fmla="*/ 246 w 256"/>
                  <a:gd name="T21" fmla="*/ 180 h 250"/>
                  <a:gd name="T22" fmla="*/ 238 w 256"/>
                  <a:gd name="T23" fmla="*/ 198 h 250"/>
                  <a:gd name="T24" fmla="*/ 218 w 256"/>
                  <a:gd name="T25" fmla="*/ 222 h 250"/>
                  <a:gd name="T26" fmla="*/ 202 w 256"/>
                  <a:gd name="T27" fmla="*/ 234 h 250"/>
                  <a:gd name="T28" fmla="*/ 168 w 256"/>
                  <a:gd name="T29" fmla="*/ 246 h 250"/>
                  <a:gd name="T30" fmla="*/ 128 w 256"/>
                  <a:gd name="T31" fmla="*/ 250 h 250"/>
                  <a:gd name="T32" fmla="*/ 96 w 256"/>
                  <a:gd name="T33" fmla="*/ 248 h 250"/>
                  <a:gd name="T34" fmla="*/ 66 w 256"/>
                  <a:gd name="T35" fmla="*/ 242 h 250"/>
                  <a:gd name="T36" fmla="*/ 44 w 256"/>
                  <a:gd name="T37" fmla="*/ 232 h 250"/>
                  <a:gd name="T38" fmla="*/ 26 w 256"/>
                  <a:gd name="T39" fmla="*/ 218 h 250"/>
                  <a:gd name="T40" fmla="*/ 12 w 256"/>
                  <a:gd name="T41" fmla="*/ 200 h 250"/>
                  <a:gd name="T42" fmla="*/ 4 w 256"/>
                  <a:gd name="T43" fmla="*/ 178 h 250"/>
                  <a:gd name="T44" fmla="*/ 0 w 256"/>
                  <a:gd name="T45" fmla="*/ 150 h 250"/>
                  <a:gd name="T46" fmla="*/ 0 w 256"/>
                  <a:gd name="T47" fmla="*/ 118 h 250"/>
                  <a:gd name="T48" fmla="*/ 4 w 256"/>
                  <a:gd name="T49" fmla="*/ 92 h 250"/>
                  <a:gd name="T50" fmla="*/ 14 w 256"/>
                  <a:gd name="T51" fmla="*/ 68 h 250"/>
                  <a:gd name="T52" fmla="*/ 26 w 256"/>
                  <a:gd name="T53" fmla="*/ 48 h 250"/>
                  <a:gd name="T54" fmla="*/ 44 w 256"/>
                  <a:gd name="T55" fmla="*/ 32 h 250"/>
                  <a:gd name="T56" fmla="*/ 86 w 256"/>
                  <a:gd name="T57" fmla="*/ 8 h 250"/>
                  <a:gd name="T58" fmla="*/ 138 w 256"/>
                  <a:gd name="T59" fmla="*/ 0 h 250"/>
                  <a:gd name="T60" fmla="*/ 154 w 256"/>
                  <a:gd name="T61" fmla="*/ 2 h 250"/>
                  <a:gd name="T62" fmla="*/ 184 w 256"/>
                  <a:gd name="T63" fmla="*/ 6 h 250"/>
                  <a:gd name="T64" fmla="*/ 208 w 256"/>
                  <a:gd name="T65" fmla="*/ 18 h 250"/>
                  <a:gd name="T66" fmla="*/ 228 w 256"/>
                  <a:gd name="T67" fmla="*/ 32 h 250"/>
                  <a:gd name="T68" fmla="*/ 242 w 256"/>
                  <a:gd name="T69" fmla="*/ 50 h 250"/>
                  <a:gd name="T70" fmla="*/ 250 w 256"/>
                  <a:gd name="T71" fmla="*/ 72 h 250"/>
                  <a:gd name="T72" fmla="*/ 256 w 256"/>
                  <a:gd name="T73" fmla="*/ 112 h 250"/>
                  <a:gd name="T74" fmla="*/ 86 w 256"/>
                  <a:gd name="T75" fmla="*/ 142 h 250"/>
                  <a:gd name="T76" fmla="*/ 172 w 256"/>
                  <a:gd name="T77" fmla="*/ 98 h 250"/>
                  <a:gd name="T78" fmla="*/ 170 w 256"/>
                  <a:gd name="T79" fmla="*/ 78 h 250"/>
                  <a:gd name="T80" fmla="*/ 164 w 256"/>
                  <a:gd name="T81" fmla="*/ 62 h 250"/>
                  <a:gd name="T82" fmla="*/ 158 w 256"/>
                  <a:gd name="T83" fmla="*/ 56 h 250"/>
                  <a:gd name="T84" fmla="*/ 142 w 256"/>
                  <a:gd name="T85" fmla="*/ 48 h 250"/>
                  <a:gd name="T86" fmla="*/ 134 w 256"/>
                  <a:gd name="T87" fmla="*/ 46 h 250"/>
                  <a:gd name="T88" fmla="*/ 114 w 256"/>
                  <a:gd name="T89" fmla="*/ 52 h 250"/>
                  <a:gd name="T90" fmla="*/ 102 w 256"/>
                  <a:gd name="T91" fmla="*/ 62 h 250"/>
                  <a:gd name="T92" fmla="*/ 94 w 256"/>
                  <a:gd name="T93" fmla="*/ 78 h 250"/>
                  <a:gd name="T94" fmla="*/ 172 w 256"/>
                  <a:gd name="T95" fmla="*/ 98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6" h="250">
                    <a:moveTo>
                      <a:pt x="86" y="142"/>
                    </a:moveTo>
                    <a:lnTo>
                      <a:pt x="86" y="142"/>
                    </a:lnTo>
                    <a:lnTo>
                      <a:pt x="84" y="154"/>
                    </a:lnTo>
                    <a:lnTo>
                      <a:pt x="86" y="166"/>
                    </a:lnTo>
                    <a:lnTo>
                      <a:pt x="88" y="176"/>
                    </a:lnTo>
                    <a:lnTo>
                      <a:pt x="90" y="184"/>
                    </a:lnTo>
                    <a:lnTo>
                      <a:pt x="96" y="192"/>
                    </a:lnTo>
                    <a:lnTo>
                      <a:pt x="102" y="196"/>
                    </a:lnTo>
                    <a:lnTo>
                      <a:pt x="112" y="200"/>
                    </a:lnTo>
                    <a:lnTo>
                      <a:pt x="124" y="202"/>
                    </a:lnTo>
                    <a:lnTo>
                      <a:pt x="124" y="202"/>
                    </a:lnTo>
                    <a:lnTo>
                      <a:pt x="132" y="200"/>
                    </a:lnTo>
                    <a:lnTo>
                      <a:pt x="140" y="198"/>
                    </a:lnTo>
                    <a:lnTo>
                      <a:pt x="148" y="196"/>
                    </a:lnTo>
                    <a:lnTo>
                      <a:pt x="154" y="192"/>
                    </a:lnTo>
                    <a:lnTo>
                      <a:pt x="158" y="186"/>
                    </a:lnTo>
                    <a:lnTo>
                      <a:pt x="162" y="180"/>
                    </a:lnTo>
                    <a:lnTo>
                      <a:pt x="164" y="174"/>
                    </a:lnTo>
                    <a:lnTo>
                      <a:pt x="164" y="170"/>
                    </a:lnTo>
                    <a:lnTo>
                      <a:pt x="248" y="170"/>
                    </a:lnTo>
                    <a:lnTo>
                      <a:pt x="248" y="170"/>
                    </a:lnTo>
                    <a:lnTo>
                      <a:pt x="246" y="180"/>
                    </a:lnTo>
                    <a:lnTo>
                      <a:pt x="242" y="190"/>
                    </a:lnTo>
                    <a:lnTo>
                      <a:pt x="238" y="198"/>
                    </a:lnTo>
                    <a:lnTo>
                      <a:pt x="232" y="208"/>
                    </a:lnTo>
                    <a:lnTo>
                      <a:pt x="218" y="222"/>
                    </a:lnTo>
                    <a:lnTo>
                      <a:pt x="202" y="234"/>
                    </a:lnTo>
                    <a:lnTo>
                      <a:pt x="202" y="234"/>
                    </a:lnTo>
                    <a:lnTo>
                      <a:pt x="186" y="242"/>
                    </a:lnTo>
                    <a:lnTo>
                      <a:pt x="168" y="246"/>
                    </a:lnTo>
                    <a:lnTo>
                      <a:pt x="148" y="248"/>
                    </a:lnTo>
                    <a:lnTo>
                      <a:pt x="128" y="250"/>
                    </a:lnTo>
                    <a:lnTo>
                      <a:pt x="128" y="250"/>
                    </a:lnTo>
                    <a:lnTo>
                      <a:pt x="96" y="248"/>
                    </a:lnTo>
                    <a:lnTo>
                      <a:pt x="80" y="244"/>
                    </a:lnTo>
                    <a:lnTo>
                      <a:pt x="66" y="242"/>
                    </a:lnTo>
                    <a:lnTo>
                      <a:pt x="54" y="238"/>
                    </a:lnTo>
                    <a:lnTo>
                      <a:pt x="44" y="232"/>
                    </a:lnTo>
                    <a:lnTo>
                      <a:pt x="34" y="226"/>
                    </a:lnTo>
                    <a:lnTo>
                      <a:pt x="26" y="218"/>
                    </a:lnTo>
                    <a:lnTo>
                      <a:pt x="18" y="210"/>
                    </a:lnTo>
                    <a:lnTo>
                      <a:pt x="12" y="200"/>
                    </a:lnTo>
                    <a:lnTo>
                      <a:pt x="8" y="190"/>
                    </a:lnTo>
                    <a:lnTo>
                      <a:pt x="4" y="178"/>
                    </a:lnTo>
                    <a:lnTo>
                      <a:pt x="2" y="164"/>
                    </a:lnTo>
                    <a:lnTo>
                      <a:pt x="0" y="150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2" y="106"/>
                    </a:lnTo>
                    <a:lnTo>
                      <a:pt x="4" y="92"/>
                    </a:lnTo>
                    <a:lnTo>
                      <a:pt x="8" y="80"/>
                    </a:lnTo>
                    <a:lnTo>
                      <a:pt x="14" y="68"/>
                    </a:lnTo>
                    <a:lnTo>
                      <a:pt x="20" y="58"/>
                    </a:lnTo>
                    <a:lnTo>
                      <a:pt x="26" y="48"/>
                    </a:lnTo>
                    <a:lnTo>
                      <a:pt x="34" y="40"/>
                    </a:lnTo>
                    <a:lnTo>
                      <a:pt x="44" y="32"/>
                    </a:lnTo>
                    <a:lnTo>
                      <a:pt x="64" y="18"/>
                    </a:lnTo>
                    <a:lnTo>
                      <a:pt x="86" y="8"/>
                    </a:lnTo>
                    <a:lnTo>
                      <a:pt x="110" y="2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4" y="2"/>
                    </a:lnTo>
                    <a:lnTo>
                      <a:pt x="170" y="4"/>
                    </a:lnTo>
                    <a:lnTo>
                      <a:pt x="184" y="6"/>
                    </a:lnTo>
                    <a:lnTo>
                      <a:pt x="196" y="12"/>
                    </a:lnTo>
                    <a:lnTo>
                      <a:pt x="208" y="18"/>
                    </a:lnTo>
                    <a:lnTo>
                      <a:pt x="218" y="24"/>
                    </a:lnTo>
                    <a:lnTo>
                      <a:pt x="228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46" y="60"/>
                    </a:lnTo>
                    <a:lnTo>
                      <a:pt x="250" y="72"/>
                    </a:lnTo>
                    <a:lnTo>
                      <a:pt x="254" y="84"/>
                    </a:lnTo>
                    <a:lnTo>
                      <a:pt x="256" y="112"/>
                    </a:lnTo>
                    <a:lnTo>
                      <a:pt x="254" y="142"/>
                    </a:lnTo>
                    <a:lnTo>
                      <a:pt x="86" y="142"/>
                    </a:lnTo>
                    <a:close/>
                    <a:moveTo>
                      <a:pt x="172" y="98"/>
                    </a:moveTo>
                    <a:lnTo>
                      <a:pt x="172" y="98"/>
                    </a:lnTo>
                    <a:lnTo>
                      <a:pt x="172" y="88"/>
                    </a:lnTo>
                    <a:lnTo>
                      <a:pt x="170" y="78"/>
                    </a:lnTo>
                    <a:lnTo>
                      <a:pt x="168" y="70"/>
                    </a:lnTo>
                    <a:lnTo>
                      <a:pt x="164" y="62"/>
                    </a:lnTo>
                    <a:lnTo>
                      <a:pt x="164" y="62"/>
                    </a:lnTo>
                    <a:lnTo>
                      <a:pt x="158" y="56"/>
                    </a:lnTo>
                    <a:lnTo>
                      <a:pt x="150" y="50"/>
                    </a:lnTo>
                    <a:lnTo>
                      <a:pt x="142" y="48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22" y="48"/>
                    </a:lnTo>
                    <a:lnTo>
                      <a:pt x="114" y="52"/>
                    </a:lnTo>
                    <a:lnTo>
                      <a:pt x="106" y="56"/>
                    </a:lnTo>
                    <a:lnTo>
                      <a:pt x="102" y="62"/>
                    </a:lnTo>
                    <a:lnTo>
                      <a:pt x="96" y="70"/>
                    </a:lnTo>
                    <a:lnTo>
                      <a:pt x="94" y="78"/>
                    </a:lnTo>
                    <a:lnTo>
                      <a:pt x="90" y="98"/>
                    </a:lnTo>
                    <a:lnTo>
                      <a:pt x="172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16"/>
              <p:cNvSpPr>
                <a:spLocks/>
              </p:cNvSpPr>
              <p:nvPr/>
            </p:nvSpPr>
            <p:spPr bwMode="auto">
              <a:xfrm>
                <a:off x="1314450" y="352425"/>
                <a:ext cx="196850" cy="542925"/>
              </a:xfrm>
              <a:custGeom>
                <a:avLst/>
                <a:gdLst>
                  <a:gd name="T0" fmla="*/ 24 w 124"/>
                  <a:gd name="T1" fmla="*/ 0 h 342"/>
                  <a:gd name="T2" fmla="*/ 124 w 124"/>
                  <a:gd name="T3" fmla="*/ 0 h 342"/>
                  <a:gd name="T4" fmla="*/ 100 w 124"/>
                  <a:gd name="T5" fmla="*/ 342 h 342"/>
                  <a:gd name="T6" fmla="*/ 0 w 124"/>
                  <a:gd name="T7" fmla="*/ 342 h 342"/>
                  <a:gd name="T8" fmla="*/ 24 w 124"/>
                  <a:gd name="T9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342">
                    <a:moveTo>
                      <a:pt x="24" y="0"/>
                    </a:moveTo>
                    <a:lnTo>
                      <a:pt x="124" y="0"/>
                    </a:lnTo>
                    <a:lnTo>
                      <a:pt x="100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17"/>
              <p:cNvSpPr>
                <a:spLocks/>
              </p:cNvSpPr>
              <p:nvPr/>
            </p:nvSpPr>
            <p:spPr bwMode="auto">
              <a:xfrm>
                <a:off x="1498600" y="352425"/>
                <a:ext cx="368300" cy="542925"/>
              </a:xfrm>
              <a:custGeom>
                <a:avLst/>
                <a:gdLst>
                  <a:gd name="T0" fmla="*/ 120 w 232"/>
                  <a:gd name="T1" fmla="*/ 0 h 342"/>
                  <a:gd name="T2" fmla="*/ 0 w 232"/>
                  <a:gd name="T3" fmla="*/ 152 h 342"/>
                  <a:gd name="T4" fmla="*/ 106 w 232"/>
                  <a:gd name="T5" fmla="*/ 342 h 342"/>
                  <a:gd name="T6" fmla="*/ 226 w 232"/>
                  <a:gd name="T7" fmla="*/ 342 h 342"/>
                  <a:gd name="T8" fmla="*/ 106 w 232"/>
                  <a:gd name="T9" fmla="*/ 148 h 342"/>
                  <a:gd name="T10" fmla="*/ 232 w 232"/>
                  <a:gd name="T11" fmla="*/ 0 h 342"/>
                  <a:gd name="T12" fmla="*/ 120 w 232"/>
                  <a:gd name="T13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2" h="342">
                    <a:moveTo>
                      <a:pt x="120" y="0"/>
                    </a:moveTo>
                    <a:lnTo>
                      <a:pt x="0" y="152"/>
                    </a:lnTo>
                    <a:lnTo>
                      <a:pt x="106" y="342"/>
                    </a:lnTo>
                    <a:lnTo>
                      <a:pt x="226" y="342"/>
                    </a:lnTo>
                    <a:lnTo>
                      <a:pt x="106" y="148"/>
                    </a:lnTo>
                    <a:lnTo>
                      <a:pt x="232" y="0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18"/>
              <p:cNvSpPr>
                <a:spLocks/>
              </p:cNvSpPr>
              <p:nvPr/>
            </p:nvSpPr>
            <p:spPr bwMode="auto">
              <a:xfrm>
                <a:off x="1876425" y="517525"/>
                <a:ext cx="158750" cy="377825"/>
              </a:xfrm>
              <a:custGeom>
                <a:avLst/>
                <a:gdLst>
                  <a:gd name="T0" fmla="*/ 16 w 100"/>
                  <a:gd name="T1" fmla="*/ 0 h 238"/>
                  <a:gd name="T2" fmla="*/ 100 w 100"/>
                  <a:gd name="T3" fmla="*/ 0 h 238"/>
                  <a:gd name="T4" fmla="*/ 84 w 100"/>
                  <a:gd name="T5" fmla="*/ 238 h 238"/>
                  <a:gd name="T6" fmla="*/ 0 w 100"/>
                  <a:gd name="T7" fmla="*/ 238 h 238"/>
                  <a:gd name="T8" fmla="*/ 16 w 100"/>
                  <a:gd name="T9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238">
                    <a:moveTo>
                      <a:pt x="16" y="0"/>
                    </a:moveTo>
                    <a:lnTo>
                      <a:pt x="100" y="0"/>
                    </a:lnTo>
                    <a:lnTo>
                      <a:pt x="84" y="238"/>
                    </a:lnTo>
                    <a:lnTo>
                      <a:pt x="0" y="238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19"/>
              <p:cNvSpPr>
                <a:spLocks/>
              </p:cNvSpPr>
              <p:nvPr/>
            </p:nvSpPr>
            <p:spPr bwMode="auto">
              <a:xfrm>
                <a:off x="2038350" y="504825"/>
                <a:ext cx="692150" cy="390525"/>
              </a:xfrm>
              <a:custGeom>
                <a:avLst/>
                <a:gdLst>
                  <a:gd name="T0" fmla="*/ 106 w 436"/>
                  <a:gd name="T1" fmla="*/ 40 h 246"/>
                  <a:gd name="T2" fmla="*/ 106 w 436"/>
                  <a:gd name="T3" fmla="*/ 40 h 246"/>
                  <a:gd name="T4" fmla="*/ 128 w 436"/>
                  <a:gd name="T5" fmla="*/ 20 h 246"/>
                  <a:gd name="T6" fmla="*/ 150 w 436"/>
                  <a:gd name="T7" fmla="*/ 8 h 246"/>
                  <a:gd name="T8" fmla="*/ 172 w 436"/>
                  <a:gd name="T9" fmla="*/ 2 h 246"/>
                  <a:gd name="T10" fmla="*/ 192 w 436"/>
                  <a:gd name="T11" fmla="*/ 2 h 246"/>
                  <a:gd name="T12" fmla="*/ 216 w 436"/>
                  <a:gd name="T13" fmla="*/ 6 h 246"/>
                  <a:gd name="T14" fmla="*/ 238 w 436"/>
                  <a:gd name="T15" fmla="*/ 14 h 246"/>
                  <a:gd name="T16" fmla="*/ 254 w 436"/>
                  <a:gd name="T17" fmla="*/ 28 h 246"/>
                  <a:gd name="T18" fmla="*/ 264 w 436"/>
                  <a:gd name="T19" fmla="*/ 44 h 246"/>
                  <a:gd name="T20" fmla="*/ 272 w 436"/>
                  <a:gd name="T21" fmla="*/ 34 h 246"/>
                  <a:gd name="T22" fmla="*/ 290 w 436"/>
                  <a:gd name="T23" fmla="*/ 18 h 246"/>
                  <a:gd name="T24" fmla="*/ 312 w 436"/>
                  <a:gd name="T25" fmla="*/ 8 h 246"/>
                  <a:gd name="T26" fmla="*/ 338 w 436"/>
                  <a:gd name="T27" fmla="*/ 2 h 246"/>
                  <a:gd name="T28" fmla="*/ 352 w 436"/>
                  <a:gd name="T29" fmla="*/ 0 h 246"/>
                  <a:gd name="T30" fmla="*/ 386 w 436"/>
                  <a:gd name="T31" fmla="*/ 6 h 246"/>
                  <a:gd name="T32" fmla="*/ 414 w 436"/>
                  <a:gd name="T33" fmla="*/ 24 h 246"/>
                  <a:gd name="T34" fmla="*/ 432 w 436"/>
                  <a:gd name="T35" fmla="*/ 50 h 246"/>
                  <a:gd name="T36" fmla="*/ 436 w 436"/>
                  <a:gd name="T37" fmla="*/ 86 h 246"/>
                  <a:gd name="T38" fmla="*/ 332 w 436"/>
                  <a:gd name="T39" fmla="*/ 246 h 246"/>
                  <a:gd name="T40" fmla="*/ 342 w 436"/>
                  <a:gd name="T41" fmla="*/ 106 h 246"/>
                  <a:gd name="T42" fmla="*/ 342 w 436"/>
                  <a:gd name="T43" fmla="*/ 80 h 246"/>
                  <a:gd name="T44" fmla="*/ 336 w 436"/>
                  <a:gd name="T45" fmla="*/ 66 h 246"/>
                  <a:gd name="T46" fmla="*/ 322 w 436"/>
                  <a:gd name="T47" fmla="*/ 58 h 246"/>
                  <a:gd name="T48" fmla="*/ 312 w 436"/>
                  <a:gd name="T49" fmla="*/ 58 h 246"/>
                  <a:gd name="T50" fmla="*/ 288 w 436"/>
                  <a:gd name="T51" fmla="*/ 66 h 246"/>
                  <a:gd name="T52" fmla="*/ 276 w 436"/>
                  <a:gd name="T53" fmla="*/ 82 h 246"/>
                  <a:gd name="T54" fmla="*/ 270 w 436"/>
                  <a:gd name="T55" fmla="*/ 100 h 246"/>
                  <a:gd name="T56" fmla="*/ 260 w 436"/>
                  <a:gd name="T57" fmla="*/ 246 h 246"/>
                  <a:gd name="T58" fmla="*/ 180 w 436"/>
                  <a:gd name="T59" fmla="*/ 106 h 246"/>
                  <a:gd name="T60" fmla="*/ 178 w 436"/>
                  <a:gd name="T61" fmla="*/ 88 h 246"/>
                  <a:gd name="T62" fmla="*/ 174 w 436"/>
                  <a:gd name="T63" fmla="*/ 72 h 246"/>
                  <a:gd name="T64" fmla="*/ 164 w 436"/>
                  <a:gd name="T65" fmla="*/ 62 h 246"/>
                  <a:gd name="T66" fmla="*/ 148 w 436"/>
                  <a:gd name="T67" fmla="*/ 58 h 246"/>
                  <a:gd name="T68" fmla="*/ 132 w 436"/>
                  <a:gd name="T69" fmla="*/ 60 h 246"/>
                  <a:gd name="T70" fmla="*/ 114 w 436"/>
                  <a:gd name="T71" fmla="*/ 72 h 246"/>
                  <a:gd name="T72" fmla="*/ 104 w 436"/>
                  <a:gd name="T73" fmla="*/ 92 h 246"/>
                  <a:gd name="T74" fmla="*/ 102 w 436"/>
                  <a:gd name="T75" fmla="*/ 110 h 246"/>
                  <a:gd name="T76" fmla="*/ 0 w 436"/>
                  <a:gd name="T77" fmla="*/ 246 h 246"/>
                  <a:gd name="T78" fmla="*/ 106 w 436"/>
                  <a:gd name="T79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36" h="246">
                    <a:moveTo>
                      <a:pt x="106" y="8"/>
                    </a:moveTo>
                    <a:lnTo>
                      <a:pt x="106" y="40"/>
                    </a:lnTo>
                    <a:lnTo>
                      <a:pt x="106" y="40"/>
                    </a:lnTo>
                    <a:lnTo>
                      <a:pt x="106" y="40"/>
                    </a:lnTo>
                    <a:lnTo>
                      <a:pt x="118" y="28"/>
                    </a:lnTo>
                    <a:lnTo>
                      <a:pt x="128" y="20"/>
                    </a:lnTo>
                    <a:lnTo>
                      <a:pt x="140" y="12"/>
                    </a:lnTo>
                    <a:lnTo>
                      <a:pt x="150" y="8"/>
                    </a:lnTo>
                    <a:lnTo>
                      <a:pt x="162" y="4"/>
                    </a:lnTo>
                    <a:lnTo>
                      <a:pt x="172" y="2"/>
                    </a:lnTo>
                    <a:lnTo>
                      <a:pt x="192" y="2"/>
                    </a:lnTo>
                    <a:lnTo>
                      <a:pt x="192" y="2"/>
                    </a:lnTo>
                    <a:lnTo>
                      <a:pt x="204" y="2"/>
                    </a:lnTo>
                    <a:lnTo>
                      <a:pt x="216" y="6"/>
                    </a:lnTo>
                    <a:lnTo>
                      <a:pt x="228" y="8"/>
                    </a:lnTo>
                    <a:lnTo>
                      <a:pt x="238" y="14"/>
                    </a:lnTo>
                    <a:lnTo>
                      <a:pt x="246" y="20"/>
                    </a:lnTo>
                    <a:lnTo>
                      <a:pt x="254" y="28"/>
                    </a:lnTo>
                    <a:lnTo>
                      <a:pt x="260" y="36"/>
                    </a:lnTo>
                    <a:lnTo>
                      <a:pt x="264" y="44"/>
                    </a:lnTo>
                    <a:lnTo>
                      <a:pt x="264" y="44"/>
                    </a:lnTo>
                    <a:lnTo>
                      <a:pt x="272" y="34"/>
                    </a:lnTo>
                    <a:lnTo>
                      <a:pt x="280" y="26"/>
                    </a:lnTo>
                    <a:lnTo>
                      <a:pt x="290" y="18"/>
                    </a:lnTo>
                    <a:lnTo>
                      <a:pt x="302" y="12"/>
                    </a:lnTo>
                    <a:lnTo>
                      <a:pt x="312" y="8"/>
                    </a:lnTo>
                    <a:lnTo>
                      <a:pt x="326" y="4"/>
                    </a:lnTo>
                    <a:lnTo>
                      <a:pt x="338" y="2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70" y="2"/>
                    </a:lnTo>
                    <a:lnTo>
                      <a:pt x="386" y="6"/>
                    </a:lnTo>
                    <a:lnTo>
                      <a:pt x="402" y="14"/>
                    </a:lnTo>
                    <a:lnTo>
                      <a:pt x="414" y="24"/>
                    </a:lnTo>
                    <a:lnTo>
                      <a:pt x="424" y="36"/>
                    </a:lnTo>
                    <a:lnTo>
                      <a:pt x="432" y="50"/>
                    </a:lnTo>
                    <a:lnTo>
                      <a:pt x="436" y="68"/>
                    </a:lnTo>
                    <a:lnTo>
                      <a:pt x="436" y="86"/>
                    </a:lnTo>
                    <a:lnTo>
                      <a:pt x="424" y="246"/>
                    </a:lnTo>
                    <a:lnTo>
                      <a:pt x="332" y="246"/>
                    </a:lnTo>
                    <a:lnTo>
                      <a:pt x="342" y="106"/>
                    </a:lnTo>
                    <a:lnTo>
                      <a:pt x="342" y="106"/>
                    </a:lnTo>
                    <a:lnTo>
                      <a:pt x="342" y="88"/>
                    </a:lnTo>
                    <a:lnTo>
                      <a:pt x="342" y="80"/>
                    </a:lnTo>
                    <a:lnTo>
                      <a:pt x="340" y="74"/>
                    </a:lnTo>
                    <a:lnTo>
                      <a:pt x="336" y="66"/>
                    </a:lnTo>
                    <a:lnTo>
                      <a:pt x="330" y="62"/>
                    </a:lnTo>
                    <a:lnTo>
                      <a:pt x="322" y="58"/>
                    </a:lnTo>
                    <a:lnTo>
                      <a:pt x="312" y="58"/>
                    </a:lnTo>
                    <a:lnTo>
                      <a:pt x="312" y="58"/>
                    </a:lnTo>
                    <a:lnTo>
                      <a:pt x="298" y="60"/>
                    </a:lnTo>
                    <a:lnTo>
                      <a:pt x="288" y="66"/>
                    </a:lnTo>
                    <a:lnTo>
                      <a:pt x="280" y="72"/>
                    </a:lnTo>
                    <a:lnTo>
                      <a:pt x="276" y="82"/>
                    </a:lnTo>
                    <a:lnTo>
                      <a:pt x="272" y="92"/>
                    </a:lnTo>
                    <a:lnTo>
                      <a:pt x="270" y="100"/>
                    </a:lnTo>
                    <a:lnTo>
                      <a:pt x="270" y="110"/>
                    </a:lnTo>
                    <a:lnTo>
                      <a:pt x="260" y="246"/>
                    </a:lnTo>
                    <a:lnTo>
                      <a:pt x="170" y="246"/>
                    </a:lnTo>
                    <a:lnTo>
                      <a:pt x="180" y="106"/>
                    </a:lnTo>
                    <a:lnTo>
                      <a:pt x="180" y="106"/>
                    </a:lnTo>
                    <a:lnTo>
                      <a:pt x="178" y="88"/>
                    </a:lnTo>
                    <a:lnTo>
                      <a:pt x="178" y="80"/>
                    </a:lnTo>
                    <a:lnTo>
                      <a:pt x="174" y="72"/>
                    </a:lnTo>
                    <a:lnTo>
                      <a:pt x="170" y="66"/>
                    </a:lnTo>
                    <a:lnTo>
                      <a:pt x="164" y="62"/>
                    </a:lnTo>
                    <a:lnTo>
                      <a:pt x="15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32" y="60"/>
                    </a:lnTo>
                    <a:lnTo>
                      <a:pt x="122" y="66"/>
                    </a:lnTo>
                    <a:lnTo>
                      <a:pt x="114" y="72"/>
                    </a:lnTo>
                    <a:lnTo>
                      <a:pt x="108" y="82"/>
                    </a:lnTo>
                    <a:lnTo>
                      <a:pt x="104" y="92"/>
                    </a:lnTo>
                    <a:lnTo>
                      <a:pt x="104" y="100"/>
                    </a:lnTo>
                    <a:lnTo>
                      <a:pt x="102" y="110"/>
                    </a:lnTo>
                    <a:lnTo>
                      <a:pt x="94" y="246"/>
                    </a:lnTo>
                    <a:lnTo>
                      <a:pt x="0" y="246"/>
                    </a:lnTo>
                    <a:lnTo>
                      <a:pt x="16" y="8"/>
                    </a:lnTo>
                    <a:lnTo>
                      <a:pt x="106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20"/>
              <p:cNvSpPr>
                <a:spLocks/>
              </p:cNvSpPr>
              <p:nvPr/>
            </p:nvSpPr>
            <p:spPr bwMode="auto">
              <a:xfrm>
                <a:off x="4064000" y="517525"/>
                <a:ext cx="454025" cy="558800"/>
              </a:xfrm>
              <a:custGeom>
                <a:avLst/>
                <a:gdLst>
                  <a:gd name="T0" fmla="*/ 116 w 286"/>
                  <a:gd name="T1" fmla="*/ 352 h 352"/>
                  <a:gd name="T2" fmla="*/ 34 w 286"/>
                  <a:gd name="T3" fmla="*/ 352 h 352"/>
                  <a:gd name="T4" fmla="*/ 86 w 286"/>
                  <a:gd name="T5" fmla="*/ 242 h 352"/>
                  <a:gd name="T6" fmla="*/ 0 w 286"/>
                  <a:gd name="T7" fmla="*/ 0 h 352"/>
                  <a:gd name="T8" fmla="*/ 100 w 286"/>
                  <a:gd name="T9" fmla="*/ 0 h 352"/>
                  <a:gd name="T10" fmla="*/ 140 w 286"/>
                  <a:gd name="T11" fmla="*/ 148 h 352"/>
                  <a:gd name="T12" fmla="*/ 202 w 286"/>
                  <a:gd name="T13" fmla="*/ 0 h 352"/>
                  <a:gd name="T14" fmla="*/ 286 w 286"/>
                  <a:gd name="T15" fmla="*/ 0 h 352"/>
                  <a:gd name="T16" fmla="*/ 116 w 286"/>
                  <a:gd name="T17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6" h="352">
                    <a:moveTo>
                      <a:pt x="116" y="352"/>
                    </a:moveTo>
                    <a:lnTo>
                      <a:pt x="34" y="352"/>
                    </a:lnTo>
                    <a:lnTo>
                      <a:pt x="86" y="242"/>
                    </a:lnTo>
                    <a:lnTo>
                      <a:pt x="0" y="0"/>
                    </a:lnTo>
                    <a:lnTo>
                      <a:pt x="100" y="0"/>
                    </a:lnTo>
                    <a:lnTo>
                      <a:pt x="140" y="148"/>
                    </a:lnTo>
                    <a:lnTo>
                      <a:pt x="202" y="0"/>
                    </a:lnTo>
                    <a:lnTo>
                      <a:pt x="286" y="0"/>
                    </a:lnTo>
                    <a:lnTo>
                      <a:pt x="116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21"/>
              <p:cNvSpPr>
                <a:spLocks/>
              </p:cNvSpPr>
              <p:nvPr/>
            </p:nvSpPr>
            <p:spPr bwMode="auto">
              <a:xfrm>
                <a:off x="4473575" y="593725"/>
                <a:ext cx="241300" cy="117475"/>
              </a:xfrm>
              <a:custGeom>
                <a:avLst/>
                <a:gdLst>
                  <a:gd name="T0" fmla="*/ 36 w 152"/>
                  <a:gd name="T1" fmla="*/ 0 h 74"/>
                  <a:gd name="T2" fmla="*/ 152 w 152"/>
                  <a:gd name="T3" fmla="*/ 0 h 74"/>
                  <a:gd name="T4" fmla="*/ 114 w 152"/>
                  <a:gd name="T5" fmla="*/ 74 h 74"/>
                  <a:gd name="T6" fmla="*/ 0 w 152"/>
                  <a:gd name="T7" fmla="*/ 74 h 74"/>
                  <a:gd name="T8" fmla="*/ 36 w 152"/>
                  <a:gd name="T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74">
                    <a:moveTo>
                      <a:pt x="36" y="0"/>
                    </a:moveTo>
                    <a:lnTo>
                      <a:pt x="152" y="0"/>
                    </a:lnTo>
                    <a:lnTo>
                      <a:pt x="114" y="74"/>
                    </a:lnTo>
                    <a:lnTo>
                      <a:pt x="0" y="7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22"/>
              <p:cNvSpPr>
                <a:spLocks/>
              </p:cNvSpPr>
              <p:nvPr/>
            </p:nvSpPr>
            <p:spPr bwMode="auto">
              <a:xfrm>
                <a:off x="4721225" y="339725"/>
                <a:ext cx="504825" cy="558800"/>
              </a:xfrm>
              <a:custGeom>
                <a:avLst/>
                <a:gdLst>
                  <a:gd name="T0" fmla="*/ 180 w 318"/>
                  <a:gd name="T1" fmla="*/ 0 h 352"/>
                  <a:gd name="T2" fmla="*/ 232 w 318"/>
                  <a:gd name="T3" fmla="*/ 6 h 352"/>
                  <a:gd name="T4" fmla="*/ 266 w 318"/>
                  <a:gd name="T5" fmla="*/ 20 h 352"/>
                  <a:gd name="T6" fmla="*/ 286 w 318"/>
                  <a:gd name="T7" fmla="*/ 32 h 352"/>
                  <a:gd name="T8" fmla="*/ 302 w 318"/>
                  <a:gd name="T9" fmla="*/ 50 h 352"/>
                  <a:gd name="T10" fmla="*/ 312 w 318"/>
                  <a:gd name="T11" fmla="*/ 74 h 352"/>
                  <a:gd name="T12" fmla="*/ 318 w 318"/>
                  <a:gd name="T13" fmla="*/ 100 h 352"/>
                  <a:gd name="T14" fmla="*/ 222 w 318"/>
                  <a:gd name="T15" fmla="*/ 116 h 352"/>
                  <a:gd name="T16" fmla="*/ 222 w 318"/>
                  <a:gd name="T17" fmla="*/ 108 h 352"/>
                  <a:gd name="T18" fmla="*/ 216 w 318"/>
                  <a:gd name="T19" fmla="*/ 90 h 352"/>
                  <a:gd name="T20" fmla="*/ 204 w 318"/>
                  <a:gd name="T21" fmla="*/ 76 h 352"/>
                  <a:gd name="T22" fmla="*/ 188 w 318"/>
                  <a:gd name="T23" fmla="*/ 68 h 352"/>
                  <a:gd name="T24" fmla="*/ 176 w 318"/>
                  <a:gd name="T25" fmla="*/ 68 h 352"/>
                  <a:gd name="T26" fmla="*/ 150 w 318"/>
                  <a:gd name="T27" fmla="*/ 72 h 352"/>
                  <a:gd name="T28" fmla="*/ 128 w 318"/>
                  <a:gd name="T29" fmla="*/ 88 h 352"/>
                  <a:gd name="T30" fmla="*/ 108 w 318"/>
                  <a:gd name="T31" fmla="*/ 118 h 352"/>
                  <a:gd name="T32" fmla="*/ 98 w 318"/>
                  <a:gd name="T33" fmla="*/ 162 h 352"/>
                  <a:gd name="T34" fmla="*/ 96 w 318"/>
                  <a:gd name="T35" fmla="*/ 188 h 352"/>
                  <a:gd name="T36" fmla="*/ 98 w 318"/>
                  <a:gd name="T37" fmla="*/ 234 h 352"/>
                  <a:gd name="T38" fmla="*/ 112 w 318"/>
                  <a:gd name="T39" fmla="*/ 266 h 352"/>
                  <a:gd name="T40" fmla="*/ 122 w 318"/>
                  <a:gd name="T41" fmla="*/ 278 h 352"/>
                  <a:gd name="T42" fmla="*/ 138 w 318"/>
                  <a:gd name="T43" fmla="*/ 284 h 352"/>
                  <a:gd name="T44" fmla="*/ 158 w 318"/>
                  <a:gd name="T45" fmla="*/ 288 h 352"/>
                  <a:gd name="T46" fmla="*/ 174 w 318"/>
                  <a:gd name="T47" fmla="*/ 286 h 352"/>
                  <a:gd name="T48" fmla="*/ 198 w 318"/>
                  <a:gd name="T49" fmla="*/ 274 h 352"/>
                  <a:gd name="T50" fmla="*/ 212 w 318"/>
                  <a:gd name="T51" fmla="*/ 256 h 352"/>
                  <a:gd name="T52" fmla="*/ 218 w 318"/>
                  <a:gd name="T53" fmla="*/ 236 h 352"/>
                  <a:gd name="T54" fmla="*/ 314 w 318"/>
                  <a:gd name="T55" fmla="*/ 236 h 352"/>
                  <a:gd name="T56" fmla="*/ 306 w 318"/>
                  <a:gd name="T57" fmla="*/ 270 h 352"/>
                  <a:gd name="T58" fmla="*/ 290 w 318"/>
                  <a:gd name="T59" fmla="*/ 300 h 352"/>
                  <a:gd name="T60" fmla="*/ 272 w 318"/>
                  <a:gd name="T61" fmla="*/ 318 h 352"/>
                  <a:gd name="T62" fmla="*/ 248 w 318"/>
                  <a:gd name="T63" fmla="*/ 334 h 352"/>
                  <a:gd name="T64" fmla="*/ 216 w 318"/>
                  <a:gd name="T65" fmla="*/ 346 h 352"/>
                  <a:gd name="T66" fmla="*/ 176 w 318"/>
                  <a:gd name="T67" fmla="*/ 352 h 352"/>
                  <a:gd name="T68" fmla="*/ 152 w 318"/>
                  <a:gd name="T69" fmla="*/ 352 h 352"/>
                  <a:gd name="T70" fmla="*/ 106 w 318"/>
                  <a:gd name="T71" fmla="*/ 348 h 352"/>
                  <a:gd name="T72" fmla="*/ 70 w 318"/>
                  <a:gd name="T73" fmla="*/ 336 h 352"/>
                  <a:gd name="T74" fmla="*/ 42 w 318"/>
                  <a:gd name="T75" fmla="*/ 316 h 352"/>
                  <a:gd name="T76" fmla="*/ 22 w 318"/>
                  <a:gd name="T77" fmla="*/ 292 h 352"/>
                  <a:gd name="T78" fmla="*/ 8 w 318"/>
                  <a:gd name="T79" fmla="*/ 262 h 352"/>
                  <a:gd name="T80" fmla="*/ 2 w 318"/>
                  <a:gd name="T81" fmla="*/ 230 h 352"/>
                  <a:gd name="T82" fmla="*/ 0 w 318"/>
                  <a:gd name="T83" fmla="*/ 194 h 352"/>
                  <a:gd name="T84" fmla="*/ 2 w 318"/>
                  <a:gd name="T85" fmla="*/ 160 h 352"/>
                  <a:gd name="T86" fmla="*/ 18 w 318"/>
                  <a:gd name="T87" fmla="*/ 102 h 352"/>
                  <a:gd name="T88" fmla="*/ 32 w 318"/>
                  <a:gd name="T89" fmla="*/ 74 h 352"/>
                  <a:gd name="T90" fmla="*/ 52 w 318"/>
                  <a:gd name="T91" fmla="*/ 50 h 352"/>
                  <a:gd name="T92" fmla="*/ 76 w 318"/>
                  <a:gd name="T93" fmla="*/ 30 h 352"/>
                  <a:gd name="T94" fmla="*/ 106 w 318"/>
                  <a:gd name="T95" fmla="*/ 14 h 352"/>
                  <a:gd name="T96" fmla="*/ 140 w 318"/>
                  <a:gd name="T97" fmla="*/ 4 h 352"/>
                  <a:gd name="T98" fmla="*/ 180 w 318"/>
                  <a:gd name="T99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18" h="352">
                    <a:moveTo>
                      <a:pt x="180" y="0"/>
                    </a:moveTo>
                    <a:lnTo>
                      <a:pt x="180" y="0"/>
                    </a:lnTo>
                    <a:lnTo>
                      <a:pt x="206" y="0"/>
                    </a:lnTo>
                    <a:lnTo>
                      <a:pt x="232" y="6"/>
                    </a:lnTo>
                    <a:lnTo>
                      <a:pt x="256" y="14"/>
                    </a:lnTo>
                    <a:lnTo>
                      <a:pt x="266" y="20"/>
                    </a:lnTo>
                    <a:lnTo>
                      <a:pt x="276" y="26"/>
                    </a:lnTo>
                    <a:lnTo>
                      <a:pt x="286" y="32"/>
                    </a:lnTo>
                    <a:lnTo>
                      <a:pt x="294" y="42"/>
                    </a:lnTo>
                    <a:lnTo>
                      <a:pt x="302" y="50"/>
                    </a:lnTo>
                    <a:lnTo>
                      <a:pt x="308" y="62"/>
                    </a:lnTo>
                    <a:lnTo>
                      <a:pt x="312" y="74"/>
                    </a:lnTo>
                    <a:lnTo>
                      <a:pt x="316" y="86"/>
                    </a:lnTo>
                    <a:lnTo>
                      <a:pt x="318" y="100"/>
                    </a:lnTo>
                    <a:lnTo>
                      <a:pt x="318" y="116"/>
                    </a:lnTo>
                    <a:lnTo>
                      <a:pt x="222" y="116"/>
                    </a:lnTo>
                    <a:lnTo>
                      <a:pt x="222" y="116"/>
                    </a:lnTo>
                    <a:lnTo>
                      <a:pt x="222" y="108"/>
                    </a:lnTo>
                    <a:lnTo>
                      <a:pt x="220" y="98"/>
                    </a:lnTo>
                    <a:lnTo>
                      <a:pt x="216" y="90"/>
                    </a:lnTo>
                    <a:lnTo>
                      <a:pt x="212" y="84"/>
                    </a:lnTo>
                    <a:lnTo>
                      <a:pt x="204" y="76"/>
                    </a:lnTo>
                    <a:lnTo>
                      <a:pt x="198" y="72"/>
                    </a:lnTo>
                    <a:lnTo>
                      <a:pt x="188" y="68"/>
                    </a:lnTo>
                    <a:lnTo>
                      <a:pt x="176" y="68"/>
                    </a:lnTo>
                    <a:lnTo>
                      <a:pt x="176" y="68"/>
                    </a:lnTo>
                    <a:lnTo>
                      <a:pt x="164" y="68"/>
                    </a:lnTo>
                    <a:lnTo>
                      <a:pt x="150" y="72"/>
                    </a:lnTo>
                    <a:lnTo>
                      <a:pt x="138" y="80"/>
                    </a:lnTo>
                    <a:lnTo>
                      <a:pt x="128" y="88"/>
                    </a:lnTo>
                    <a:lnTo>
                      <a:pt x="118" y="102"/>
                    </a:lnTo>
                    <a:lnTo>
                      <a:pt x="108" y="118"/>
                    </a:lnTo>
                    <a:lnTo>
                      <a:pt x="102" y="138"/>
                    </a:lnTo>
                    <a:lnTo>
                      <a:pt x="98" y="162"/>
                    </a:lnTo>
                    <a:lnTo>
                      <a:pt x="98" y="162"/>
                    </a:lnTo>
                    <a:lnTo>
                      <a:pt x="96" y="188"/>
                    </a:lnTo>
                    <a:lnTo>
                      <a:pt x="96" y="212"/>
                    </a:lnTo>
                    <a:lnTo>
                      <a:pt x="98" y="234"/>
                    </a:lnTo>
                    <a:lnTo>
                      <a:pt x="104" y="252"/>
                    </a:lnTo>
                    <a:lnTo>
                      <a:pt x="112" y="266"/>
                    </a:lnTo>
                    <a:lnTo>
                      <a:pt x="116" y="272"/>
                    </a:lnTo>
                    <a:lnTo>
                      <a:pt x="122" y="278"/>
                    </a:lnTo>
                    <a:lnTo>
                      <a:pt x="130" y="282"/>
                    </a:lnTo>
                    <a:lnTo>
                      <a:pt x="138" y="284"/>
                    </a:lnTo>
                    <a:lnTo>
                      <a:pt x="148" y="286"/>
                    </a:lnTo>
                    <a:lnTo>
                      <a:pt x="158" y="288"/>
                    </a:lnTo>
                    <a:lnTo>
                      <a:pt x="158" y="288"/>
                    </a:lnTo>
                    <a:lnTo>
                      <a:pt x="174" y="286"/>
                    </a:lnTo>
                    <a:lnTo>
                      <a:pt x="188" y="280"/>
                    </a:lnTo>
                    <a:lnTo>
                      <a:pt x="198" y="274"/>
                    </a:lnTo>
                    <a:lnTo>
                      <a:pt x="206" y="264"/>
                    </a:lnTo>
                    <a:lnTo>
                      <a:pt x="212" y="256"/>
                    </a:lnTo>
                    <a:lnTo>
                      <a:pt x="214" y="248"/>
                    </a:lnTo>
                    <a:lnTo>
                      <a:pt x="218" y="236"/>
                    </a:lnTo>
                    <a:lnTo>
                      <a:pt x="314" y="236"/>
                    </a:lnTo>
                    <a:lnTo>
                      <a:pt x="314" y="236"/>
                    </a:lnTo>
                    <a:lnTo>
                      <a:pt x="312" y="252"/>
                    </a:lnTo>
                    <a:lnTo>
                      <a:pt x="306" y="270"/>
                    </a:lnTo>
                    <a:lnTo>
                      <a:pt x="296" y="290"/>
                    </a:lnTo>
                    <a:lnTo>
                      <a:pt x="290" y="300"/>
                    </a:lnTo>
                    <a:lnTo>
                      <a:pt x="282" y="308"/>
                    </a:lnTo>
                    <a:lnTo>
                      <a:pt x="272" y="318"/>
                    </a:lnTo>
                    <a:lnTo>
                      <a:pt x="260" y="326"/>
                    </a:lnTo>
                    <a:lnTo>
                      <a:pt x="248" y="334"/>
                    </a:lnTo>
                    <a:lnTo>
                      <a:pt x="232" y="340"/>
                    </a:lnTo>
                    <a:lnTo>
                      <a:pt x="216" y="346"/>
                    </a:lnTo>
                    <a:lnTo>
                      <a:pt x="196" y="350"/>
                    </a:lnTo>
                    <a:lnTo>
                      <a:pt x="176" y="352"/>
                    </a:lnTo>
                    <a:lnTo>
                      <a:pt x="152" y="352"/>
                    </a:lnTo>
                    <a:lnTo>
                      <a:pt x="152" y="352"/>
                    </a:lnTo>
                    <a:lnTo>
                      <a:pt x="128" y="352"/>
                    </a:lnTo>
                    <a:lnTo>
                      <a:pt x="106" y="348"/>
                    </a:lnTo>
                    <a:lnTo>
                      <a:pt x="86" y="342"/>
                    </a:lnTo>
                    <a:lnTo>
                      <a:pt x="70" y="336"/>
                    </a:lnTo>
                    <a:lnTo>
                      <a:pt x="54" y="326"/>
                    </a:lnTo>
                    <a:lnTo>
                      <a:pt x="42" y="316"/>
                    </a:lnTo>
                    <a:lnTo>
                      <a:pt x="30" y="304"/>
                    </a:lnTo>
                    <a:lnTo>
                      <a:pt x="22" y="292"/>
                    </a:lnTo>
                    <a:lnTo>
                      <a:pt x="14" y="276"/>
                    </a:lnTo>
                    <a:lnTo>
                      <a:pt x="8" y="262"/>
                    </a:lnTo>
                    <a:lnTo>
                      <a:pt x="4" y="246"/>
                    </a:lnTo>
                    <a:lnTo>
                      <a:pt x="2" y="230"/>
                    </a:lnTo>
                    <a:lnTo>
                      <a:pt x="0" y="212"/>
                    </a:lnTo>
                    <a:lnTo>
                      <a:pt x="0" y="194"/>
                    </a:lnTo>
                    <a:lnTo>
                      <a:pt x="2" y="160"/>
                    </a:lnTo>
                    <a:lnTo>
                      <a:pt x="2" y="160"/>
                    </a:lnTo>
                    <a:lnTo>
                      <a:pt x="8" y="130"/>
                    </a:lnTo>
                    <a:lnTo>
                      <a:pt x="18" y="102"/>
                    </a:lnTo>
                    <a:lnTo>
                      <a:pt x="24" y="88"/>
                    </a:lnTo>
                    <a:lnTo>
                      <a:pt x="32" y="74"/>
                    </a:lnTo>
                    <a:lnTo>
                      <a:pt x="42" y="62"/>
                    </a:lnTo>
                    <a:lnTo>
                      <a:pt x="52" y="50"/>
                    </a:lnTo>
                    <a:lnTo>
                      <a:pt x="64" y="40"/>
                    </a:lnTo>
                    <a:lnTo>
                      <a:pt x="76" y="30"/>
                    </a:lnTo>
                    <a:lnTo>
                      <a:pt x="90" y="20"/>
                    </a:lnTo>
                    <a:lnTo>
                      <a:pt x="106" y="14"/>
                    </a:lnTo>
                    <a:lnTo>
                      <a:pt x="122" y="8"/>
                    </a:lnTo>
                    <a:lnTo>
                      <a:pt x="140" y="4"/>
                    </a:lnTo>
                    <a:lnTo>
                      <a:pt x="160" y="0"/>
                    </a:lnTo>
                    <a:lnTo>
                      <a:pt x="180" y="0"/>
                    </a:lnTo>
                    <a:lnTo>
                      <a:pt x="18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23"/>
              <p:cNvSpPr>
                <a:spLocks/>
              </p:cNvSpPr>
              <p:nvPr/>
            </p:nvSpPr>
            <p:spPr bwMode="auto">
              <a:xfrm>
                <a:off x="5229225" y="352425"/>
                <a:ext cx="177800" cy="542925"/>
              </a:xfrm>
              <a:custGeom>
                <a:avLst/>
                <a:gdLst>
                  <a:gd name="T0" fmla="*/ 0 w 112"/>
                  <a:gd name="T1" fmla="*/ 342 h 342"/>
                  <a:gd name="T2" fmla="*/ 24 w 112"/>
                  <a:gd name="T3" fmla="*/ 0 h 342"/>
                  <a:gd name="T4" fmla="*/ 112 w 112"/>
                  <a:gd name="T5" fmla="*/ 0 h 342"/>
                  <a:gd name="T6" fmla="*/ 88 w 112"/>
                  <a:gd name="T7" fmla="*/ 342 h 342"/>
                  <a:gd name="T8" fmla="*/ 0 w 112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2" y="0"/>
                    </a:lnTo>
                    <a:lnTo>
                      <a:pt x="88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24"/>
              <p:cNvSpPr>
                <a:spLocks/>
              </p:cNvSpPr>
              <p:nvPr/>
            </p:nvSpPr>
            <p:spPr bwMode="auto">
              <a:xfrm>
                <a:off x="5803900" y="517525"/>
                <a:ext cx="295275" cy="377825"/>
              </a:xfrm>
              <a:custGeom>
                <a:avLst/>
                <a:gdLst>
                  <a:gd name="T0" fmla="*/ 106 w 186"/>
                  <a:gd name="T1" fmla="*/ 34 h 238"/>
                  <a:gd name="T2" fmla="*/ 106 w 186"/>
                  <a:gd name="T3" fmla="*/ 34 h 238"/>
                  <a:gd name="T4" fmla="*/ 106 w 186"/>
                  <a:gd name="T5" fmla="*/ 34 h 238"/>
                  <a:gd name="T6" fmla="*/ 116 w 186"/>
                  <a:gd name="T7" fmla="*/ 24 h 238"/>
                  <a:gd name="T8" fmla="*/ 124 w 186"/>
                  <a:gd name="T9" fmla="*/ 16 h 238"/>
                  <a:gd name="T10" fmla="*/ 134 w 186"/>
                  <a:gd name="T11" fmla="*/ 10 h 238"/>
                  <a:gd name="T12" fmla="*/ 144 w 186"/>
                  <a:gd name="T13" fmla="*/ 6 h 238"/>
                  <a:gd name="T14" fmla="*/ 154 w 186"/>
                  <a:gd name="T15" fmla="*/ 4 h 238"/>
                  <a:gd name="T16" fmla="*/ 164 w 186"/>
                  <a:gd name="T17" fmla="*/ 2 h 238"/>
                  <a:gd name="T18" fmla="*/ 186 w 186"/>
                  <a:gd name="T19" fmla="*/ 0 h 238"/>
                  <a:gd name="T20" fmla="*/ 180 w 186"/>
                  <a:gd name="T21" fmla="*/ 76 h 238"/>
                  <a:gd name="T22" fmla="*/ 180 w 186"/>
                  <a:gd name="T23" fmla="*/ 76 h 238"/>
                  <a:gd name="T24" fmla="*/ 162 w 186"/>
                  <a:gd name="T25" fmla="*/ 76 h 238"/>
                  <a:gd name="T26" fmla="*/ 162 w 186"/>
                  <a:gd name="T27" fmla="*/ 76 h 238"/>
                  <a:gd name="T28" fmla="*/ 142 w 186"/>
                  <a:gd name="T29" fmla="*/ 78 h 238"/>
                  <a:gd name="T30" fmla="*/ 126 w 186"/>
                  <a:gd name="T31" fmla="*/ 82 h 238"/>
                  <a:gd name="T32" fmla="*/ 116 w 186"/>
                  <a:gd name="T33" fmla="*/ 88 h 238"/>
                  <a:gd name="T34" fmla="*/ 108 w 186"/>
                  <a:gd name="T35" fmla="*/ 98 h 238"/>
                  <a:gd name="T36" fmla="*/ 104 w 186"/>
                  <a:gd name="T37" fmla="*/ 108 h 238"/>
                  <a:gd name="T38" fmla="*/ 100 w 186"/>
                  <a:gd name="T39" fmla="*/ 120 h 238"/>
                  <a:gd name="T40" fmla="*/ 98 w 186"/>
                  <a:gd name="T41" fmla="*/ 148 h 238"/>
                  <a:gd name="T42" fmla="*/ 92 w 186"/>
                  <a:gd name="T43" fmla="*/ 238 h 238"/>
                  <a:gd name="T44" fmla="*/ 0 w 186"/>
                  <a:gd name="T45" fmla="*/ 238 h 238"/>
                  <a:gd name="T46" fmla="*/ 14 w 186"/>
                  <a:gd name="T47" fmla="*/ 62 h 238"/>
                  <a:gd name="T48" fmla="*/ 14 w 186"/>
                  <a:gd name="T49" fmla="*/ 62 h 238"/>
                  <a:gd name="T50" fmla="*/ 14 w 186"/>
                  <a:gd name="T51" fmla="*/ 32 h 238"/>
                  <a:gd name="T52" fmla="*/ 14 w 186"/>
                  <a:gd name="T53" fmla="*/ 0 h 238"/>
                  <a:gd name="T54" fmla="*/ 102 w 186"/>
                  <a:gd name="T55" fmla="*/ 0 h 238"/>
                  <a:gd name="T56" fmla="*/ 106 w 186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6" h="238">
                    <a:moveTo>
                      <a:pt x="106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6" y="24"/>
                    </a:lnTo>
                    <a:lnTo>
                      <a:pt x="124" y="16"/>
                    </a:lnTo>
                    <a:lnTo>
                      <a:pt x="134" y="10"/>
                    </a:lnTo>
                    <a:lnTo>
                      <a:pt x="144" y="6"/>
                    </a:lnTo>
                    <a:lnTo>
                      <a:pt x="154" y="4"/>
                    </a:lnTo>
                    <a:lnTo>
                      <a:pt x="164" y="2"/>
                    </a:lnTo>
                    <a:lnTo>
                      <a:pt x="186" y="0"/>
                    </a:lnTo>
                    <a:lnTo>
                      <a:pt x="180" y="76"/>
                    </a:lnTo>
                    <a:lnTo>
                      <a:pt x="180" y="76"/>
                    </a:lnTo>
                    <a:lnTo>
                      <a:pt x="162" y="76"/>
                    </a:lnTo>
                    <a:lnTo>
                      <a:pt x="162" y="76"/>
                    </a:lnTo>
                    <a:lnTo>
                      <a:pt x="142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4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6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24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553074" y="553073"/>
            <a:ext cx="3571665" cy="316888"/>
          </a:xfrm>
        </p:spPr>
        <p:txBody>
          <a:bodyPr>
            <a:noAutofit/>
          </a:bodyPr>
          <a:lstStyle>
            <a:lvl1pPr marL="0" indent="0">
              <a:buNone/>
              <a:defRPr sz="1400" b="0" u="none">
                <a:solidFill>
                  <a:schemeClr val="accent1"/>
                </a:solidFill>
              </a:defRPr>
            </a:lvl1pPr>
            <a:lvl2pPr marL="457200" indent="0">
              <a:buNone/>
              <a:defRPr b="0" u="none"/>
            </a:lvl2pPr>
            <a:lvl3pPr marL="914400" indent="0">
              <a:buNone/>
              <a:defRPr b="0" u="none"/>
            </a:lvl3pPr>
            <a:lvl4pPr marL="1371600" indent="0">
              <a:buNone/>
              <a:defRPr b="0" u="none"/>
            </a:lvl4pPr>
            <a:lvl5pPr marL="1828800" indent="0">
              <a:buNone/>
              <a:defRPr b="0" u="none"/>
            </a:lvl5pPr>
          </a:lstStyle>
          <a:p>
            <a:pPr lvl="0"/>
            <a:r>
              <a:rPr lang="en-US"/>
              <a:t>BU/Function/Region</a:t>
            </a:r>
          </a:p>
        </p:txBody>
      </p:sp>
    </p:spTree>
    <p:extLst>
      <p:ext uri="{BB962C8B-B14F-4D97-AF65-F5344CB8AC3E}">
        <p14:creationId xmlns:p14="http://schemas.microsoft.com/office/powerpoint/2010/main" val="35343452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2560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10A5778-299C-493A-AFB0-D33009FA87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#›</a:t>
            </a:fld>
            <a:endParaRPr lang="pt-BR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64332016-4209-416C-BD8A-0D1A85C3D8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13C6D74-E510-4653-8167-66BA69DED0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B398293-0911-48B2-84B0-54BF41CA90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01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D692E59-BBA6-4B11-A2DB-C4A5A975D1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1606340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6CF1FC2-6B2A-4188-843F-D2BBD98EE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E3537B6-C82C-4D6D-A9D0-E56914E635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3520FB3-86C4-4C61-96E0-F1AC05418B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01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7ACA786-FF0F-408D-AA38-289437FC25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21AC6FD-91E6-4480-86EA-CCC584F82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3727274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4CE024E-7E30-4AE7-82F6-0774261304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78ECFA2-51F8-4806-8372-72FBDCC0425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17B6A13-7F46-4ED6-BCB0-D501E3A92F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FFC866D-2548-420A-A322-FC498D8635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01/04/2021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461399D-3C10-42B5-9132-5A052FF609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EA77A2F-E89A-4098-9D2B-133007DE96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247770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85E0786-B27E-4FC3-9F25-EB4371E14D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6626534C-38C7-4B51-9F0E-B7432FDE5B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C72746EF-BEF8-4106-AB06-FD2082EC0F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D8EF79C0-CD81-468D-90A5-DD43A122DDE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D7EB4155-0E9C-4081-8234-CDB26B2AA6A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010372B5-9AE6-4E64-88CD-B0640202A7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01/04/2021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F3CF5417-E862-42A6-9FC5-68EA3579E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2EB37315-75D2-48E9-A71A-D827D00873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94351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4922333-A7FA-41AA-A26C-8F7D4E4DC5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9E2E7D11-4E4E-4DC1-AF71-21D6F894C8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01/04/2021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375F8EF5-2D0C-4409-B64A-42E8CBBF4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CEF849AB-0651-468E-B095-33B94A58C8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181698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A6F8ACC5-479D-4645-9E5C-03A16E54B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01/04/2021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B9B21EA2-8EB3-4700-A504-84344641BC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F71AEE90-92E6-4C20-8F58-5B1E0F85AC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25560" y="6356349"/>
            <a:ext cx="2743200" cy="365125"/>
          </a:xfrm>
        </p:spPr>
        <p:txBody>
          <a:bodyPr/>
          <a:lstStyle/>
          <a:p>
            <a:fld id="{8259D607-121A-4C21-B44A-0424C0E9D8CD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500560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547B2A-96CE-4F63-8DCF-F756E5110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42F67C7-4B23-4122-9878-01E15CEF0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4F023EEF-94D9-48A6-B38E-812AFAC126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05B5053-E2B5-4B09-8E92-5252E91705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01/04/2021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287CCEC2-9294-4322-A8CA-042518449A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02572BE-BAB0-409F-B89D-771207007E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540019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5988" y="2374112"/>
            <a:ext cx="9144000" cy="1708150"/>
          </a:xfrm>
        </p:spPr>
        <p:txBody>
          <a:bodyPr anchor="ctr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5988" y="4174338"/>
            <a:ext cx="9144000" cy="7413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3E7FBFD-78E1-42FB-85FC-D9CE5E3DEFA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70622" y="276225"/>
            <a:ext cx="2165537" cy="271230"/>
            <a:chOff x="158750" y="276225"/>
            <a:chExt cx="6388100" cy="800100"/>
          </a:xfrm>
          <a:solidFill>
            <a:schemeClr val="bg1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158750" y="276225"/>
              <a:ext cx="857250" cy="736600"/>
            </a:xfrm>
            <a:custGeom>
              <a:avLst/>
              <a:gdLst>
                <a:gd name="T0" fmla="*/ 298 w 540"/>
                <a:gd name="T1" fmla="*/ 0 h 464"/>
                <a:gd name="T2" fmla="*/ 374 w 540"/>
                <a:gd name="T3" fmla="*/ 18 h 464"/>
                <a:gd name="T4" fmla="*/ 442 w 540"/>
                <a:gd name="T5" fmla="*/ 52 h 464"/>
                <a:gd name="T6" fmla="*/ 494 w 540"/>
                <a:gd name="T7" fmla="*/ 102 h 464"/>
                <a:gd name="T8" fmla="*/ 528 w 540"/>
                <a:gd name="T9" fmla="*/ 162 h 464"/>
                <a:gd name="T10" fmla="*/ 540 w 540"/>
                <a:gd name="T11" fmla="*/ 232 h 464"/>
                <a:gd name="T12" fmla="*/ 534 w 540"/>
                <a:gd name="T13" fmla="*/ 278 h 464"/>
                <a:gd name="T14" fmla="*/ 506 w 540"/>
                <a:gd name="T15" fmla="*/ 342 h 464"/>
                <a:gd name="T16" fmla="*/ 460 w 540"/>
                <a:gd name="T17" fmla="*/ 396 h 464"/>
                <a:gd name="T18" fmla="*/ 398 w 540"/>
                <a:gd name="T19" fmla="*/ 436 h 464"/>
                <a:gd name="T20" fmla="*/ 324 w 540"/>
                <a:gd name="T21" fmla="*/ 460 h 464"/>
                <a:gd name="T22" fmla="*/ 270 w 540"/>
                <a:gd name="T23" fmla="*/ 464 h 464"/>
                <a:gd name="T24" fmla="*/ 190 w 540"/>
                <a:gd name="T25" fmla="*/ 454 h 464"/>
                <a:gd name="T26" fmla="*/ 118 w 540"/>
                <a:gd name="T27" fmla="*/ 424 h 464"/>
                <a:gd name="T28" fmla="*/ 62 w 540"/>
                <a:gd name="T29" fmla="*/ 380 h 464"/>
                <a:gd name="T30" fmla="*/ 20 w 540"/>
                <a:gd name="T31" fmla="*/ 322 h 464"/>
                <a:gd name="T32" fmla="*/ 2 w 540"/>
                <a:gd name="T33" fmla="*/ 256 h 464"/>
                <a:gd name="T34" fmla="*/ 2 w 540"/>
                <a:gd name="T35" fmla="*/ 208 h 464"/>
                <a:gd name="T36" fmla="*/ 20 w 540"/>
                <a:gd name="T37" fmla="*/ 142 h 464"/>
                <a:gd name="T38" fmla="*/ 62 w 540"/>
                <a:gd name="T39" fmla="*/ 84 h 464"/>
                <a:gd name="T40" fmla="*/ 118 w 540"/>
                <a:gd name="T41" fmla="*/ 40 h 464"/>
                <a:gd name="T42" fmla="*/ 190 w 540"/>
                <a:gd name="T43" fmla="*/ 10 h 464"/>
                <a:gd name="T44" fmla="*/ 270 w 540"/>
                <a:gd name="T45" fmla="*/ 0 h 464"/>
                <a:gd name="T46" fmla="*/ 270 w 540"/>
                <a:gd name="T47" fmla="*/ 232 h 464"/>
                <a:gd name="T48" fmla="*/ 220 w 540"/>
                <a:gd name="T49" fmla="*/ 196 h 464"/>
                <a:gd name="T50" fmla="*/ 208 w 540"/>
                <a:gd name="T51" fmla="*/ 176 h 464"/>
                <a:gd name="T52" fmla="*/ 156 w 540"/>
                <a:gd name="T53" fmla="*/ 130 h 464"/>
                <a:gd name="T54" fmla="*/ 76 w 540"/>
                <a:gd name="T55" fmla="*/ 152 h 464"/>
                <a:gd name="T56" fmla="*/ 130 w 540"/>
                <a:gd name="T57" fmla="*/ 204 h 464"/>
                <a:gd name="T58" fmla="*/ 138 w 540"/>
                <a:gd name="T59" fmla="*/ 230 h 464"/>
                <a:gd name="T60" fmla="*/ 132 w 540"/>
                <a:gd name="T61" fmla="*/ 244 h 464"/>
                <a:gd name="T62" fmla="*/ 108 w 540"/>
                <a:gd name="T63" fmla="*/ 250 h 464"/>
                <a:gd name="T64" fmla="*/ 38 w 540"/>
                <a:gd name="T65" fmla="*/ 330 h 464"/>
                <a:gd name="T66" fmla="*/ 146 w 540"/>
                <a:gd name="T67" fmla="*/ 330 h 464"/>
                <a:gd name="T68" fmla="*/ 186 w 540"/>
                <a:gd name="T69" fmla="*/ 320 h 464"/>
                <a:gd name="T70" fmla="*/ 214 w 540"/>
                <a:gd name="T71" fmla="*/ 296 h 464"/>
                <a:gd name="T72" fmla="*/ 320 w 540"/>
                <a:gd name="T73" fmla="*/ 390 h 464"/>
                <a:gd name="T74" fmla="*/ 326 w 540"/>
                <a:gd name="T75" fmla="*/ 296 h 464"/>
                <a:gd name="T76" fmla="*/ 352 w 540"/>
                <a:gd name="T77" fmla="*/ 320 h 464"/>
                <a:gd name="T78" fmla="*/ 392 w 540"/>
                <a:gd name="T79" fmla="*/ 330 h 464"/>
                <a:gd name="T80" fmla="*/ 500 w 540"/>
                <a:gd name="T81" fmla="*/ 250 h 464"/>
                <a:gd name="T82" fmla="*/ 432 w 540"/>
                <a:gd name="T83" fmla="*/ 250 h 464"/>
                <a:gd name="T84" fmla="*/ 408 w 540"/>
                <a:gd name="T85" fmla="*/ 244 h 464"/>
                <a:gd name="T86" fmla="*/ 400 w 540"/>
                <a:gd name="T87" fmla="*/ 230 h 464"/>
                <a:gd name="T88" fmla="*/ 410 w 540"/>
                <a:gd name="T89" fmla="*/ 204 h 464"/>
                <a:gd name="T90" fmla="*/ 462 w 540"/>
                <a:gd name="T91" fmla="*/ 152 h 464"/>
                <a:gd name="T92" fmla="*/ 382 w 540"/>
                <a:gd name="T93" fmla="*/ 130 h 464"/>
                <a:gd name="T94" fmla="*/ 330 w 540"/>
                <a:gd name="T95" fmla="*/ 176 h 464"/>
                <a:gd name="T96" fmla="*/ 320 w 540"/>
                <a:gd name="T97" fmla="*/ 19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40" h="464">
                  <a:moveTo>
                    <a:pt x="270" y="0"/>
                  </a:moveTo>
                  <a:lnTo>
                    <a:pt x="270" y="0"/>
                  </a:lnTo>
                  <a:lnTo>
                    <a:pt x="298" y="0"/>
                  </a:lnTo>
                  <a:lnTo>
                    <a:pt x="324" y="4"/>
                  </a:lnTo>
                  <a:lnTo>
                    <a:pt x="350" y="10"/>
                  </a:lnTo>
                  <a:lnTo>
                    <a:pt x="374" y="18"/>
                  </a:lnTo>
                  <a:lnTo>
                    <a:pt x="398" y="28"/>
                  </a:lnTo>
                  <a:lnTo>
                    <a:pt x="420" y="40"/>
                  </a:lnTo>
                  <a:lnTo>
                    <a:pt x="442" y="52"/>
                  </a:lnTo>
                  <a:lnTo>
                    <a:pt x="460" y="68"/>
                  </a:lnTo>
                  <a:lnTo>
                    <a:pt x="478" y="84"/>
                  </a:lnTo>
                  <a:lnTo>
                    <a:pt x="494" y="102"/>
                  </a:lnTo>
                  <a:lnTo>
                    <a:pt x="506" y="122"/>
                  </a:lnTo>
                  <a:lnTo>
                    <a:pt x="518" y="142"/>
                  </a:lnTo>
                  <a:lnTo>
                    <a:pt x="528" y="162"/>
                  </a:lnTo>
                  <a:lnTo>
                    <a:pt x="534" y="184"/>
                  </a:lnTo>
                  <a:lnTo>
                    <a:pt x="538" y="208"/>
                  </a:lnTo>
                  <a:lnTo>
                    <a:pt x="540" y="232"/>
                  </a:lnTo>
                  <a:lnTo>
                    <a:pt x="540" y="232"/>
                  </a:lnTo>
                  <a:lnTo>
                    <a:pt x="538" y="256"/>
                  </a:lnTo>
                  <a:lnTo>
                    <a:pt x="534" y="278"/>
                  </a:lnTo>
                  <a:lnTo>
                    <a:pt x="528" y="300"/>
                  </a:lnTo>
                  <a:lnTo>
                    <a:pt x="518" y="322"/>
                  </a:lnTo>
                  <a:lnTo>
                    <a:pt x="506" y="342"/>
                  </a:lnTo>
                  <a:lnTo>
                    <a:pt x="494" y="362"/>
                  </a:lnTo>
                  <a:lnTo>
                    <a:pt x="478" y="380"/>
                  </a:lnTo>
                  <a:lnTo>
                    <a:pt x="460" y="396"/>
                  </a:lnTo>
                  <a:lnTo>
                    <a:pt x="442" y="410"/>
                  </a:lnTo>
                  <a:lnTo>
                    <a:pt x="420" y="424"/>
                  </a:lnTo>
                  <a:lnTo>
                    <a:pt x="398" y="436"/>
                  </a:lnTo>
                  <a:lnTo>
                    <a:pt x="374" y="446"/>
                  </a:lnTo>
                  <a:lnTo>
                    <a:pt x="350" y="454"/>
                  </a:lnTo>
                  <a:lnTo>
                    <a:pt x="324" y="460"/>
                  </a:lnTo>
                  <a:lnTo>
                    <a:pt x="298" y="462"/>
                  </a:lnTo>
                  <a:lnTo>
                    <a:pt x="270" y="464"/>
                  </a:lnTo>
                  <a:lnTo>
                    <a:pt x="270" y="464"/>
                  </a:lnTo>
                  <a:lnTo>
                    <a:pt x="242" y="462"/>
                  </a:lnTo>
                  <a:lnTo>
                    <a:pt x="216" y="458"/>
                  </a:lnTo>
                  <a:lnTo>
                    <a:pt x="190" y="454"/>
                  </a:lnTo>
                  <a:lnTo>
                    <a:pt x="164" y="446"/>
                  </a:lnTo>
                  <a:lnTo>
                    <a:pt x="140" y="436"/>
                  </a:lnTo>
                  <a:lnTo>
                    <a:pt x="118" y="424"/>
                  </a:lnTo>
                  <a:lnTo>
                    <a:pt x="98" y="410"/>
                  </a:lnTo>
                  <a:lnTo>
                    <a:pt x="78" y="396"/>
                  </a:lnTo>
                  <a:lnTo>
                    <a:pt x="62" y="380"/>
                  </a:lnTo>
                  <a:lnTo>
                    <a:pt x="46" y="362"/>
                  </a:lnTo>
                  <a:lnTo>
                    <a:pt x="32" y="342"/>
                  </a:lnTo>
                  <a:lnTo>
                    <a:pt x="20" y="322"/>
                  </a:lnTo>
                  <a:lnTo>
                    <a:pt x="12" y="300"/>
                  </a:lnTo>
                  <a:lnTo>
                    <a:pt x="6" y="278"/>
                  </a:lnTo>
                  <a:lnTo>
                    <a:pt x="2" y="256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08"/>
                  </a:lnTo>
                  <a:lnTo>
                    <a:pt x="6" y="184"/>
                  </a:lnTo>
                  <a:lnTo>
                    <a:pt x="12" y="162"/>
                  </a:lnTo>
                  <a:lnTo>
                    <a:pt x="20" y="142"/>
                  </a:lnTo>
                  <a:lnTo>
                    <a:pt x="32" y="120"/>
                  </a:lnTo>
                  <a:lnTo>
                    <a:pt x="46" y="102"/>
                  </a:lnTo>
                  <a:lnTo>
                    <a:pt x="62" y="84"/>
                  </a:lnTo>
                  <a:lnTo>
                    <a:pt x="78" y="68"/>
                  </a:lnTo>
                  <a:lnTo>
                    <a:pt x="98" y="52"/>
                  </a:lnTo>
                  <a:lnTo>
                    <a:pt x="118" y="40"/>
                  </a:lnTo>
                  <a:lnTo>
                    <a:pt x="140" y="28"/>
                  </a:lnTo>
                  <a:lnTo>
                    <a:pt x="164" y="18"/>
                  </a:lnTo>
                  <a:lnTo>
                    <a:pt x="190" y="10"/>
                  </a:lnTo>
                  <a:lnTo>
                    <a:pt x="216" y="4"/>
                  </a:lnTo>
                  <a:lnTo>
                    <a:pt x="242" y="0"/>
                  </a:lnTo>
                  <a:lnTo>
                    <a:pt x="270" y="0"/>
                  </a:lnTo>
                  <a:lnTo>
                    <a:pt x="270" y="0"/>
                  </a:lnTo>
                  <a:close/>
                  <a:moveTo>
                    <a:pt x="270" y="232"/>
                  </a:moveTo>
                  <a:lnTo>
                    <a:pt x="270" y="232"/>
                  </a:lnTo>
                  <a:close/>
                  <a:moveTo>
                    <a:pt x="220" y="50"/>
                  </a:moveTo>
                  <a:lnTo>
                    <a:pt x="220" y="50"/>
                  </a:lnTo>
                  <a:lnTo>
                    <a:pt x="220" y="196"/>
                  </a:lnTo>
                  <a:lnTo>
                    <a:pt x="220" y="196"/>
                  </a:lnTo>
                  <a:lnTo>
                    <a:pt x="214" y="186"/>
                  </a:lnTo>
                  <a:lnTo>
                    <a:pt x="208" y="176"/>
                  </a:lnTo>
                  <a:lnTo>
                    <a:pt x="194" y="160"/>
                  </a:lnTo>
                  <a:lnTo>
                    <a:pt x="176" y="144"/>
                  </a:lnTo>
                  <a:lnTo>
                    <a:pt x="156" y="130"/>
                  </a:lnTo>
                  <a:lnTo>
                    <a:pt x="48" y="130"/>
                  </a:lnTo>
                  <a:lnTo>
                    <a:pt x="48" y="130"/>
                  </a:lnTo>
                  <a:lnTo>
                    <a:pt x="76" y="152"/>
                  </a:lnTo>
                  <a:lnTo>
                    <a:pt x="106" y="178"/>
                  </a:lnTo>
                  <a:lnTo>
                    <a:pt x="120" y="192"/>
                  </a:lnTo>
                  <a:lnTo>
                    <a:pt x="130" y="204"/>
                  </a:lnTo>
                  <a:lnTo>
                    <a:pt x="136" y="218"/>
                  </a:lnTo>
                  <a:lnTo>
                    <a:pt x="138" y="230"/>
                  </a:lnTo>
                  <a:lnTo>
                    <a:pt x="138" y="230"/>
                  </a:lnTo>
                  <a:lnTo>
                    <a:pt x="138" y="236"/>
                  </a:lnTo>
                  <a:lnTo>
                    <a:pt x="136" y="240"/>
                  </a:lnTo>
                  <a:lnTo>
                    <a:pt x="132" y="244"/>
                  </a:lnTo>
                  <a:lnTo>
                    <a:pt x="128" y="246"/>
                  </a:lnTo>
                  <a:lnTo>
                    <a:pt x="11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38" y="25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146" y="330"/>
                  </a:lnTo>
                  <a:lnTo>
                    <a:pt x="146" y="330"/>
                  </a:lnTo>
                  <a:lnTo>
                    <a:pt x="166" y="328"/>
                  </a:lnTo>
                  <a:lnTo>
                    <a:pt x="176" y="324"/>
                  </a:lnTo>
                  <a:lnTo>
                    <a:pt x="186" y="320"/>
                  </a:lnTo>
                  <a:lnTo>
                    <a:pt x="196" y="314"/>
                  </a:lnTo>
                  <a:lnTo>
                    <a:pt x="206" y="306"/>
                  </a:lnTo>
                  <a:lnTo>
                    <a:pt x="214" y="296"/>
                  </a:lnTo>
                  <a:lnTo>
                    <a:pt x="220" y="284"/>
                  </a:lnTo>
                  <a:lnTo>
                    <a:pt x="220" y="390"/>
                  </a:lnTo>
                  <a:lnTo>
                    <a:pt x="320" y="390"/>
                  </a:lnTo>
                  <a:lnTo>
                    <a:pt x="320" y="284"/>
                  </a:lnTo>
                  <a:lnTo>
                    <a:pt x="320" y="284"/>
                  </a:lnTo>
                  <a:lnTo>
                    <a:pt x="326" y="296"/>
                  </a:lnTo>
                  <a:lnTo>
                    <a:pt x="334" y="306"/>
                  </a:lnTo>
                  <a:lnTo>
                    <a:pt x="342" y="314"/>
                  </a:lnTo>
                  <a:lnTo>
                    <a:pt x="352" y="320"/>
                  </a:lnTo>
                  <a:lnTo>
                    <a:pt x="362" y="324"/>
                  </a:lnTo>
                  <a:lnTo>
                    <a:pt x="372" y="328"/>
                  </a:lnTo>
                  <a:lnTo>
                    <a:pt x="392" y="330"/>
                  </a:lnTo>
                  <a:lnTo>
                    <a:pt x="392" y="330"/>
                  </a:lnTo>
                  <a:lnTo>
                    <a:pt x="500" y="330"/>
                  </a:lnTo>
                  <a:lnTo>
                    <a:pt x="500" y="250"/>
                  </a:lnTo>
                  <a:lnTo>
                    <a:pt x="500" y="250"/>
                  </a:lnTo>
                  <a:lnTo>
                    <a:pt x="432" y="250"/>
                  </a:lnTo>
                  <a:lnTo>
                    <a:pt x="432" y="250"/>
                  </a:lnTo>
                  <a:lnTo>
                    <a:pt x="422" y="250"/>
                  </a:lnTo>
                  <a:lnTo>
                    <a:pt x="412" y="246"/>
                  </a:lnTo>
                  <a:lnTo>
                    <a:pt x="408" y="244"/>
                  </a:lnTo>
                  <a:lnTo>
                    <a:pt x="404" y="240"/>
                  </a:lnTo>
                  <a:lnTo>
                    <a:pt x="402" y="236"/>
                  </a:lnTo>
                  <a:lnTo>
                    <a:pt x="400" y="230"/>
                  </a:lnTo>
                  <a:lnTo>
                    <a:pt x="400" y="230"/>
                  </a:lnTo>
                  <a:lnTo>
                    <a:pt x="402" y="218"/>
                  </a:lnTo>
                  <a:lnTo>
                    <a:pt x="410" y="204"/>
                  </a:lnTo>
                  <a:lnTo>
                    <a:pt x="420" y="192"/>
                  </a:lnTo>
                  <a:lnTo>
                    <a:pt x="432" y="178"/>
                  </a:lnTo>
                  <a:lnTo>
                    <a:pt x="462" y="152"/>
                  </a:lnTo>
                  <a:lnTo>
                    <a:pt x="492" y="130"/>
                  </a:lnTo>
                  <a:lnTo>
                    <a:pt x="382" y="130"/>
                  </a:lnTo>
                  <a:lnTo>
                    <a:pt x="382" y="130"/>
                  </a:lnTo>
                  <a:lnTo>
                    <a:pt x="364" y="144"/>
                  </a:lnTo>
                  <a:lnTo>
                    <a:pt x="346" y="160"/>
                  </a:lnTo>
                  <a:lnTo>
                    <a:pt x="330" y="176"/>
                  </a:lnTo>
                  <a:lnTo>
                    <a:pt x="324" y="186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20" y="50"/>
                  </a:lnTo>
                  <a:lnTo>
                    <a:pt x="22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1314450" y="339725"/>
              <a:ext cx="5232400" cy="736600"/>
              <a:chOff x="1314450" y="339725"/>
              <a:chExt cx="5232400" cy="736600"/>
            </a:xfrm>
            <a:grpFill/>
          </p:grpSpPr>
          <p:sp>
            <p:nvSpPr>
              <p:cNvPr id="11" name="Freeform 9"/>
              <p:cNvSpPr>
                <a:spLocks/>
              </p:cNvSpPr>
              <p:nvPr/>
            </p:nvSpPr>
            <p:spPr bwMode="auto">
              <a:xfrm>
                <a:off x="1908175" y="352425"/>
                <a:ext cx="139700" cy="98425"/>
              </a:xfrm>
              <a:custGeom>
                <a:avLst/>
                <a:gdLst>
                  <a:gd name="T0" fmla="*/ 4 w 88"/>
                  <a:gd name="T1" fmla="*/ 0 h 62"/>
                  <a:gd name="T2" fmla="*/ 88 w 88"/>
                  <a:gd name="T3" fmla="*/ 0 h 62"/>
                  <a:gd name="T4" fmla="*/ 84 w 88"/>
                  <a:gd name="T5" fmla="*/ 62 h 62"/>
                  <a:gd name="T6" fmla="*/ 0 w 88"/>
                  <a:gd name="T7" fmla="*/ 62 h 62"/>
                  <a:gd name="T8" fmla="*/ 4 w 88"/>
                  <a:gd name="T9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" h="62">
                    <a:moveTo>
                      <a:pt x="4" y="0"/>
                    </a:moveTo>
                    <a:lnTo>
                      <a:pt x="88" y="0"/>
                    </a:lnTo>
                    <a:lnTo>
                      <a:pt x="84" y="62"/>
                    </a:lnTo>
                    <a:lnTo>
                      <a:pt x="0" y="6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10"/>
              <p:cNvSpPr>
                <a:spLocks noEditPoints="1"/>
              </p:cNvSpPr>
              <p:nvPr/>
            </p:nvSpPr>
            <p:spPr bwMode="auto">
              <a:xfrm>
                <a:off x="5397500" y="504825"/>
                <a:ext cx="393700" cy="393700"/>
              </a:xfrm>
              <a:custGeom>
                <a:avLst/>
                <a:gdLst>
                  <a:gd name="T0" fmla="*/ 152 w 248"/>
                  <a:gd name="T1" fmla="*/ 216 h 248"/>
                  <a:gd name="T2" fmla="*/ 138 w 248"/>
                  <a:gd name="T3" fmla="*/ 228 h 248"/>
                  <a:gd name="T4" fmla="*/ 112 w 248"/>
                  <a:gd name="T5" fmla="*/ 242 h 248"/>
                  <a:gd name="T6" fmla="*/ 92 w 248"/>
                  <a:gd name="T7" fmla="*/ 246 h 248"/>
                  <a:gd name="T8" fmla="*/ 80 w 248"/>
                  <a:gd name="T9" fmla="*/ 248 h 248"/>
                  <a:gd name="T10" fmla="*/ 44 w 248"/>
                  <a:gd name="T11" fmla="*/ 242 h 248"/>
                  <a:gd name="T12" fmla="*/ 18 w 248"/>
                  <a:gd name="T13" fmla="*/ 226 h 248"/>
                  <a:gd name="T14" fmla="*/ 4 w 248"/>
                  <a:gd name="T15" fmla="*/ 202 h 248"/>
                  <a:gd name="T16" fmla="*/ 0 w 248"/>
                  <a:gd name="T17" fmla="*/ 174 h 248"/>
                  <a:gd name="T18" fmla="*/ 2 w 248"/>
                  <a:gd name="T19" fmla="*/ 156 h 248"/>
                  <a:gd name="T20" fmla="*/ 20 w 248"/>
                  <a:gd name="T21" fmla="*/ 128 h 248"/>
                  <a:gd name="T22" fmla="*/ 54 w 248"/>
                  <a:gd name="T23" fmla="*/ 108 h 248"/>
                  <a:gd name="T24" fmla="*/ 104 w 248"/>
                  <a:gd name="T25" fmla="*/ 98 h 248"/>
                  <a:gd name="T26" fmla="*/ 162 w 248"/>
                  <a:gd name="T27" fmla="*/ 96 h 248"/>
                  <a:gd name="T28" fmla="*/ 164 w 248"/>
                  <a:gd name="T29" fmla="*/ 78 h 248"/>
                  <a:gd name="T30" fmla="*/ 162 w 248"/>
                  <a:gd name="T31" fmla="*/ 60 h 248"/>
                  <a:gd name="T32" fmla="*/ 154 w 248"/>
                  <a:gd name="T33" fmla="*/ 46 h 248"/>
                  <a:gd name="T34" fmla="*/ 136 w 248"/>
                  <a:gd name="T35" fmla="*/ 40 h 248"/>
                  <a:gd name="T36" fmla="*/ 126 w 248"/>
                  <a:gd name="T37" fmla="*/ 42 h 248"/>
                  <a:gd name="T38" fmla="*/ 114 w 248"/>
                  <a:gd name="T39" fmla="*/ 48 h 248"/>
                  <a:gd name="T40" fmla="*/ 106 w 248"/>
                  <a:gd name="T41" fmla="*/ 66 h 248"/>
                  <a:gd name="T42" fmla="*/ 22 w 248"/>
                  <a:gd name="T43" fmla="*/ 76 h 248"/>
                  <a:gd name="T44" fmla="*/ 24 w 248"/>
                  <a:gd name="T45" fmla="*/ 66 h 248"/>
                  <a:gd name="T46" fmla="*/ 28 w 248"/>
                  <a:gd name="T47" fmla="*/ 46 h 248"/>
                  <a:gd name="T48" fmla="*/ 38 w 248"/>
                  <a:gd name="T49" fmla="*/ 30 h 248"/>
                  <a:gd name="T50" fmla="*/ 54 w 248"/>
                  <a:gd name="T51" fmla="*/ 18 h 248"/>
                  <a:gd name="T52" fmla="*/ 62 w 248"/>
                  <a:gd name="T53" fmla="*/ 14 h 248"/>
                  <a:gd name="T54" fmla="*/ 102 w 248"/>
                  <a:gd name="T55" fmla="*/ 2 h 248"/>
                  <a:gd name="T56" fmla="*/ 144 w 248"/>
                  <a:gd name="T57" fmla="*/ 0 h 248"/>
                  <a:gd name="T58" fmla="*/ 164 w 248"/>
                  <a:gd name="T59" fmla="*/ 0 h 248"/>
                  <a:gd name="T60" fmla="*/ 200 w 248"/>
                  <a:gd name="T61" fmla="*/ 10 h 248"/>
                  <a:gd name="T62" fmla="*/ 230 w 248"/>
                  <a:gd name="T63" fmla="*/ 30 h 248"/>
                  <a:gd name="T64" fmla="*/ 240 w 248"/>
                  <a:gd name="T65" fmla="*/ 44 h 248"/>
                  <a:gd name="T66" fmla="*/ 246 w 248"/>
                  <a:gd name="T67" fmla="*/ 62 h 248"/>
                  <a:gd name="T68" fmla="*/ 248 w 248"/>
                  <a:gd name="T69" fmla="*/ 82 h 248"/>
                  <a:gd name="T70" fmla="*/ 242 w 248"/>
                  <a:gd name="T71" fmla="*/ 196 h 248"/>
                  <a:gd name="T72" fmla="*/ 242 w 248"/>
                  <a:gd name="T73" fmla="*/ 246 h 248"/>
                  <a:gd name="T74" fmla="*/ 152 w 248"/>
                  <a:gd name="T75" fmla="*/ 216 h 248"/>
                  <a:gd name="T76" fmla="*/ 114 w 248"/>
                  <a:gd name="T77" fmla="*/ 200 h 248"/>
                  <a:gd name="T78" fmla="*/ 138 w 248"/>
                  <a:gd name="T79" fmla="*/ 194 h 248"/>
                  <a:gd name="T80" fmla="*/ 152 w 248"/>
                  <a:gd name="T81" fmla="*/ 176 h 248"/>
                  <a:gd name="T82" fmla="*/ 158 w 248"/>
                  <a:gd name="T83" fmla="*/ 154 h 248"/>
                  <a:gd name="T84" fmla="*/ 160 w 248"/>
                  <a:gd name="T85" fmla="*/ 130 h 248"/>
                  <a:gd name="T86" fmla="*/ 122 w 248"/>
                  <a:gd name="T87" fmla="*/ 132 h 248"/>
                  <a:gd name="T88" fmla="*/ 110 w 248"/>
                  <a:gd name="T89" fmla="*/ 134 h 248"/>
                  <a:gd name="T90" fmla="*/ 94 w 248"/>
                  <a:gd name="T91" fmla="*/ 148 h 248"/>
                  <a:gd name="T92" fmla="*/ 86 w 248"/>
                  <a:gd name="T93" fmla="*/ 170 h 248"/>
                  <a:gd name="T94" fmla="*/ 86 w 248"/>
                  <a:gd name="T95" fmla="*/ 176 h 248"/>
                  <a:gd name="T96" fmla="*/ 92 w 248"/>
                  <a:gd name="T97" fmla="*/ 192 h 248"/>
                  <a:gd name="T98" fmla="*/ 102 w 248"/>
                  <a:gd name="T99" fmla="*/ 198 h 248"/>
                  <a:gd name="T100" fmla="*/ 114 w 248"/>
                  <a:gd name="T101" fmla="*/ 20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8" h="248">
                    <a:moveTo>
                      <a:pt x="152" y="216"/>
                    </a:moveTo>
                    <a:lnTo>
                      <a:pt x="152" y="216"/>
                    </a:lnTo>
                    <a:lnTo>
                      <a:pt x="152" y="216"/>
                    </a:lnTo>
                    <a:lnTo>
                      <a:pt x="138" y="228"/>
                    </a:lnTo>
                    <a:lnTo>
                      <a:pt x="122" y="238"/>
                    </a:lnTo>
                    <a:lnTo>
                      <a:pt x="112" y="242"/>
                    </a:lnTo>
                    <a:lnTo>
                      <a:pt x="102" y="246"/>
                    </a:lnTo>
                    <a:lnTo>
                      <a:pt x="92" y="246"/>
                    </a:lnTo>
                    <a:lnTo>
                      <a:pt x="80" y="248"/>
                    </a:lnTo>
                    <a:lnTo>
                      <a:pt x="80" y="248"/>
                    </a:lnTo>
                    <a:lnTo>
                      <a:pt x="60" y="246"/>
                    </a:lnTo>
                    <a:lnTo>
                      <a:pt x="44" y="242"/>
                    </a:lnTo>
                    <a:lnTo>
                      <a:pt x="30" y="234"/>
                    </a:lnTo>
                    <a:lnTo>
                      <a:pt x="18" y="226"/>
                    </a:lnTo>
                    <a:lnTo>
                      <a:pt x="10" y="216"/>
                    </a:lnTo>
                    <a:lnTo>
                      <a:pt x="4" y="202"/>
                    </a:lnTo>
                    <a:lnTo>
                      <a:pt x="0" y="188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2" y="156"/>
                    </a:lnTo>
                    <a:lnTo>
                      <a:pt x="8" y="142"/>
                    </a:lnTo>
                    <a:lnTo>
                      <a:pt x="20" y="128"/>
                    </a:lnTo>
                    <a:lnTo>
                      <a:pt x="34" y="116"/>
                    </a:lnTo>
                    <a:lnTo>
                      <a:pt x="54" y="108"/>
                    </a:lnTo>
                    <a:lnTo>
                      <a:pt x="76" y="102"/>
                    </a:lnTo>
                    <a:lnTo>
                      <a:pt x="104" y="98"/>
                    </a:lnTo>
                    <a:lnTo>
                      <a:pt x="134" y="96"/>
                    </a:lnTo>
                    <a:lnTo>
                      <a:pt x="162" y="96"/>
                    </a:lnTo>
                    <a:lnTo>
                      <a:pt x="162" y="96"/>
                    </a:lnTo>
                    <a:lnTo>
                      <a:pt x="164" y="78"/>
                    </a:lnTo>
                    <a:lnTo>
                      <a:pt x="164" y="70"/>
                    </a:lnTo>
                    <a:lnTo>
                      <a:pt x="162" y="60"/>
                    </a:lnTo>
                    <a:lnTo>
                      <a:pt x="160" y="52"/>
                    </a:lnTo>
                    <a:lnTo>
                      <a:pt x="154" y="46"/>
                    </a:lnTo>
                    <a:lnTo>
                      <a:pt x="146" y="42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26" y="42"/>
                    </a:lnTo>
                    <a:lnTo>
                      <a:pt x="120" y="44"/>
                    </a:lnTo>
                    <a:lnTo>
                      <a:pt x="114" y="48"/>
                    </a:lnTo>
                    <a:lnTo>
                      <a:pt x="110" y="54"/>
                    </a:lnTo>
                    <a:lnTo>
                      <a:pt x="106" y="66"/>
                    </a:lnTo>
                    <a:lnTo>
                      <a:pt x="104" y="76"/>
                    </a:lnTo>
                    <a:lnTo>
                      <a:pt x="22" y="76"/>
                    </a:lnTo>
                    <a:lnTo>
                      <a:pt x="22" y="76"/>
                    </a:lnTo>
                    <a:lnTo>
                      <a:pt x="24" y="66"/>
                    </a:lnTo>
                    <a:lnTo>
                      <a:pt x="26" y="54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38" y="30"/>
                    </a:lnTo>
                    <a:lnTo>
                      <a:pt x="46" y="24"/>
                    </a:lnTo>
                    <a:lnTo>
                      <a:pt x="54" y="18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2" y="6"/>
                    </a:lnTo>
                    <a:lnTo>
                      <a:pt x="102" y="2"/>
                    </a:lnTo>
                    <a:lnTo>
                      <a:pt x="124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64" y="0"/>
                    </a:lnTo>
                    <a:lnTo>
                      <a:pt x="182" y="4"/>
                    </a:lnTo>
                    <a:lnTo>
                      <a:pt x="200" y="10"/>
                    </a:lnTo>
                    <a:lnTo>
                      <a:pt x="216" y="18"/>
                    </a:lnTo>
                    <a:lnTo>
                      <a:pt x="230" y="30"/>
                    </a:lnTo>
                    <a:lnTo>
                      <a:pt x="236" y="38"/>
                    </a:lnTo>
                    <a:lnTo>
                      <a:pt x="240" y="44"/>
                    </a:lnTo>
                    <a:lnTo>
                      <a:pt x="244" y="52"/>
                    </a:lnTo>
                    <a:lnTo>
                      <a:pt x="246" y="62"/>
                    </a:lnTo>
                    <a:lnTo>
                      <a:pt x="248" y="72"/>
                    </a:lnTo>
                    <a:lnTo>
                      <a:pt x="248" y="82"/>
                    </a:lnTo>
                    <a:lnTo>
                      <a:pt x="242" y="196"/>
                    </a:lnTo>
                    <a:lnTo>
                      <a:pt x="242" y="196"/>
                    </a:lnTo>
                    <a:lnTo>
                      <a:pt x="240" y="214"/>
                    </a:lnTo>
                    <a:lnTo>
                      <a:pt x="242" y="246"/>
                    </a:lnTo>
                    <a:lnTo>
                      <a:pt x="158" y="246"/>
                    </a:lnTo>
                    <a:lnTo>
                      <a:pt x="152" y="216"/>
                    </a:lnTo>
                    <a:close/>
                    <a:moveTo>
                      <a:pt x="114" y="200"/>
                    </a:moveTo>
                    <a:lnTo>
                      <a:pt x="114" y="200"/>
                    </a:lnTo>
                    <a:lnTo>
                      <a:pt x="128" y="198"/>
                    </a:lnTo>
                    <a:lnTo>
                      <a:pt x="138" y="194"/>
                    </a:lnTo>
                    <a:lnTo>
                      <a:pt x="146" y="186"/>
                    </a:lnTo>
                    <a:lnTo>
                      <a:pt x="152" y="176"/>
                    </a:lnTo>
                    <a:lnTo>
                      <a:pt x="156" y="166"/>
                    </a:lnTo>
                    <a:lnTo>
                      <a:pt x="158" y="154"/>
                    </a:lnTo>
                    <a:lnTo>
                      <a:pt x="160" y="130"/>
                    </a:lnTo>
                    <a:lnTo>
                      <a:pt x="160" y="130"/>
                    </a:lnTo>
                    <a:lnTo>
                      <a:pt x="134" y="130"/>
                    </a:lnTo>
                    <a:lnTo>
                      <a:pt x="122" y="132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2" y="140"/>
                    </a:lnTo>
                    <a:lnTo>
                      <a:pt x="94" y="148"/>
                    </a:lnTo>
                    <a:lnTo>
                      <a:pt x="88" y="158"/>
                    </a:lnTo>
                    <a:lnTo>
                      <a:pt x="86" y="170"/>
                    </a:lnTo>
                    <a:lnTo>
                      <a:pt x="86" y="170"/>
                    </a:lnTo>
                    <a:lnTo>
                      <a:pt x="86" y="176"/>
                    </a:lnTo>
                    <a:lnTo>
                      <a:pt x="88" y="182"/>
                    </a:lnTo>
                    <a:lnTo>
                      <a:pt x="92" y="192"/>
                    </a:lnTo>
                    <a:lnTo>
                      <a:pt x="96" y="194"/>
                    </a:lnTo>
                    <a:lnTo>
                      <a:pt x="102" y="198"/>
                    </a:lnTo>
                    <a:lnTo>
                      <a:pt x="108" y="200"/>
                    </a:lnTo>
                    <a:lnTo>
                      <a:pt x="114" y="200"/>
                    </a:lnTo>
                    <a:lnTo>
                      <a:pt x="114" y="2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11"/>
              <p:cNvSpPr>
                <a:spLocks noEditPoints="1"/>
              </p:cNvSpPr>
              <p:nvPr/>
            </p:nvSpPr>
            <p:spPr bwMode="auto">
              <a:xfrm>
                <a:off x="6092825" y="352425"/>
                <a:ext cx="454025" cy="542925"/>
              </a:xfrm>
              <a:custGeom>
                <a:avLst/>
                <a:gdLst>
                  <a:gd name="T0" fmla="*/ 0 w 286"/>
                  <a:gd name="T1" fmla="*/ 342 h 342"/>
                  <a:gd name="T2" fmla="*/ 24 w 286"/>
                  <a:gd name="T3" fmla="*/ 0 h 342"/>
                  <a:gd name="T4" fmla="*/ 114 w 286"/>
                  <a:gd name="T5" fmla="*/ 0 h 342"/>
                  <a:gd name="T6" fmla="*/ 90 w 286"/>
                  <a:gd name="T7" fmla="*/ 342 h 342"/>
                  <a:gd name="T8" fmla="*/ 0 w 286"/>
                  <a:gd name="T9" fmla="*/ 342 h 342"/>
                  <a:gd name="T10" fmla="*/ 100 w 286"/>
                  <a:gd name="T11" fmla="*/ 210 h 342"/>
                  <a:gd name="T12" fmla="*/ 184 w 286"/>
                  <a:gd name="T13" fmla="*/ 104 h 342"/>
                  <a:gd name="T14" fmla="*/ 286 w 286"/>
                  <a:gd name="T15" fmla="*/ 104 h 342"/>
                  <a:gd name="T16" fmla="*/ 194 w 286"/>
                  <a:gd name="T17" fmla="*/ 204 h 342"/>
                  <a:gd name="T18" fmla="*/ 282 w 286"/>
                  <a:gd name="T19" fmla="*/ 342 h 342"/>
                  <a:gd name="T20" fmla="*/ 170 w 286"/>
                  <a:gd name="T21" fmla="*/ 342 h 342"/>
                  <a:gd name="T22" fmla="*/ 100 w 286"/>
                  <a:gd name="T23" fmla="*/ 21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6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4" y="0"/>
                    </a:lnTo>
                    <a:lnTo>
                      <a:pt x="90" y="342"/>
                    </a:lnTo>
                    <a:lnTo>
                      <a:pt x="0" y="342"/>
                    </a:lnTo>
                    <a:close/>
                    <a:moveTo>
                      <a:pt x="100" y="210"/>
                    </a:moveTo>
                    <a:lnTo>
                      <a:pt x="184" y="104"/>
                    </a:lnTo>
                    <a:lnTo>
                      <a:pt x="286" y="104"/>
                    </a:lnTo>
                    <a:lnTo>
                      <a:pt x="194" y="204"/>
                    </a:lnTo>
                    <a:lnTo>
                      <a:pt x="282" y="342"/>
                    </a:lnTo>
                    <a:lnTo>
                      <a:pt x="170" y="342"/>
                    </a:lnTo>
                    <a:lnTo>
                      <a:pt x="10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12"/>
              <p:cNvSpPr>
                <a:spLocks/>
              </p:cNvSpPr>
              <p:nvPr/>
            </p:nvSpPr>
            <p:spPr bwMode="auto">
              <a:xfrm>
                <a:off x="3606800" y="517525"/>
                <a:ext cx="292100" cy="377825"/>
              </a:xfrm>
              <a:custGeom>
                <a:avLst/>
                <a:gdLst>
                  <a:gd name="T0" fmla="*/ 104 w 184"/>
                  <a:gd name="T1" fmla="*/ 34 h 238"/>
                  <a:gd name="T2" fmla="*/ 106 w 184"/>
                  <a:gd name="T3" fmla="*/ 34 h 238"/>
                  <a:gd name="T4" fmla="*/ 106 w 184"/>
                  <a:gd name="T5" fmla="*/ 34 h 238"/>
                  <a:gd name="T6" fmla="*/ 114 w 184"/>
                  <a:gd name="T7" fmla="*/ 24 h 238"/>
                  <a:gd name="T8" fmla="*/ 124 w 184"/>
                  <a:gd name="T9" fmla="*/ 16 h 238"/>
                  <a:gd name="T10" fmla="*/ 132 w 184"/>
                  <a:gd name="T11" fmla="*/ 10 h 238"/>
                  <a:gd name="T12" fmla="*/ 142 w 184"/>
                  <a:gd name="T13" fmla="*/ 6 h 238"/>
                  <a:gd name="T14" fmla="*/ 152 w 184"/>
                  <a:gd name="T15" fmla="*/ 4 h 238"/>
                  <a:gd name="T16" fmla="*/ 162 w 184"/>
                  <a:gd name="T17" fmla="*/ 2 h 238"/>
                  <a:gd name="T18" fmla="*/ 184 w 184"/>
                  <a:gd name="T19" fmla="*/ 0 h 238"/>
                  <a:gd name="T20" fmla="*/ 178 w 184"/>
                  <a:gd name="T21" fmla="*/ 76 h 238"/>
                  <a:gd name="T22" fmla="*/ 178 w 184"/>
                  <a:gd name="T23" fmla="*/ 76 h 238"/>
                  <a:gd name="T24" fmla="*/ 160 w 184"/>
                  <a:gd name="T25" fmla="*/ 76 h 238"/>
                  <a:gd name="T26" fmla="*/ 160 w 184"/>
                  <a:gd name="T27" fmla="*/ 76 h 238"/>
                  <a:gd name="T28" fmla="*/ 140 w 184"/>
                  <a:gd name="T29" fmla="*/ 78 h 238"/>
                  <a:gd name="T30" fmla="*/ 126 w 184"/>
                  <a:gd name="T31" fmla="*/ 82 h 238"/>
                  <a:gd name="T32" fmla="*/ 116 w 184"/>
                  <a:gd name="T33" fmla="*/ 88 h 238"/>
                  <a:gd name="T34" fmla="*/ 108 w 184"/>
                  <a:gd name="T35" fmla="*/ 98 h 238"/>
                  <a:gd name="T36" fmla="*/ 102 w 184"/>
                  <a:gd name="T37" fmla="*/ 108 h 238"/>
                  <a:gd name="T38" fmla="*/ 100 w 184"/>
                  <a:gd name="T39" fmla="*/ 120 h 238"/>
                  <a:gd name="T40" fmla="*/ 98 w 184"/>
                  <a:gd name="T41" fmla="*/ 148 h 238"/>
                  <a:gd name="T42" fmla="*/ 92 w 184"/>
                  <a:gd name="T43" fmla="*/ 238 h 238"/>
                  <a:gd name="T44" fmla="*/ 0 w 184"/>
                  <a:gd name="T45" fmla="*/ 238 h 238"/>
                  <a:gd name="T46" fmla="*/ 12 w 184"/>
                  <a:gd name="T47" fmla="*/ 62 h 238"/>
                  <a:gd name="T48" fmla="*/ 12 w 184"/>
                  <a:gd name="T49" fmla="*/ 62 h 238"/>
                  <a:gd name="T50" fmla="*/ 14 w 184"/>
                  <a:gd name="T51" fmla="*/ 32 h 238"/>
                  <a:gd name="T52" fmla="*/ 14 w 184"/>
                  <a:gd name="T53" fmla="*/ 0 h 238"/>
                  <a:gd name="T54" fmla="*/ 102 w 184"/>
                  <a:gd name="T55" fmla="*/ 0 h 238"/>
                  <a:gd name="T56" fmla="*/ 104 w 184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4" h="238">
                    <a:moveTo>
                      <a:pt x="104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4" y="24"/>
                    </a:lnTo>
                    <a:lnTo>
                      <a:pt x="124" y="16"/>
                    </a:lnTo>
                    <a:lnTo>
                      <a:pt x="132" y="10"/>
                    </a:lnTo>
                    <a:lnTo>
                      <a:pt x="142" y="6"/>
                    </a:lnTo>
                    <a:lnTo>
                      <a:pt x="152" y="4"/>
                    </a:lnTo>
                    <a:lnTo>
                      <a:pt x="162" y="2"/>
                    </a:lnTo>
                    <a:lnTo>
                      <a:pt x="184" y="0"/>
                    </a:lnTo>
                    <a:lnTo>
                      <a:pt x="178" y="76"/>
                    </a:lnTo>
                    <a:lnTo>
                      <a:pt x="178" y="76"/>
                    </a:lnTo>
                    <a:lnTo>
                      <a:pt x="160" y="76"/>
                    </a:lnTo>
                    <a:lnTo>
                      <a:pt x="160" y="76"/>
                    </a:lnTo>
                    <a:lnTo>
                      <a:pt x="140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2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4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13"/>
              <p:cNvSpPr>
                <a:spLocks/>
              </p:cNvSpPr>
              <p:nvPr/>
            </p:nvSpPr>
            <p:spPr bwMode="auto">
              <a:xfrm>
                <a:off x="3889375" y="352425"/>
                <a:ext cx="174625" cy="542925"/>
              </a:xfrm>
              <a:custGeom>
                <a:avLst/>
                <a:gdLst>
                  <a:gd name="T0" fmla="*/ 0 w 110"/>
                  <a:gd name="T1" fmla="*/ 342 h 342"/>
                  <a:gd name="T2" fmla="*/ 24 w 110"/>
                  <a:gd name="T3" fmla="*/ 0 h 342"/>
                  <a:gd name="T4" fmla="*/ 110 w 110"/>
                  <a:gd name="T5" fmla="*/ 0 h 342"/>
                  <a:gd name="T6" fmla="*/ 86 w 110"/>
                  <a:gd name="T7" fmla="*/ 342 h 342"/>
                  <a:gd name="T8" fmla="*/ 0 w 110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0" y="0"/>
                    </a:lnTo>
                    <a:lnTo>
                      <a:pt x="86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14"/>
              <p:cNvSpPr>
                <a:spLocks noEditPoints="1"/>
              </p:cNvSpPr>
              <p:nvPr/>
            </p:nvSpPr>
            <p:spPr bwMode="auto">
              <a:xfrm>
                <a:off x="2740025" y="352425"/>
                <a:ext cx="438150" cy="546100"/>
              </a:xfrm>
              <a:custGeom>
                <a:avLst/>
                <a:gdLst>
                  <a:gd name="T0" fmla="*/ 112 w 276"/>
                  <a:gd name="T1" fmla="*/ 0 h 344"/>
                  <a:gd name="T2" fmla="*/ 104 w 276"/>
                  <a:gd name="T3" fmla="*/ 136 h 344"/>
                  <a:gd name="T4" fmla="*/ 120 w 276"/>
                  <a:gd name="T5" fmla="*/ 122 h 344"/>
                  <a:gd name="T6" fmla="*/ 146 w 276"/>
                  <a:gd name="T7" fmla="*/ 104 h 344"/>
                  <a:gd name="T8" fmla="*/ 168 w 276"/>
                  <a:gd name="T9" fmla="*/ 98 h 344"/>
                  <a:gd name="T10" fmla="*/ 180 w 276"/>
                  <a:gd name="T11" fmla="*/ 98 h 344"/>
                  <a:gd name="T12" fmla="*/ 206 w 276"/>
                  <a:gd name="T13" fmla="*/ 100 h 344"/>
                  <a:gd name="T14" fmla="*/ 226 w 276"/>
                  <a:gd name="T15" fmla="*/ 108 h 344"/>
                  <a:gd name="T16" fmla="*/ 244 w 276"/>
                  <a:gd name="T17" fmla="*/ 120 h 344"/>
                  <a:gd name="T18" fmla="*/ 258 w 276"/>
                  <a:gd name="T19" fmla="*/ 136 h 344"/>
                  <a:gd name="T20" fmla="*/ 274 w 276"/>
                  <a:gd name="T21" fmla="*/ 176 h 344"/>
                  <a:gd name="T22" fmla="*/ 276 w 276"/>
                  <a:gd name="T23" fmla="*/ 220 h 344"/>
                  <a:gd name="T24" fmla="*/ 274 w 276"/>
                  <a:gd name="T25" fmla="*/ 242 h 344"/>
                  <a:gd name="T26" fmla="*/ 260 w 276"/>
                  <a:gd name="T27" fmla="*/ 284 h 344"/>
                  <a:gd name="T28" fmla="*/ 240 w 276"/>
                  <a:gd name="T29" fmla="*/ 312 h 344"/>
                  <a:gd name="T30" fmla="*/ 222 w 276"/>
                  <a:gd name="T31" fmla="*/ 328 h 344"/>
                  <a:gd name="T32" fmla="*/ 202 w 276"/>
                  <a:gd name="T33" fmla="*/ 338 h 344"/>
                  <a:gd name="T34" fmla="*/ 176 w 276"/>
                  <a:gd name="T35" fmla="*/ 344 h 344"/>
                  <a:gd name="T36" fmla="*/ 160 w 276"/>
                  <a:gd name="T37" fmla="*/ 344 h 344"/>
                  <a:gd name="T38" fmla="*/ 140 w 276"/>
                  <a:gd name="T39" fmla="*/ 342 h 344"/>
                  <a:gd name="T40" fmla="*/ 106 w 276"/>
                  <a:gd name="T41" fmla="*/ 324 h 344"/>
                  <a:gd name="T42" fmla="*/ 92 w 276"/>
                  <a:gd name="T43" fmla="*/ 312 h 344"/>
                  <a:gd name="T44" fmla="*/ 0 w 276"/>
                  <a:gd name="T45" fmla="*/ 342 h 344"/>
                  <a:gd name="T46" fmla="*/ 94 w 276"/>
                  <a:gd name="T47" fmla="*/ 226 h 344"/>
                  <a:gd name="T48" fmla="*/ 96 w 276"/>
                  <a:gd name="T49" fmla="*/ 250 h 344"/>
                  <a:gd name="T50" fmla="*/ 102 w 276"/>
                  <a:gd name="T51" fmla="*/ 272 h 344"/>
                  <a:gd name="T52" fmla="*/ 114 w 276"/>
                  <a:gd name="T53" fmla="*/ 288 h 344"/>
                  <a:gd name="T54" fmla="*/ 134 w 276"/>
                  <a:gd name="T55" fmla="*/ 296 h 344"/>
                  <a:gd name="T56" fmla="*/ 148 w 276"/>
                  <a:gd name="T57" fmla="*/ 294 h 344"/>
                  <a:gd name="T58" fmla="*/ 168 w 276"/>
                  <a:gd name="T59" fmla="*/ 282 h 344"/>
                  <a:gd name="T60" fmla="*/ 180 w 276"/>
                  <a:gd name="T61" fmla="*/ 260 h 344"/>
                  <a:gd name="T62" fmla="*/ 186 w 276"/>
                  <a:gd name="T63" fmla="*/ 222 h 344"/>
                  <a:gd name="T64" fmla="*/ 186 w 276"/>
                  <a:gd name="T65" fmla="*/ 198 h 344"/>
                  <a:gd name="T66" fmla="*/ 180 w 276"/>
                  <a:gd name="T67" fmla="*/ 174 h 344"/>
                  <a:gd name="T68" fmla="*/ 168 w 276"/>
                  <a:gd name="T69" fmla="*/ 156 h 344"/>
                  <a:gd name="T70" fmla="*/ 146 w 276"/>
                  <a:gd name="T71" fmla="*/ 150 h 344"/>
                  <a:gd name="T72" fmla="*/ 132 w 276"/>
                  <a:gd name="T73" fmla="*/ 152 h 344"/>
                  <a:gd name="T74" fmla="*/ 112 w 276"/>
                  <a:gd name="T75" fmla="*/ 166 h 344"/>
                  <a:gd name="T76" fmla="*/ 100 w 276"/>
                  <a:gd name="T77" fmla="*/ 188 h 344"/>
                  <a:gd name="T78" fmla="*/ 94 w 276"/>
                  <a:gd name="T79" fmla="*/ 226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6" h="344">
                    <a:moveTo>
                      <a:pt x="24" y="0"/>
                    </a:moveTo>
                    <a:lnTo>
                      <a:pt x="112" y="0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20" y="122"/>
                    </a:lnTo>
                    <a:lnTo>
                      <a:pt x="138" y="108"/>
                    </a:lnTo>
                    <a:lnTo>
                      <a:pt x="146" y="104"/>
                    </a:lnTo>
                    <a:lnTo>
                      <a:pt x="158" y="100"/>
                    </a:lnTo>
                    <a:lnTo>
                      <a:pt x="168" y="98"/>
                    </a:lnTo>
                    <a:lnTo>
                      <a:pt x="180" y="98"/>
                    </a:lnTo>
                    <a:lnTo>
                      <a:pt x="180" y="98"/>
                    </a:lnTo>
                    <a:lnTo>
                      <a:pt x="194" y="98"/>
                    </a:lnTo>
                    <a:lnTo>
                      <a:pt x="206" y="100"/>
                    </a:lnTo>
                    <a:lnTo>
                      <a:pt x="216" y="104"/>
                    </a:lnTo>
                    <a:lnTo>
                      <a:pt x="226" y="108"/>
                    </a:lnTo>
                    <a:lnTo>
                      <a:pt x="236" y="114"/>
                    </a:lnTo>
                    <a:lnTo>
                      <a:pt x="244" y="120"/>
                    </a:lnTo>
                    <a:lnTo>
                      <a:pt x="250" y="128"/>
                    </a:lnTo>
                    <a:lnTo>
                      <a:pt x="258" y="136"/>
                    </a:lnTo>
                    <a:lnTo>
                      <a:pt x="266" y="156"/>
                    </a:lnTo>
                    <a:lnTo>
                      <a:pt x="274" y="176"/>
                    </a:lnTo>
                    <a:lnTo>
                      <a:pt x="276" y="198"/>
                    </a:lnTo>
                    <a:lnTo>
                      <a:pt x="276" y="220"/>
                    </a:lnTo>
                    <a:lnTo>
                      <a:pt x="276" y="220"/>
                    </a:lnTo>
                    <a:lnTo>
                      <a:pt x="274" y="242"/>
                    </a:lnTo>
                    <a:lnTo>
                      <a:pt x="268" y="264"/>
                    </a:lnTo>
                    <a:lnTo>
                      <a:pt x="260" y="284"/>
                    </a:lnTo>
                    <a:lnTo>
                      <a:pt x="248" y="304"/>
                    </a:lnTo>
                    <a:lnTo>
                      <a:pt x="240" y="312"/>
                    </a:lnTo>
                    <a:lnTo>
                      <a:pt x="232" y="320"/>
                    </a:lnTo>
                    <a:lnTo>
                      <a:pt x="222" y="328"/>
                    </a:lnTo>
                    <a:lnTo>
                      <a:pt x="212" y="334"/>
                    </a:lnTo>
                    <a:lnTo>
                      <a:pt x="202" y="338"/>
                    </a:lnTo>
                    <a:lnTo>
                      <a:pt x="188" y="342"/>
                    </a:lnTo>
                    <a:lnTo>
                      <a:pt x="176" y="344"/>
                    </a:lnTo>
                    <a:lnTo>
                      <a:pt x="160" y="344"/>
                    </a:lnTo>
                    <a:lnTo>
                      <a:pt x="160" y="344"/>
                    </a:lnTo>
                    <a:lnTo>
                      <a:pt x="150" y="344"/>
                    </a:lnTo>
                    <a:lnTo>
                      <a:pt x="140" y="342"/>
                    </a:lnTo>
                    <a:lnTo>
                      <a:pt x="122" y="336"/>
                    </a:lnTo>
                    <a:lnTo>
                      <a:pt x="106" y="324"/>
                    </a:lnTo>
                    <a:lnTo>
                      <a:pt x="94" y="312"/>
                    </a:lnTo>
                    <a:lnTo>
                      <a:pt x="92" y="312"/>
                    </a:lnTo>
                    <a:lnTo>
                      <a:pt x="88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  <a:moveTo>
                      <a:pt x="94" y="226"/>
                    </a:moveTo>
                    <a:lnTo>
                      <a:pt x="94" y="226"/>
                    </a:lnTo>
                    <a:lnTo>
                      <a:pt x="96" y="250"/>
                    </a:lnTo>
                    <a:lnTo>
                      <a:pt x="98" y="260"/>
                    </a:lnTo>
                    <a:lnTo>
                      <a:pt x="102" y="272"/>
                    </a:lnTo>
                    <a:lnTo>
                      <a:pt x="106" y="282"/>
                    </a:lnTo>
                    <a:lnTo>
                      <a:pt x="114" y="288"/>
                    </a:lnTo>
                    <a:lnTo>
                      <a:pt x="122" y="294"/>
                    </a:lnTo>
                    <a:lnTo>
                      <a:pt x="134" y="296"/>
                    </a:lnTo>
                    <a:lnTo>
                      <a:pt x="134" y="296"/>
                    </a:lnTo>
                    <a:lnTo>
                      <a:pt x="148" y="294"/>
                    </a:lnTo>
                    <a:lnTo>
                      <a:pt x="158" y="288"/>
                    </a:lnTo>
                    <a:lnTo>
                      <a:pt x="168" y="282"/>
                    </a:lnTo>
                    <a:lnTo>
                      <a:pt x="174" y="272"/>
                    </a:lnTo>
                    <a:lnTo>
                      <a:pt x="180" y="260"/>
                    </a:lnTo>
                    <a:lnTo>
                      <a:pt x="184" y="248"/>
                    </a:lnTo>
                    <a:lnTo>
                      <a:pt x="186" y="222"/>
                    </a:lnTo>
                    <a:lnTo>
                      <a:pt x="186" y="222"/>
                    </a:lnTo>
                    <a:lnTo>
                      <a:pt x="186" y="198"/>
                    </a:lnTo>
                    <a:lnTo>
                      <a:pt x="184" y="186"/>
                    </a:lnTo>
                    <a:lnTo>
                      <a:pt x="180" y="174"/>
                    </a:lnTo>
                    <a:lnTo>
                      <a:pt x="176" y="164"/>
                    </a:lnTo>
                    <a:lnTo>
                      <a:pt x="168" y="156"/>
                    </a:lnTo>
                    <a:lnTo>
                      <a:pt x="158" y="152"/>
                    </a:lnTo>
                    <a:lnTo>
                      <a:pt x="146" y="150"/>
                    </a:lnTo>
                    <a:lnTo>
                      <a:pt x="146" y="150"/>
                    </a:lnTo>
                    <a:lnTo>
                      <a:pt x="132" y="152"/>
                    </a:lnTo>
                    <a:lnTo>
                      <a:pt x="120" y="156"/>
                    </a:lnTo>
                    <a:lnTo>
                      <a:pt x="112" y="166"/>
                    </a:lnTo>
                    <a:lnTo>
                      <a:pt x="104" y="176"/>
                    </a:lnTo>
                    <a:lnTo>
                      <a:pt x="100" y="188"/>
                    </a:lnTo>
                    <a:lnTo>
                      <a:pt x="98" y="200"/>
                    </a:lnTo>
                    <a:lnTo>
                      <a:pt x="94" y="226"/>
                    </a:lnTo>
                    <a:lnTo>
                      <a:pt x="94" y="2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15"/>
              <p:cNvSpPr>
                <a:spLocks noEditPoints="1"/>
              </p:cNvSpPr>
              <p:nvPr/>
            </p:nvSpPr>
            <p:spPr bwMode="auto">
              <a:xfrm>
                <a:off x="3197225" y="504825"/>
                <a:ext cx="406400" cy="396875"/>
              </a:xfrm>
              <a:custGeom>
                <a:avLst/>
                <a:gdLst>
                  <a:gd name="T0" fmla="*/ 86 w 256"/>
                  <a:gd name="T1" fmla="*/ 142 h 250"/>
                  <a:gd name="T2" fmla="*/ 86 w 256"/>
                  <a:gd name="T3" fmla="*/ 166 h 250"/>
                  <a:gd name="T4" fmla="*/ 90 w 256"/>
                  <a:gd name="T5" fmla="*/ 184 h 250"/>
                  <a:gd name="T6" fmla="*/ 102 w 256"/>
                  <a:gd name="T7" fmla="*/ 196 h 250"/>
                  <a:gd name="T8" fmla="*/ 124 w 256"/>
                  <a:gd name="T9" fmla="*/ 202 h 250"/>
                  <a:gd name="T10" fmla="*/ 132 w 256"/>
                  <a:gd name="T11" fmla="*/ 200 h 250"/>
                  <a:gd name="T12" fmla="*/ 148 w 256"/>
                  <a:gd name="T13" fmla="*/ 196 h 250"/>
                  <a:gd name="T14" fmla="*/ 158 w 256"/>
                  <a:gd name="T15" fmla="*/ 186 h 250"/>
                  <a:gd name="T16" fmla="*/ 164 w 256"/>
                  <a:gd name="T17" fmla="*/ 174 h 250"/>
                  <a:gd name="T18" fmla="*/ 248 w 256"/>
                  <a:gd name="T19" fmla="*/ 170 h 250"/>
                  <a:gd name="T20" fmla="*/ 246 w 256"/>
                  <a:gd name="T21" fmla="*/ 180 h 250"/>
                  <a:gd name="T22" fmla="*/ 238 w 256"/>
                  <a:gd name="T23" fmla="*/ 198 h 250"/>
                  <a:gd name="T24" fmla="*/ 218 w 256"/>
                  <a:gd name="T25" fmla="*/ 222 h 250"/>
                  <a:gd name="T26" fmla="*/ 202 w 256"/>
                  <a:gd name="T27" fmla="*/ 234 h 250"/>
                  <a:gd name="T28" fmla="*/ 168 w 256"/>
                  <a:gd name="T29" fmla="*/ 246 h 250"/>
                  <a:gd name="T30" fmla="*/ 128 w 256"/>
                  <a:gd name="T31" fmla="*/ 250 h 250"/>
                  <a:gd name="T32" fmla="*/ 96 w 256"/>
                  <a:gd name="T33" fmla="*/ 248 h 250"/>
                  <a:gd name="T34" fmla="*/ 66 w 256"/>
                  <a:gd name="T35" fmla="*/ 242 h 250"/>
                  <a:gd name="T36" fmla="*/ 44 w 256"/>
                  <a:gd name="T37" fmla="*/ 232 h 250"/>
                  <a:gd name="T38" fmla="*/ 26 w 256"/>
                  <a:gd name="T39" fmla="*/ 218 h 250"/>
                  <a:gd name="T40" fmla="*/ 12 w 256"/>
                  <a:gd name="T41" fmla="*/ 200 h 250"/>
                  <a:gd name="T42" fmla="*/ 4 w 256"/>
                  <a:gd name="T43" fmla="*/ 178 h 250"/>
                  <a:gd name="T44" fmla="*/ 0 w 256"/>
                  <a:gd name="T45" fmla="*/ 150 h 250"/>
                  <a:gd name="T46" fmla="*/ 0 w 256"/>
                  <a:gd name="T47" fmla="*/ 118 h 250"/>
                  <a:gd name="T48" fmla="*/ 4 w 256"/>
                  <a:gd name="T49" fmla="*/ 92 h 250"/>
                  <a:gd name="T50" fmla="*/ 14 w 256"/>
                  <a:gd name="T51" fmla="*/ 68 h 250"/>
                  <a:gd name="T52" fmla="*/ 26 w 256"/>
                  <a:gd name="T53" fmla="*/ 48 h 250"/>
                  <a:gd name="T54" fmla="*/ 44 w 256"/>
                  <a:gd name="T55" fmla="*/ 32 h 250"/>
                  <a:gd name="T56" fmla="*/ 86 w 256"/>
                  <a:gd name="T57" fmla="*/ 8 h 250"/>
                  <a:gd name="T58" fmla="*/ 138 w 256"/>
                  <a:gd name="T59" fmla="*/ 0 h 250"/>
                  <a:gd name="T60" fmla="*/ 154 w 256"/>
                  <a:gd name="T61" fmla="*/ 2 h 250"/>
                  <a:gd name="T62" fmla="*/ 184 w 256"/>
                  <a:gd name="T63" fmla="*/ 6 h 250"/>
                  <a:gd name="T64" fmla="*/ 208 w 256"/>
                  <a:gd name="T65" fmla="*/ 18 h 250"/>
                  <a:gd name="T66" fmla="*/ 228 w 256"/>
                  <a:gd name="T67" fmla="*/ 32 h 250"/>
                  <a:gd name="T68" fmla="*/ 242 w 256"/>
                  <a:gd name="T69" fmla="*/ 50 h 250"/>
                  <a:gd name="T70" fmla="*/ 250 w 256"/>
                  <a:gd name="T71" fmla="*/ 72 h 250"/>
                  <a:gd name="T72" fmla="*/ 256 w 256"/>
                  <a:gd name="T73" fmla="*/ 112 h 250"/>
                  <a:gd name="T74" fmla="*/ 86 w 256"/>
                  <a:gd name="T75" fmla="*/ 142 h 250"/>
                  <a:gd name="T76" fmla="*/ 172 w 256"/>
                  <a:gd name="T77" fmla="*/ 98 h 250"/>
                  <a:gd name="T78" fmla="*/ 170 w 256"/>
                  <a:gd name="T79" fmla="*/ 78 h 250"/>
                  <a:gd name="T80" fmla="*/ 164 w 256"/>
                  <a:gd name="T81" fmla="*/ 62 h 250"/>
                  <a:gd name="T82" fmla="*/ 158 w 256"/>
                  <a:gd name="T83" fmla="*/ 56 h 250"/>
                  <a:gd name="T84" fmla="*/ 142 w 256"/>
                  <a:gd name="T85" fmla="*/ 48 h 250"/>
                  <a:gd name="T86" fmla="*/ 134 w 256"/>
                  <a:gd name="T87" fmla="*/ 46 h 250"/>
                  <a:gd name="T88" fmla="*/ 114 w 256"/>
                  <a:gd name="T89" fmla="*/ 52 h 250"/>
                  <a:gd name="T90" fmla="*/ 102 w 256"/>
                  <a:gd name="T91" fmla="*/ 62 h 250"/>
                  <a:gd name="T92" fmla="*/ 94 w 256"/>
                  <a:gd name="T93" fmla="*/ 78 h 250"/>
                  <a:gd name="T94" fmla="*/ 172 w 256"/>
                  <a:gd name="T95" fmla="*/ 98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6" h="250">
                    <a:moveTo>
                      <a:pt x="86" y="142"/>
                    </a:moveTo>
                    <a:lnTo>
                      <a:pt x="86" y="142"/>
                    </a:lnTo>
                    <a:lnTo>
                      <a:pt x="84" y="154"/>
                    </a:lnTo>
                    <a:lnTo>
                      <a:pt x="86" y="166"/>
                    </a:lnTo>
                    <a:lnTo>
                      <a:pt x="88" y="176"/>
                    </a:lnTo>
                    <a:lnTo>
                      <a:pt x="90" y="184"/>
                    </a:lnTo>
                    <a:lnTo>
                      <a:pt x="96" y="192"/>
                    </a:lnTo>
                    <a:lnTo>
                      <a:pt x="102" y="196"/>
                    </a:lnTo>
                    <a:lnTo>
                      <a:pt x="112" y="200"/>
                    </a:lnTo>
                    <a:lnTo>
                      <a:pt x="124" y="202"/>
                    </a:lnTo>
                    <a:lnTo>
                      <a:pt x="124" y="202"/>
                    </a:lnTo>
                    <a:lnTo>
                      <a:pt x="132" y="200"/>
                    </a:lnTo>
                    <a:lnTo>
                      <a:pt x="140" y="198"/>
                    </a:lnTo>
                    <a:lnTo>
                      <a:pt x="148" y="196"/>
                    </a:lnTo>
                    <a:lnTo>
                      <a:pt x="154" y="192"/>
                    </a:lnTo>
                    <a:lnTo>
                      <a:pt x="158" y="186"/>
                    </a:lnTo>
                    <a:lnTo>
                      <a:pt x="162" y="180"/>
                    </a:lnTo>
                    <a:lnTo>
                      <a:pt x="164" y="174"/>
                    </a:lnTo>
                    <a:lnTo>
                      <a:pt x="164" y="170"/>
                    </a:lnTo>
                    <a:lnTo>
                      <a:pt x="248" y="170"/>
                    </a:lnTo>
                    <a:lnTo>
                      <a:pt x="248" y="170"/>
                    </a:lnTo>
                    <a:lnTo>
                      <a:pt x="246" y="180"/>
                    </a:lnTo>
                    <a:lnTo>
                      <a:pt x="242" y="190"/>
                    </a:lnTo>
                    <a:lnTo>
                      <a:pt x="238" y="198"/>
                    </a:lnTo>
                    <a:lnTo>
                      <a:pt x="232" y="208"/>
                    </a:lnTo>
                    <a:lnTo>
                      <a:pt x="218" y="222"/>
                    </a:lnTo>
                    <a:lnTo>
                      <a:pt x="202" y="234"/>
                    </a:lnTo>
                    <a:lnTo>
                      <a:pt x="202" y="234"/>
                    </a:lnTo>
                    <a:lnTo>
                      <a:pt x="186" y="242"/>
                    </a:lnTo>
                    <a:lnTo>
                      <a:pt x="168" y="246"/>
                    </a:lnTo>
                    <a:lnTo>
                      <a:pt x="148" y="248"/>
                    </a:lnTo>
                    <a:lnTo>
                      <a:pt x="128" y="250"/>
                    </a:lnTo>
                    <a:lnTo>
                      <a:pt x="128" y="250"/>
                    </a:lnTo>
                    <a:lnTo>
                      <a:pt x="96" y="248"/>
                    </a:lnTo>
                    <a:lnTo>
                      <a:pt x="80" y="244"/>
                    </a:lnTo>
                    <a:lnTo>
                      <a:pt x="66" y="242"/>
                    </a:lnTo>
                    <a:lnTo>
                      <a:pt x="54" y="238"/>
                    </a:lnTo>
                    <a:lnTo>
                      <a:pt x="44" y="232"/>
                    </a:lnTo>
                    <a:lnTo>
                      <a:pt x="34" y="226"/>
                    </a:lnTo>
                    <a:lnTo>
                      <a:pt x="26" y="218"/>
                    </a:lnTo>
                    <a:lnTo>
                      <a:pt x="18" y="210"/>
                    </a:lnTo>
                    <a:lnTo>
                      <a:pt x="12" y="200"/>
                    </a:lnTo>
                    <a:lnTo>
                      <a:pt x="8" y="190"/>
                    </a:lnTo>
                    <a:lnTo>
                      <a:pt x="4" y="178"/>
                    </a:lnTo>
                    <a:lnTo>
                      <a:pt x="2" y="164"/>
                    </a:lnTo>
                    <a:lnTo>
                      <a:pt x="0" y="150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2" y="106"/>
                    </a:lnTo>
                    <a:lnTo>
                      <a:pt x="4" y="92"/>
                    </a:lnTo>
                    <a:lnTo>
                      <a:pt x="8" y="80"/>
                    </a:lnTo>
                    <a:lnTo>
                      <a:pt x="14" y="68"/>
                    </a:lnTo>
                    <a:lnTo>
                      <a:pt x="20" y="58"/>
                    </a:lnTo>
                    <a:lnTo>
                      <a:pt x="26" y="48"/>
                    </a:lnTo>
                    <a:lnTo>
                      <a:pt x="34" y="40"/>
                    </a:lnTo>
                    <a:lnTo>
                      <a:pt x="44" y="32"/>
                    </a:lnTo>
                    <a:lnTo>
                      <a:pt x="64" y="18"/>
                    </a:lnTo>
                    <a:lnTo>
                      <a:pt x="86" y="8"/>
                    </a:lnTo>
                    <a:lnTo>
                      <a:pt x="110" y="2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4" y="2"/>
                    </a:lnTo>
                    <a:lnTo>
                      <a:pt x="170" y="4"/>
                    </a:lnTo>
                    <a:lnTo>
                      <a:pt x="184" y="6"/>
                    </a:lnTo>
                    <a:lnTo>
                      <a:pt x="196" y="12"/>
                    </a:lnTo>
                    <a:lnTo>
                      <a:pt x="208" y="18"/>
                    </a:lnTo>
                    <a:lnTo>
                      <a:pt x="218" y="24"/>
                    </a:lnTo>
                    <a:lnTo>
                      <a:pt x="228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46" y="60"/>
                    </a:lnTo>
                    <a:lnTo>
                      <a:pt x="250" y="72"/>
                    </a:lnTo>
                    <a:lnTo>
                      <a:pt x="254" y="84"/>
                    </a:lnTo>
                    <a:lnTo>
                      <a:pt x="256" y="112"/>
                    </a:lnTo>
                    <a:lnTo>
                      <a:pt x="254" y="142"/>
                    </a:lnTo>
                    <a:lnTo>
                      <a:pt x="86" y="142"/>
                    </a:lnTo>
                    <a:close/>
                    <a:moveTo>
                      <a:pt x="172" y="98"/>
                    </a:moveTo>
                    <a:lnTo>
                      <a:pt x="172" y="98"/>
                    </a:lnTo>
                    <a:lnTo>
                      <a:pt x="172" y="88"/>
                    </a:lnTo>
                    <a:lnTo>
                      <a:pt x="170" y="78"/>
                    </a:lnTo>
                    <a:lnTo>
                      <a:pt x="168" y="70"/>
                    </a:lnTo>
                    <a:lnTo>
                      <a:pt x="164" y="62"/>
                    </a:lnTo>
                    <a:lnTo>
                      <a:pt x="164" y="62"/>
                    </a:lnTo>
                    <a:lnTo>
                      <a:pt x="158" y="56"/>
                    </a:lnTo>
                    <a:lnTo>
                      <a:pt x="150" y="50"/>
                    </a:lnTo>
                    <a:lnTo>
                      <a:pt x="142" y="48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22" y="48"/>
                    </a:lnTo>
                    <a:lnTo>
                      <a:pt x="114" y="52"/>
                    </a:lnTo>
                    <a:lnTo>
                      <a:pt x="106" y="56"/>
                    </a:lnTo>
                    <a:lnTo>
                      <a:pt x="102" y="62"/>
                    </a:lnTo>
                    <a:lnTo>
                      <a:pt x="96" y="70"/>
                    </a:lnTo>
                    <a:lnTo>
                      <a:pt x="94" y="78"/>
                    </a:lnTo>
                    <a:lnTo>
                      <a:pt x="90" y="98"/>
                    </a:lnTo>
                    <a:lnTo>
                      <a:pt x="172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16"/>
              <p:cNvSpPr>
                <a:spLocks/>
              </p:cNvSpPr>
              <p:nvPr/>
            </p:nvSpPr>
            <p:spPr bwMode="auto">
              <a:xfrm>
                <a:off x="1314450" y="352425"/>
                <a:ext cx="196850" cy="542925"/>
              </a:xfrm>
              <a:custGeom>
                <a:avLst/>
                <a:gdLst>
                  <a:gd name="T0" fmla="*/ 24 w 124"/>
                  <a:gd name="T1" fmla="*/ 0 h 342"/>
                  <a:gd name="T2" fmla="*/ 124 w 124"/>
                  <a:gd name="T3" fmla="*/ 0 h 342"/>
                  <a:gd name="T4" fmla="*/ 100 w 124"/>
                  <a:gd name="T5" fmla="*/ 342 h 342"/>
                  <a:gd name="T6" fmla="*/ 0 w 124"/>
                  <a:gd name="T7" fmla="*/ 342 h 342"/>
                  <a:gd name="T8" fmla="*/ 24 w 124"/>
                  <a:gd name="T9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342">
                    <a:moveTo>
                      <a:pt x="24" y="0"/>
                    </a:moveTo>
                    <a:lnTo>
                      <a:pt x="124" y="0"/>
                    </a:lnTo>
                    <a:lnTo>
                      <a:pt x="100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17"/>
              <p:cNvSpPr>
                <a:spLocks/>
              </p:cNvSpPr>
              <p:nvPr/>
            </p:nvSpPr>
            <p:spPr bwMode="auto">
              <a:xfrm>
                <a:off x="1498600" y="352425"/>
                <a:ext cx="368300" cy="542925"/>
              </a:xfrm>
              <a:custGeom>
                <a:avLst/>
                <a:gdLst>
                  <a:gd name="T0" fmla="*/ 120 w 232"/>
                  <a:gd name="T1" fmla="*/ 0 h 342"/>
                  <a:gd name="T2" fmla="*/ 0 w 232"/>
                  <a:gd name="T3" fmla="*/ 152 h 342"/>
                  <a:gd name="T4" fmla="*/ 106 w 232"/>
                  <a:gd name="T5" fmla="*/ 342 h 342"/>
                  <a:gd name="T6" fmla="*/ 226 w 232"/>
                  <a:gd name="T7" fmla="*/ 342 h 342"/>
                  <a:gd name="T8" fmla="*/ 106 w 232"/>
                  <a:gd name="T9" fmla="*/ 148 h 342"/>
                  <a:gd name="T10" fmla="*/ 232 w 232"/>
                  <a:gd name="T11" fmla="*/ 0 h 342"/>
                  <a:gd name="T12" fmla="*/ 120 w 232"/>
                  <a:gd name="T13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2" h="342">
                    <a:moveTo>
                      <a:pt x="120" y="0"/>
                    </a:moveTo>
                    <a:lnTo>
                      <a:pt x="0" y="152"/>
                    </a:lnTo>
                    <a:lnTo>
                      <a:pt x="106" y="342"/>
                    </a:lnTo>
                    <a:lnTo>
                      <a:pt x="226" y="342"/>
                    </a:lnTo>
                    <a:lnTo>
                      <a:pt x="106" y="148"/>
                    </a:lnTo>
                    <a:lnTo>
                      <a:pt x="232" y="0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18"/>
              <p:cNvSpPr>
                <a:spLocks/>
              </p:cNvSpPr>
              <p:nvPr/>
            </p:nvSpPr>
            <p:spPr bwMode="auto">
              <a:xfrm>
                <a:off x="1876425" y="517525"/>
                <a:ext cx="158750" cy="377825"/>
              </a:xfrm>
              <a:custGeom>
                <a:avLst/>
                <a:gdLst>
                  <a:gd name="T0" fmla="*/ 16 w 100"/>
                  <a:gd name="T1" fmla="*/ 0 h 238"/>
                  <a:gd name="T2" fmla="*/ 100 w 100"/>
                  <a:gd name="T3" fmla="*/ 0 h 238"/>
                  <a:gd name="T4" fmla="*/ 84 w 100"/>
                  <a:gd name="T5" fmla="*/ 238 h 238"/>
                  <a:gd name="T6" fmla="*/ 0 w 100"/>
                  <a:gd name="T7" fmla="*/ 238 h 238"/>
                  <a:gd name="T8" fmla="*/ 16 w 100"/>
                  <a:gd name="T9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238">
                    <a:moveTo>
                      <a:pt x="16" y="0"/>
                    </a:moveTo>
                    <a:lnTo>
                      <a:pt x="100" y="0"/>
                    </a:lnTo>
                    <a:lnTo>
                      <a:pt x="84" y="238"/>
                    </a:lnTo>
                    <a:lnTo>
                      <a:pt x="0" y="238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19"/>
              <p:cNvSpPr>
                <a:spLocks/>
              </p:cNvSpPr>
              <p:nvPr/>
            </p:nvSpPr>
            <p:spPr bwMode="auto">
              <a:xfrm>
                <a:off x="2038350" y="504825"/>
                <a:ext cx="692150" cy="390525"/>
              </a:xfrm>
              <a:custGeom>
                <a:avLst/>
                <a:gdLst>
                  <a:gd name="T0" fmla="*/ 106 w 436"/>
                  <a:gd name="T1" fmla="*/ 40 h 246"/>
                  <a:gd name="T2" fmla="*/ 106 w 436"/>
                  <a:gd name="T3" fmla="*/ 40 h 246"/>
                  <a:gd name="T4" fmla="*/ 128 w 436"/>
                  <a:gd name="T5" fmla="*/ 20 h 246"/>
                  <a:gd name="T6" fmla="*/ 150 w 436"/>
                  <a:gd name="T7" fmla="*/ 8 h 246"/>
                  <a:gd name="T8" fmla="*/ 172 w 436"/>
                  <a:gd name="T9" fmla="*/ 2 h 246"/>
                  <a:gd name="T10" fmla="*/ 192 w 436"/>
                  <a:gd name="T11" fmla="*/ 2 h 246"/>
                  <a:gd name="T12" fmla="*/ 216 w 436"/>
                  <a:gd name="T13" fmla="*/ 6 h 246"/>
                  <a:gd name="T14" fmla="*/ 238 w 436"/>
                  <a:gd name="T15" fmla="*/ 14 h 246"/>
                  <a:gd name="T16" fmla="*/ 254 w 436"/>
                  <a:gd name="T17" fmla="*/ 28 h 246"/>
                  <a:gd name="T18" fmla="*/ 264 w 436"/>
                  <a:gd name="T19" fmla="*/ 44 h 246"/>
                  <a:gd name="T20" fmla="*/ 272 w 436"/>
                  <a:gd name="T21" fmla="*/ 34 h 246"/>
                  <a:gd name="T22" fmla="*/ 290 w 436"/>
                  <a:gd name="T23" fmla="*/ 18 h 246"/>
                  <a:gd name="T24" fmla="*/ 312 w 436"/>
                  <a:gd name="T25" fmla="*/ 8 h 246"/>
                  <a:gd name="T26" fmla="*/ 338 w 436"/>
                  <a:gd name="T27" fmla="*/ 2 h 246"/>
                  <a:gd name="T28" fmla="*/ 352 w 436"/>
                  <a:gd name="T29" fmla="*/ 0 h 246"/>
                  <a:gd name="T30" fmla="*/ 386 w 436"/>
                  <a:gd name="T31" fmla="*/ 6 h 246"/>
                  <a:gd name="T32" fmla="*/ 414 w 436"/>
                  <a:gd name="T33" fmla="*/ 24 h 246"/>
                  <a:gd name="T34" fmla="*/ 432 w 436"/>
                  <a:gd name="T35" fmla="*/ 50 h 246"/>
                  <a:gd name="T36" fmla="*/ 436 w 436"/>
                  <a:gd name="T37" fmla="*/ 86 h 246"/>
                  <a:gd name="T38" fmla="*/ 332 w 436"/>
                  <a:gd name="T39" fmla="*/ 246 h 246"/>
                  <a:gd name="T40" fmla="*/ 342 w 436"/>
                  <a:gd name="T41" fmla="*/ 106 h 246"/>
                  <a:gd name="T42" fmla="*/ 342 w 436"/>
                  <a:gd name="T43" fmla="*/ 80 h 246"/>
                  <a:gd name="T44" fmla="*/ 336 w 436"/>
                  <a:gd name="T45" fmla="*/ 66 h 246"/>
                  <a:gd name="T46" fmla="*/ 322 w 436"/>
                  <a:gd name="T47" fmla="*/ 58 h 246"/>
                  <a:gd name="T48" fmla="*/ 312 w 436"/>
                  <a:gd name="T49" fmla="*/ 58 h 246"/>
                  <a:gd name="T50" fmla="*/ 288 w 436"/>
                  <a:gd name="T51" fmla="*/ 66 h 246"/>
                  <a:gd name="T52" fmla="*/ 276 w 436"/>
                  <a:gd name="T53" fmla="*/ 82 h 246"/>
                  <a:gd name="T54" fmla="*/ 270 w 436"/>
                  <a:gd name="T55" fmla="*/ 100 h 246"/>
                  <a:gd name="T56" fmla="*/ 260 w 436"/>
                  <a:gd name="T57" fmla="*/ 246 h 246"/>
                  <a:gd name="T58" fmla="*/ 180 w 436"/>
                  <a:gd name="T59" fmla="*/ 106 h 246"/>
                  <a:gd name="T60" fmla="*/ 178 w 436"/>
                  <a:gd name="T61" fmla="*/ 88 h 246"/>
                  <a:gd name="T62" fmla="*/ 174 w 436"/>
                  <a:gd name="T63" fmla="*/ 72 h 246"/>
                  <a:gd name="T64" fmla="*/ 164 w 436"/>
                  <a:gd name="T65" fmla="*/ 62 h 246"/>
                  <a:gd name="T66" fmla="*/ 148 w 436"/>
                  <a:gd name="T67" fmla="*/ 58 h 246"/>
                  <a:gd name="T68" fmla="*/ 132 w 436"/>
                  <a:gd name="T69" fmla="*/ 60 h 246"/>
                  <a:gd name="T70" fmla="*/ 114 w 436"/>
                  <a:gd name="T71" fmla="*/ 72 h 246"/>
                  <a:gd name="T72" fmla="*/ 104 w 436"/>
                  <a:gd name="T73" fmla="*/ 92 h 246"/>
                  <a:gd name="T74" fmla="*/ 102 w 436"/>
                  <a:gd name="T75" fmla="*/ 110 h 246"/>
                  <a:gd name="T76" fmla="*/ 0 w 436"/>
                  <a:gd name="T77" fmla="*/ 246 h 246"/>
                  <a:gd name="T78" fmla="*/ 106 w 436"/>
                  <a:gd name="T79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36" h="246">
                    <a:moveTo>
                      <a:pt x="106" y="8"/>
                    </a:moveTo>
                    <a:lnTo>
                      <a:pt x="106" y="40"/>
                    </a:lnTo>
                    <a:lnTo>
                      <a:pt x="106" y="40"/>
                    </a:lnTo>
                    <a:lnTo>
                      <a:pt x="106" y="40"/>
                    </a:lnTo>
                    <a:lnTo>
                      <a:pt x="118" y="28"/>
                    </a:lnTo>
                    <a:lnTo>
                      <a:pt x="128" y="20"/>
                    </a:lnTo>
                    <a:lnTo>
                      <a:pt x="140" y="12"/>
                    </a:lnTo>
                    <a:lnTo>
                      <a:pt x="150" y="8"/>
                    </a:lnTo>
                    <a:lnTo>
                      <a:pt x="162" y="4"/>
                    </a:lnTo>
                    <a:lnTo>
                      <a:pt x="172" y="2"/>
                    </a:lnTo>
                    <a:lnTo>
                      <a:pt x="192" y="2"/>
                    </a:lnTo>
                    <a:lnTo>
                      <a:pt x="192" y="2"/>
                    </a:lnTo>
                    <a:lnTo>
                      <a:pt x="204" y="2"/>
                    </a:lnTo>
                    <a:lnTo>
                      <a:pt x="216" y="6"/>
                    </a:lnTo>
                    <a:lnTo>
                      <a:pt x="228" y="8"/>
                    </a:lnTo>
                    <a:lnTo>
                      <a:pt x="238" y="14"/>
                    </a:lnTo>
                    <a:lnTo>
                      <a:pt x="246" y="20"/>
                    </a:lnTo>
                    <a:lnTo>
                      <a:pt x="254" y="28"/>
                    </a:lnTo>
                    <a:lnTo>
                      <a:pt x="260" y="36"/>
                    </a:lnTo>
                    <a:lnTo>
                      <a:pt x="264" y="44"/>
                    </a:lnTo>
                    <a:lnTo>
                      <a:pt x="264" y="44"/>
                    </a:lnTo>
                    <a:lnTo>
                      <a:pt x="272" y="34"/>
                    </a:lnTo>
                    <a:lnTo>
                      <a:pt x="280" y="26"/>
                    </a:lnTo>
                    <a:lnTo>
                      <a:pt x="290" y="18"/>
                    </a:lnTo>
                    <a:lnTo>
                      <a:pt x="302" y="12"/>
                    </a:lnTo>
                    <a:lnTo>
                      <a:pt x="312" y="8"/>
                    </a:lnTo>
                    <a:lnTo>
                      <a:pt x="326" y="4"/>
                    </a:lnTo>
                    <a:lnTo>
                      <a:pt x="338" y="2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70" y="2"/>
                    </a:lnTo>
                    <a:lnTo>
                      <a:pt x="386" y="6"/>
                    </a:lnTo>
                    <a:lnTo>
                      <a:pt x="402" y="14"/>
                    </a:lnTo>
                    <a:lnTo>
                      <a:pt x="414" y="24"/>
                    </a:lnTo>
                    <a:lnTo>
                      <a:pt x="424" y="36"/>
                    </a:lnTo>
                    <a:lnTo>
                      <a:pt x="432" y="50"/>
                    </a:lnTo>
                    <a:lnTo>
                      <a:pt x="436" y="68"/>
                    </a:lnTo>
                    <a:lnTo>
                      <a:pt x="436" y="86"/>
                    </a:lnTo>
                    <a:lnTo>
                      <a:pt x="424" y="246"/>
                    </a:lnTo>
                    <a:lnTo>
                      <a:pt x="332" y="246"/>
                    </a:lnTo>
                    <a:lnTo>
                      <a:pt x="342" y="106"/>
                    </a:lnTo>
                    <a:lnTo>
                      <a:pt x="342" y="106"/>
                    </a:lnTo>
                    <a:lnTo>
                      <a:pt x="342" y="88"/>
                    </a:lnTo>
                    <a:lnTo>
                      <a:pt x="342" y="80"/>
                    </a:lnTo>
                    <a:lnTo>
                      <a:pt x="340" y="74"/>
                    </a:lnTo>
                    <a:lnTo>
                      <a:pt x="336" y="66"/>
                    </a:lnTo>
                    <a:lnTo>
                      <a:pt x="330" y="62"/>
                    </a:lnTo>
                    <a:lnTo>
                      <a:pt x="322" y="58"/>
                    </a:lnTo>
                    <a:lnTo>
                      <a:pt x="312" y="58"/>
                    </a:lnTo>
                    <a:lnTo>
                      <a:pt x="312" y="58"/>
                    </a:lnTo>
                    <a:lnTo>
                      <a:pt x="298" y="60"/>
                    </a:lnTo>
                    <a:lnTo>
                      <a:pt x="288" y="66"/>
                    </a:lnTo>
                    <a:lnTo>
                      <a:pt x="280" y="72"/>
                    </a:lnTo>
                    <a:lnTo>
                      <a:pt x="276" y="82"/>
                    </a:lnTo>
                    <a:lnTo>
                      <a:pt x="272" y="92"/>
                    </a:lnTo>
                    <a:lnTo>
                      <a:pt x="270" y="100"/>
                    </a:lnTo>
                    <a:lnTo>
                      <a:pt x="270" y="110"/>
                    </a:lnTo>
                    <a:lnTo>
                      <a:pt x="260" y="246"/>
                    </a:lnTo>
                    <a:lnTo>
                      <a:pt x="170" y="246"/>
                    </a:lnTo>
                    <a:lnTo>
                      <a:pt x="180" y="106"/>
                    </a:lnTo>
                    <a:lnTo>
                      <a:pt x="180" y="106"/>
                    </a:lnTo>
                    <a:lnTo>
                      <a:pt x="178" y="88"/>
                    </a:lnTo>
                    <a:lnTo>
                      <a:pt x="178" y="80"/>
                    </a:lnTo>
                    <a:lnTo>
                      <a:pt x="174" y="72"/>
                    </a:lnTo>
                    <a:lnTo>
                      <a:pt x="170" y="66"/>
                    </a:lnTo>
                    <a:lnTo>
                      <a:pt x="164" y="62"/>
                    </a:lnTo>
                    <a:lnTo>
                      <a:pt x="15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32" y="60"/>
                    </a:lnTo>
                    <a:lnTo>
                      <a:pt x="122" y="66"/>
                    </a:lnTo>
                    <a:lnTo>
                      <a:pt x="114" y="72"/>
                    </a:lnTo>
                    <a:lnTo>
                      <a:pt x="108" y="82"/>
                    </a:lnTo>
                    <a:lnTo>
                      <a:pt x="104" y="92"/>
                    </a:lnTo>
                    <a:lnTo>
                      <a:pt x="104" y="100"/>
                    </a:lnTo>
                    <a:lnTo>
                      <a:pt x="102" y="110"/>
                    </a:lnTo>
                    <a:lnTo>
                      <a:pt x="94" y="246"/>
                    </a:lnTo>
                    <a:lnTo>
                      <a:pt x="0" y="246"/>
                    </a:lnTo>
                    <a:lnTo>
                      <a:pt x="16" y="8"/>
                    </a:lnTo>
                    <a:lnTo>
                      <a:pt x="106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20"/>
              <p:cNvSpPr>
                <a:spLocks/>
              </p:cNvSpPr>
              <p:nvPr/>
            </p:nvSpPr>
            <p:spPr bwMode="auto">
              <a:xfrm>
                <a:off x="4064000" y="517525"/>
                <a:ext cx="454025" cy="558800"/>
              </a:xfrm>
              <a:custGeom>
                <a:avLst/>
                <a:gdLst>
                  <a:gd name="T0" fmla="*/ 116 w 286"/>
                  <a:gd name="T1" fmla="*/ 352 h 352"/>
                  <a:gd name="T2" fmla="*/ 34 w 286"/>
                  <a:gd name="T3" fmla="*/ 352 h 352"/>
                  <a:gd name="T4" fmla="*/ 86 w 286"/>
                  <a:gd name="T5" fmla="*/ 242 h 352"/>
                  <a:gd name="T6" fmla="*/ 0 w 286"/>
                  <a:gd name="T7" fmla="*/ 0 h 352"/>
                  <a:gd name="T8" fmla="*/ 100 w 286"/>
                  <a:gd name="T9" fmla="*/ 0 h 352"/>
                  <a:gd name="T10" fmla="*/ 140 w 286"/>
                  <a:gd name="T11" fmla="*/ 148 h 352"/>
                  <a:gd name="T12" fmla="*/ 202 w 286"/>
                  <a:gd name="T13" fmla="*/ 0 h 352"/>
                  <a:gd name="T14" fmla="*/ 286 w 286"/>
                  <a:gd name="T15" fmla="*/ 0 h 352"/>
                  <a:gd name="T16" fmla="*/ 116 w 286"/>
                  <a:gd name="T17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6" h="352">
                    <a:moveTo>
                      <a:pt x="116" y="352"/>
                    </a:moveTo>
                    <a:lnTo>
                      <a:pt x="34" y="352"/>
                    </a:lnTo>
                    <a:lnTo>
                      <a:pt x="86" y="242"/>
                    </a:lnTo>
                    <a:lnTo>
                      <a:pt x="0" y="0"/>
                    </a:lnTo>
                    <a:lnTo>
                      <a:pt x="100" y="0"/>
                    </a:lnTo>
                    <a:lnTo>
                      <a:pt x="140" y="148"/>
                    </a:lnTo>
                    <a:lnTo>
                      <a:pt x="202" y="0"/>
                    </a:lnTo>
                    <a:lnTo>
                      <a:pt x="286" y="0"/>
                    </a:lnTo>
                    <a:lnTo>
                      <a:pt x="116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21"/>
              <p:cNvSpPr>
                <a:spLocks/>
              </p:cNvSpPr>
              <p:nvPr/>
            </p:nvSpPr>
            <p:spPr bwMode="auto">
              <a:xfrm>
                <a:off x="4473575" y="593725"/>
                <a:ext cx="241300" cy="117475"/>
              </a:xfrm>
              <a:custGeom>
                <a:avLst/>
                <a:gdLst>
                  <a:gd name="T0" fmla="*/ 36 w 152"/>
                  <a:gd name="T1" fmla="*/ 0 h 74"/>
                  <a:gd name="T2" fmla="*/ 152 w 152"/>
                  <a:gd name="T3" fmla="*/ 0 h 74"/>
                  <a:gd name="T4" fmla="*/ 114 w 152"/>
                  <a:gd name="T5" fmla="*/ 74 h 74"/>
                  <a:gd name="T6" fmla="*/ 0 w 152"/>
                  <a:gd name="T7" fmla="*/ 74 h 74"/>
                  <a:gd name="T8" fmla="*/ 36 w 152"/>
                  <a:gd name="T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74">
                    <a:moveTo>
                      <a:pt x="36" y="0"/>
                    </a:moveTo>
                    <a:lnTo>
                      <a:pt x="152" y="0"/>
                    </a:lnTo>
                    <a:lnTo>
                      <a:pt x="114" y="74"/>
                    </a:lnTo>
                    <a:lnTo>
                      <a:pt x="0" y="7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" name="Freeform 22"/>
              <p:cNvSpPr>
                <a:spLocks/>
              </p:cNvSpPr>
              <p:nvPr/>
            </p:nvSpPr>
            <p:spPr bwMode="auto">
              <a:xfrm>
                <a:off x="4721225" y="339725"/>
                <a:ext cx="504825" cy="558800"/>
              </a:xfrm>
              <a:custGeom>
                <a:avLst/>
                <a:gdLst>
                  <a:gd name="T0" fmla="*/ 180 w 318"/>
                  <a:gd name="T1" fmla="*/ 0 h 352"/>
                  <a:gd name="T2" fmla="*/ 232 w 318"/>
                  <a:gd name="T3" fmla="*/ 6 h 352"/>
                  <a:gd name="T4" fmla="*/ 266 w 318"/>
                  <a:gd name="T5" fmla="*/ 20 h 352"/>
                  <a:gd name="T6" fmla="*/ 286 w 318"/>
                  <a:gd name="T7" fmla="*/ 32 h 352"/>
                  <a:gd name="T8" fmla="*/ 302 w 318"/>
                  <a:gd name="T9" fmla="*/ 50 h 352"/>
                  <a:gd name="T10" fmla="*/ 312 w 318"/>
                  <a:gd name="T11" fmla="*/ 74 h 352"/>
                  <a:gd name="T12" fmla="*/ 318 w 318"/>
                  <a:gd name="T13" fmla="*/ 100 h 352"/>
                  <a:gd name="T14" fmla="*/ 222 w 318"/>
                  <a:gd name="T15" fmla="*/ 116 h 352"/>
                  <a:gd name="T16" fmla="*/ 222 w 318"/>
                  <a:gd name="T17" fmla="*/ 108 h 352"/>
                  <a:gd name="T18" fmla="*/ 216 w 318"/>
                  <a:gd name="T19" fmla="*/ 90 h 352"/>
                  <a:gd name="T20" fmla="*/ 204 w 318"/>
                  <a:gd name="T21" fmla="*/ 76 h 352"/>
                  <a:gd name="T22" fmla="*/ 188 w 318"/>
                  <a:gd name="T23" fmla="*/ 68 h 352"/>
                  <a:gd name="T24" fmla="*/ 176 w 318"/>
                  <a:gd name="T25" fmla="*/ 68 h 352"/>
                  <a:gd name="T26" fmla="*/ 150 w 318"/>
                  <a:gd name="T27" fmla="*/ 72 h 352"/>
                  <a:gd name="T28" fmla="*/ 128 w 318"/>
                  <a:gd name="T29" fmla="*/ 88 h 352"/>
                  <a:gd name="T30" fmla="*/ 108 w 318"/>
                  <a:gd name="T31" fmla="*/ 118 h 352"/>
                  <a:gd name="T32" fmla="*/ 98 w 318"/>
                  <a:gd name="T33" fmla="*/ 162 h 352"/>
                  <a:gd name="T34" fmla="*/ 96 w 318"/>
                  <a:gd name="T35" fmla="*/ 188 h 352"/>
                  <a:gd name="T36" fmla="*/ 98 w 318"/>
                  <a:gd name="T37" fmla="*/ 234 h 352"/>
                  <a:gd name="T38" fmla="*/ 112 w 318"/>
                  <a:gd name="T39" fmla="*/ 266 h 352"/>
                  <a:gd name="T40" fmla="*/ 122 w 318"/>
                  <a:gd name="T41" fmla="*/ 278 h 352"/>
                  <a:gd name="T42" fmla="*/ 138 w 318"/>
                  <a:gd name="T43" fmla="*/ 284 h 352"/>
                  <a:gd name="T44" fmla="*/ 158 w 318"/>
                  <a:gd name="T45" fmla="*/ 288 h 352"/>
                  <a:gd name="T46" fmla="*/ 174 w 318"/>
                  <a:gd name="T47" fmla="*/ 286 h 352"/>
                  <a:gd name="T48" fmla="*/ 198 w 318"/>
                  <a:gd name="T49" fmla="*/ 274 h 352"/>
                  <a:gd name="T50" fmla="*/ 212 w 318"/>
                  <a:gd name="T51" fmla="*/ 256 h 352"/>
                  <a:gd name="T52" fmla="*/ 218 w 318"/>
                  <a:gd name="T53" fmla="*/ 236 h 352"/>
                  <a:gd name="T54" fmla="*/ 314 w 318"/>
                  <a:gd name="T55" fmla="*/ 236 h 352"/>
                  <a:gd name="T56" fmla="*/ 306 w 318"/>
                  <a:gd name="T57" fmla="*/ 270 h 352"/>
                  <a:gd name="T58" fmla="*/ 290 w 318"/>
                  <a:gd name="T59" fmla="*/ 300 h 352"/>
                  <a:gd name="T60" fmla="*/ 272 w 318"/>
                  <a:gd name="T61" fmla="*/ 318 h 352"/>
                  <a:gd name="T62" fmla="*/ 248 w 318"/>
                  <a:gd name="T63" fmla="*/ 334 h 352"/>
                  <a:gd name="T64" fmla="*/ 216 w 318"/>
                  <a:gd name="T65" fmla="*/ 346 h 352"/>
                  <a:gd name="T66" fmla="*/ 176 w 318"/>
                  <a:gd name="T67" fmla="*/ 352 h 352"/>
                  <a:gd name="T68" fmla="*/ 152 w 318"/>
                  <a:gd name="T69" fmla="*/ 352 h 352"/>
                  <a:gd name="T70" fmla="*/ 106 w 318"/>
                  <a:gd name="T71" fmla="*/ 348 h 352"/>
                  <a:gd name="T72" fmla="*/ 70 w 318"/>
                  <a:gd name="T73" fmla="*/ 336 h 352"/>
                  <a:gd name="T74" fmla="*/ 42 w 318"/>
                  <a:gd name="T75" fmla="*/ 316 h 352"/>
                  <a:gd name="T76" fmla="*/ 22 w 318"/>
                  <a:gd name="T77" fmla="*/ 292 h 352"/>
                  <a:gd name="T78" fmla="*/ 8 w 318"/>
                  <a:gd name="T79" fmla="*/ 262 h 352"/>
                  <a:gd name="T80" fmla="*/ 2 w 318"/>
                  <a:gd name="T81" fmla="*/ 230 h 352"/>
                  <a:gd name="T82" fmla="*/ 0 w 318"/>
                  <a:gd name="T83" fmla="*/ 194 h 352"/>
                  <a:gd name="T84" fmla="*/ 2 w 318"/>
                  <a:gd name="T85" fmla="*/ 160 h 352"/>
                  <a:gd name="T86" fmla="*/ 18 w 318"/>
                  <a:gd name="T87" fmla="*/ 102 h 352"/>
                  <a:gd name="T88" fmla="*/ 32 w 318"/>
                  <a:gd name="T89" fmla="*/ 74 h 352"/>
                  <a:gd name="T90" fmla="*/ 52 w 318"/>
                  <a:gd name="T91" fmla="*/ 50 h 352"/>
                  <a:gd name="T92" fmla="*/ 76 w 318"/>
                  <a:gd name="T93" fmla="*/ 30 h 352"/>
                  <a:gd name="T94" fmla="*/ 106 w 318"/>
                  <a:gd name="T95" fmla="*/ 14 h 352"/>
                  <a:gd name="T96" fmla="*/ 140 w 318"/>
                  <a:gd name="T97" fmla="*/ 4 h 352"/>
                  <a:gd name="T98" fmla="*/ 180 w 318"/>
                  <a:gd name="T99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18" h="352">
                    <a:moveTo>
                      <a:pt x="180" y="0"/>
                    </a:moveTo>
                    <a:lnTo>
                      <a:pt x="180" y="0"/>
                    </a:lnTo>
                    <a:lnTo>
                      <a:pt x="206" y="0"/>
                    </a:lnTo>
                    <a:lnTo>
                      <a:pt x="232" y="6"/>
                    </a:lnTo>
                    <a:lnTo>
                      <a:pt x="256" y="14"/>
                    </a:lnTo>
                    <a:lnTo>
                      <a:pt x="266" y="20"/>
                    </a:lnTo>
                    <a:lnTo>
                      <a:pt x="276" y="26"/>
                    </a:lnTo>
                    <a:lnTo>
                      <a:pt x="286" y="32"/>
                    </a:lnTo>
                    <a:lnTo>
                      <a:pt x="294" y="42"/>
                    </a:lnTo>
                    <a:lnTo>
                      <a:pt x="302" y="50"/>
                    </a:lnTo>
                    <a:lnTo>
                      <a:pt x="308" y="62"/>
                    </a:lnTo>
                    <a:lnTo>
                      <a:pt x="312" y="74"/>
                    </a:lnTo>
                    <a:lnTo>
                      <a:pt x="316" y="86"/>
                    </a:lnTo>
                    <a:lnTo>
                      <a:pt x="318" y="100"/>
                    </a:lnTo>
                    <a:lnTo>
                      <a:pt x="318" y="116"/>
                    </a:lnTo>
                    <a:lnTo>
                      <a:pt x="222" y="116"/>
                    </a:lnTo>
                    <a:lnTo>
                      <a:pt x="222" y="116"/>
                    </a:lnTo>
                    <a:lnTo>
                      <a:pt x="222" y="108"/>
                    </a:lnTo>
                    <a:lnTo>
                      <a:pt x="220" y="98"/>
                    </a:lnTo>
                    <a:lnTo>
                      <a:pt x="216" y="90"/>
                    </a:lnTo>
                    <a:lnTo>
                      <a:pt x="212" y="84"/>
                    </a:lnTo>
                    <a:lnTo>
                      <a:pt x="204" y="76"/>
                    </a:lnTo>
                    <a:lnTo>
                      <a:pt x="198" y="72"/>
                    </a:lnTo>
                    <a:lnTo>
                      <a:pt x="188" y="68"/>
                    </a:lnTo>
                    <a:lnTo>
                      <a:pt x="176" y="68"/>
                    </a:lnTo>
                    <a:lnTo>
                      <a:pt x="176" y="68"/>
                    </a:lnTo>
                    <a:lnTo>
                      <a:pt x="164" y="68"/>
                    </a:lnTo>
                    <a:lnTo>
                      <a:pt x="150" y="72"/>
                    </a:lnTo>
                    <a:lnTo>
                      <a:pt x="138" y="80"/>
                    </a:lnTo>
                    <a:lnTo>
                      <a:pt x="128" y="88"/>
                    </a:lnTo>
                    <a:lnTo>
                      <a:pt x="118" y="102"/>
                    </a:lnTo>
                    <a:lnTo>
                      <a:pt x="108" y="118"/>
                    </a:lnTo>
                    <a:lnTo>
                      <a:pt x="102" y="138"/>
                    </a:lnTo>
                    <a:lnTo>
                      <a:pt x="98" y="162"/>
                    </a:lnTo>
                    <a:lnTo>
                      <a:pt x="98" y="162"/>
                    </a:lnTo>
                    <a:lnTo>
                      <a:pt x="96" y="188"/>
                    </a:lnTo>
                    <a:lnTo>
                      <a:pt x="96" y="212"/>
                    </a:lnTo>
                    <a:lnTo>
                      <a:pt x="98" y="234"/>
                    </a:lnTo>
                    <a:lnTo>
                      <a:pt x="104" y="252"/>
                    </a:lnTo>
                    <a:lnTo>
                      <a:pt x="112" y="266"/>
                    </a:lnTo>
                    <a:lnTo>
                      <a:pt x="116" y="272"/>
                    </a:lnTo>
                    <a:lnTo>
                      <a:pt x="122" y="278"/>
                    </a:lnTo>
                    <a:lnTo>
                      <a:pt x="130" y="282"/>
                    </a:lnTo>
                    <a:lnTo>
                      <a:pt x="138" y="284"/>
                    </a:lnTo>
                    <a:lnTo>
                      <a:pt x="148" y="286"/>
                    </a:lnTo>
                    <a:lnTo>
                      <a:pt x="158" y="288"/>
                    </a:lnTo>
                    <a:lnTo>
                      <a:pt x="158" y="288"/>
                    </a:lnTo>
                    <a:lnTo>
                      <a:pt x="174" y="286"/>
                    </a:lnTo>
                    <a:lnTo>
                      <a:pt x="188" y="280"/>
                    </a:lnTo>
                    <a:lnTo>
                      <a:pt x="198" y="274"/>
                    </a:lnTo>
                    <a:lnTo>
                      <a:pt x="206" y="264"/>
                    </a:lnTo>
                    <a:lnTo>
                      <a:pt x="212" y="256"/>
                    </a:lnTo>
                    <a:lnTo>
                      <a:pt x="214" y="248"/>
                    </a:lnTo>
                    <a:lnTo>
                      <a:pt x="218" y="236"/>
                    </a:lnTo>
                    <a:lnTo>
                      <a:pt x="314" y="236"/>
                    </a:lnTo>
                    <a:lnTo>
                      <a:pt x="314" y="236"/>
                    </a:lnTo>
                    <a:lnTo>
                      <a:pt x="312" y="252"/>
                    </a:lnTo>
                    <a:lnTo>
                      <a:pt x="306" y="270"/>
                    </a:lnTo>
                    <a:lnTo>
                      <a:pt x="296" y="290"/>
                    </a:lnTo>
                    <a:lnTo>
                      <a:pt x="290" y="300"/>
                    </a:lnTo>
                    <a:lnTo>
                      <a:pt x="282" y="308"/>
                    </a:lnTo>
                    <a:lnTo>
                      <a:pt x="272" y="318"/>
                    </a:lnTo>
                    <a:lnTo>
                      <a:pt x="260" y="326"/>
                    </a:lnTo>
                    <a:lnTo>
                      <a:pt x="248" y="334"/>
                    </a:lnTo>
                    <a:lnTo>
                      <a:pt x="232" y="340"/>
                    </a:lnTo>
                    <a:lnTo>
                      <a:pt x="216" y="346"/>
                    </a:lnTo>
                    <a:lnTo>
                      <a:pt x="196" y="350"/>
                    </a:lnTo>
                    <a:lnTo>
                      <a:pt x="176" y="352"/>
                    </a:lnTo>
                    <a:lnTo>
                      <a:pt x="152" y="352"/>
                    </a:lnTo>
                    <a:lnTo>
                      <a:pt x="152" y="352"/>
                    </a:lnTo>
                    <a:lnTo>
                      <a:pt x="128" y="352"/>
                    </a:lnTo>
                    <a:lnTo>
                      <a:pt x="106" y="348"/>
                    </a:lnTo>
                    <a:lnTo>
                      <a:pt x="86" y="342"/>
                    </a:lnTo>
                    <a:lnTo>
                      <a:pt x="70" y="336"/>
                    </a:lnTo>
                    <a:lnTo>
                      <a:pt x="54" y="326"/>
                    </a:lnTo>
                    <a:lnTo>
                      <a:pt x="42" y="316"/>
                    </a:lnTo>
                    <a:lnTo>
                      <a:pt x="30" y="304"/>
                    </a:lnTo>
                    <a:lnTo>
                      <a:pt x="22" y="292"/>
                    </a:lnTo>
                    <a:lnTo>
                      <a:pt x="14" y="276"/>
                    </a:lnTo>
                    <a:lnTo>
                      <a:pt x="8" y="262"/>
                    </a:lnTo>
                    <a:lnTo>
                      <a:pt x="4" y="246"/>
                    </a:lnTo>
                    <a:lnTo>
                      <a:pt x="2" y="230"/>
                    </a:lnTo>
                    <a:lnTo>
                      <a:pt x="0" y="212"/>
                    </a:lnTo>
                    <a:lnTo>
                      <a:pt x="0" y="194"/>
                    </a:lnTo>
                    <a:lnTo>
                      <a:pt x="2" y="160"/>
                    </a:lnTo>
                    <a:lnTo>
                      <a:pt x="2" y="160"/>
                    </a:lnTo>
                    <a:lnTo>
                      <a:pt x="8" y="130"/>
                    </a:lnTo>
                    <a:lnTo>
                      <a:pt x="18" y="102"/>
                    </a:lnTo>
                    <a:lnTo>
                      <a:pt x="24" y="88"/>
                    </a:lnTo>
                    <a:lnTo>
                      <a:pt x="32" y="74"/>
                    </a:lnTo>
                    <a:lnTo>
                      <a:pt x="42" y="62"/>
                    </a:lnTo>
                    <a:lnTo>
                      <a:pt x="52" y="50"/>
                    </a:lnTo>
                    <a:lnTo>
                      <a:pt x="64" y="40"/>
                    </a:lnTo>
                    <a:lnTo>
                      <a:pt x="76" y="30"/>
                    </a:lnTo>
                    <a:lnTo>
                      <a:pt x="90" y="20"/>
                    </a:lnTo>
                    <a:lnTo>
                      <a:pt x="106" y="14"/>
                    </a:lnTo>
                    <a:lnTo>
                      <a:pt x="122" y="8"/>
                    </a:lnTo>
                    <a:lnTo>
                      <a:pt x="140" y="4"/>
                    </a:lnTo>
                    <a:lnTo>
                      <a:pt x="160" y="0"/>
                    </a:lnTo>
                    <a:lnTo>
                      <a:pt x="180" y="0"/>
                    </a:lnTo>
                    <a:lnTo>
                      <a:pt x="18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23"/>
              <p:cNvSpPr>
                <a:spLocks/>
              </p:cNvSpPr>
              <p:nvPr/>
            </p:nvSpPr>
            <p:spPr bwMode="auto">
              <a:xfrm>
                <a:off x="5229225" y="352425"/>
                <a:ext cx="177800" cy="542925"/>
              </a:xfrm>
              <a:custGeom>
                <a:avLst/>
                <a:gdLst>
                  <a:gd name="T0" fmla="*/ 0 w 112"/>
                  <a:gd name="T1" fmla="*/ 342 h 342"/>
                  <a:gd name="T2" fmla="*/ 24 w 112"/>
                  <a:gd name="T3" fmla="*/ 0 h 342"/>
                  <a:gd name="T4" fmla="*/ 112 w 112"/>
                  <a:gd name="T5" fmla="*/ 0 h 342"/>
                  <a:gd name="T6" fmla="*/ 88 w 112"/>
                  <a:gd name="T7" fmla="*/ 342 h 342"/>
                  <a:gd name="T8" fmla="*/ 0 w 112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2" y="0"/>
                    </a:lnTo>
                    <a:lnTo>
                      <a:pt x="88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Freeform 24"/>
              <p:cNvSpPr>
                <a:spLocks/>
              </p:cNvSpPr>
              <p:nvPr/>
            </p:nvSpPr>
            <p:spPr bwMode="auto">
              <a:xfrm>
                <a:off x="5803900" y="517525"/>
                <a:ext cx="295275" cy="377825"/>
              </a:xfrm>
              <a:custGeom>
                <a:avLst/>
                <a:gdLst>
                  <a:gd name="T0" fmla="*/ 106 w 186"/>
                  <a:gd name="T1" fmla="*/ 34 h 238"/>
                  <a:gd name="T2" fmla="*/ 106 w 186"/>
                  <a:gd name="T3" fmla="*/ 34 h 238"/>
                  <a:gd name="T4" fmla="*/ 106 w 186"/>
                  <a:gd name="T5" fmla="*/ 34 h 238"/>
                  <a:gd name="T6" fmla="*/ 116 w 186"/>
                  <a:gd name="T7" fmla="*/ 24 h 238"/>
                  <a:gd name="T8" fmla="*/ 124 w 186"/>
                  <a:gd name="T9" fmla="*/ 16 h 238"/>
                  <a:gd name="T10" fmla="*/ 134 w 186"/>
                  <a:gd name="T11" fmla="*/ 10 h 238"/>
                  <a:gd name="T12" fmla="*/ 144 w 186"/>
                  <a:gd name="T13" fmla="*/ 6 h 238"/>
                  <a:gd name="T14" fmla="*/ 154 w 186"/>
                  <a:gd name="T15" fmla="*/ 4 h 238"/>
                  <a:gd name="T16" fmla="*/ 164 w 186"/>
                  <a:gd name="T17" fmla="*/ 2 h 238"/>
                  <a:gd name="T18" fmla="*/ 186 w 186"/>
                  <a:gd name="T19" fmla="*/ 0 h 238"/>
                  <a:gd name="T20" fmla="*/ 180 w 186"/>
                  <a:gd name="T21" fmla="*/ 76 h 238"/>
                  <a:gd name="T22" fmla="*/ 180 w 186"/>
                  <a:gd name="T23" fmla="*/ 76 h 238"/>
                  <a:gd name="T24" fmla="*/ 162 w 186"/>
                  <a:gd name="T25" fmla="*/ 76 h 238"/>
                  <a:gd name="T26" fmla="*/ 162 w 186"/>
                  <a:gd name="T27" fmla="*/ 76 h 238"/>
                  <a:gd name="T28" fmla="*/ 142 w 186"/>
                  <a:gd name="T29" fmla="*/ 78 h 238"/>
                  <a:gd name="T30" fmla="*/ 126 w 186"/>
                  <a:gd name="T31" fmla="*/ 82 h 238"/>
                  <a:gd name="T32" fmla="*/ 116 w 186"/>
                  <a:gd name="T33" fmla="*/ 88 h 238"/>
                  <a:gd name="T34" fmla="*/ 108 w 186"/>
                  <a:gd name="T35" fmla="*/ 98 h 238"/>
                  <a:gd name="T36" fmla="*/ 104 w 186"/>
                  <a:gd name="T37" fmla="*/ 108 h 238"/>
                  <a:gd name="T38" fmla="*/ 100 w 186"/>
                  <a:gd name="T39" fmla="*/ 120 h 238"/>
                  <a:gd name="T40" fmla="*/ 98 w 186"/>
                  <a:gd name="T41" fmla="*/ 148 h 238"/>
                  <a:gd name="T42" fmla="*/ 92 w 186"/>
                  <a:gd name="T43" fmla="*/ 238 h 238"/>
                  <a:gd name="T44" fmla="*/ 0 w 186"/>
                  <a:gd name="T45" fmla="*/ 238 h 238"/>
                  <a:gd name="T46" fmla="*/ 14 w 186"/>
                  <a:gd name="T47" fmla="*/ 62 h 238"/>
                  <a:gd name="T48" fmla="*/ 14 w 186"/>
                  <a:gd name="T49" fmla="*/ 62 h 238"/>
                  <a:gd name="T50" fmla="*/ 14 w 186"/>
                  <a:gd name="T51" fmla="*/ 32 h 238"/>
                  <a:gd name="T52" fmla="*/ 14 w 186"/>
                  <a:gd name="T53" fmla="*/ 0 h 238"/>
                  <a:gd name="T54" fmla="*/ 102 w 186"/>
                  <a:gd name="T55" fmla="*/ 0 h 238"/>
                  <a:gd name="T56" fmla="*/ 106 w 186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6" h="238">
                    <a:moveTo>
                      <a:pt x="106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6" y="24"/>
                    </a:lnTo>
                    <a:lnTo>
                      <a:pt x="124" y="16"/>
                    </a:lnTo>
                    <a:lnTo>
                      <a:pt x="134" y="10"/>
                    </a:lnTo>
                    <a:lnTo>
                      <a:pt x="144" y="6"/>
                    </a:lnTo>
                    <a:lnTo>
                      <a:pt x="154" y="4"/>
                    </a:lnTo>
                    <a:lnTo>
                      <a:pt x="164" y="2"/>
                    </a:lnTo>
                    <a:lnTo>
                      <a:pt x="186" y="0"/>
                    </a:lnTo>
                    <a:lnTo>
                      <a:pt x="180" y="76"/>
                    </a:lnTo>
                    <a:lnTo>
                      <a:pt x="180" y="76"/>
                    </a:lnTo>
                    <a:lnTo>
                      <a:pt x="162" y="76"/>
                    </a:lnTo>
                    <a:lnTo>
                      <a:pt x="162" y="76"/>
                    </a:lnTo>
                    <a:lnTo>
                      <a:pt x="142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4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6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3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53074" y="553073"/>
            <a:ext cx="3571665" cy="316888"/>
          </a:xfrm>
        </p:spPr>
        <p:txBody>
          <a:bodyPr>
            <a:noAutofit/>
          </a:bodyPr>
          <a:lstStyle>
            <a:lvl1pPr marL="0" indent="0">
              <a:buNone/>
              <a:defRPr sz="1400" b="0" u="none">
                <a:solidFill>
                  <a:schemeClr val="bg1"/>
                </a:solidFill>
              </a:defRPr>
            </a:lvl1pPr>
            <a:lvl2pPr marL="457200" indent="0">
              <a:buNone/>
              <a:defRPr b="0" u="none"/>
            </a:lvl2pPr>
            <a:lvl3pPr marL="914400" indent="0">
              <a:buNone/>
              <a:defRPr b="0" u="none"/>
            </a:lvl3pPr>
            <a:lvl4pPr marL="1371600" indent="0">
              <a:buNone/>
              <a:defRPr b="0" u="none"/>
            </a:lvl4pPr>
            <a:lvl5pPr marL="1828800" indent="0">
              <a:buNone/>
              <a:defRPr b="0" u="none"/>
            </a:lvl5pPr>
          </a:lstStyle>
          <a:p>
            <a:pPr lvl="0"/>
            <a:r>
              <a:rPr lang="en-US"/>
              <a:t>BU/Function/Region</a:t>
            </a:r>
          </a:p>
        </p:txBody>
      </p:sp>
    </p:spTree>
    <p:extLst>
      <p:ext uri="{BB962C8B-B14F-4D97-AF65-F5344CB8AC3E}">
        <p14:creationId xmlns:p14="http://schemas.microsoft.com/office/powerpoint/2010/main" val="3009773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B1E2744-F327-47BD-9971-129CF9C66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CFC030DF-382B-4D26-9627-D8A32757F45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373BC677-8240-47B2-AF8B-FDDC920152D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3E94B90-D272-4DA4-8F40-955BFB7A25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01/04/2021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67C1A5D5-988E-4E56-AD2A-8B59072227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ECD45A51-6511-442A-A9EA-5E1614FE25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715469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E43D9FC-CB11-476B-9BC0-7A87A57666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ED89AB1-ECAA-405E-93BB-F57B705D69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01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757FA52-A89F-4B6D-A1D4-93B82CEB81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32CCD71-45F4-4FD1-B0DC-8CB7CF9232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2463321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7421616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877410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C6FA731-E5D3-3E4B-825A-67B87362173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10415" y="381000"/>
            <a:ext cx="3189508" cy="6477000"/>
          </a:xfrm>
          <a:prstGeom prst="snip1Rect">
            <a:avLst/>
          </a:pr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0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Roboto Condensed" panose="02000000000000000000" pitchFamily="2" charset="0"/>
                <a:ea typeface="Source Sans Pro Light" panose="020B0403030403020204" pitchFamily="34" charset="0"/>
                <a:cs typeface="Source Sans Pro Light" panose="020B0403030403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30083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8F38151D-7F4B-4360-B627-923A542642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6867"/>
          <a:stretch/>
        </p:blipFill>
        <p:spPr>
          <a:xfrm>
            <a:off x="0" y="0"/>
            <a:ext cx="12458219" cy="6985322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AD04DBB2-41E4-42A7-8120-8F1DFF03233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04698" y="481105"/>
            <a:ext cx="1796731" cy="65013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0E06A3E4-F5E9-4A83-8ABF-0AC8C817E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960" y="2651125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CE906031-F54B-4946-A7BE-B4FFCACC15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01/04/2021</a:t>
            </a:fld>
            <a:endParaRPr lang="pt-BR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FDB26A7E-10AF-400C-90E9-0A1CE561CF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89476019-A24D-4411-B971-9AF58217F7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1984229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E0897EF2-3300-4308-A27B-D30615FCE1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01/04/2021</a:t>
            </a:fld>
            <a:endParaRPr lang="pt-BR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06EF4226-9F57-4A5E-9545-DC9303D497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E743B250-A380-4334-BF57-CA0CEBEF5E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#›</a:t>
            </a:fld>
            <a:endParaRPr lang="pt-BR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6B328323-6130-44A4-9846-600EFAA1B5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533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9424C3A7-7823-459D-8BD1-AF01DB01088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31494" y="6436908"/>
            <a:ext cx="1837944" cy="224784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304E9473-F793-4163-950F-2EEBEB21617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826002" y="2983831"/>
            <a:ext cx="2328488" cy="842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2071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AD04DBB2-41E4-42A7-8120-8F1DFF03233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04698" y="481105"/>
            <a:ext cx="1796731" cy="65013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0E06A3E4-F5E9-4A83-8ABF-0AC8C817E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960" y="2651125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CE906031-F54B-4946-A7BE-B4FFCACC15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DB7FEC-F353-4BC4-8FEC-4BD59EFB6E96}" type="datetimeFigureOut">
              <a:rPr lang="pt-BR" smtClean="0"/>
              <a:t>01/04/2021</a:t>
            </a:fld>
            <a:endParaRPr lang="pt-BR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FDB26A7E-10AF-400C-90E9-0A1CE561CF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89476019-A24D-4411-B971-9AF58217F7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59D607-121A-4C21-B44A-0424C0E9D8CD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9740224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Title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2142" y="2336800"/>
            <a:ext cx="5788152" cy="2091087"/>
          </a:xfrm>
        </p:spPr>
        <p:txBody>
          <a:bodyPr anchor="ctr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Enterprise Risk Management Update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62142" y="4427887"/>
            <a:ext cx="5789202" cy="1285515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dit Committee</a:t>
            </a:r>
          </a:p>
          <a:p>
            <a:r>
              <a:rPr lang="en-US"/>
              <a:t>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05.1-</a:t>
            </a:r>
            <a:fld id="{13E7FBFD-78E1-42FB-85FC-D9CE5E3DEFA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70622" y="276225"/>
            <a:ext cx="2165537" cy="271230"/>
            <a:chOff x="158750" y="276225"/>
            <a:chExt cx="6388100" cy="800100"/>
          </a:xfrm>
          <a:solidFill>
            <a:schemeClr val="bg1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158750" y="276225"/>
              <a:ext cx="857250" cy="736600"/>
            </a:xfrm>
            <a:custGeom>
              <a:avLst/>
              <a:gdLst>
                <a:gd name="T0" fmla="*/ 298 w 540"/>
                <a:gd name="T1" fmla="*/ 0 h 464"/>
                <a:gd name="T2" fmla="*/ 374 w 540"/>
                <a:gd name="T3" fmla="*/ 18 h 464"/>
                <a:gd name="T4" fmla="*/ 442 w 540"/>
                <a:gd name="T5" fmla="*/ 52 h 464"/>
                <a:gd name="T6" fmla="*/ 494 w 540"/>
                <a:gd name="T7" fmla="*/ 102 h 464"/>
                <a:gd name="T8" fmla="*/ 528 w 540"/>
                <a:gd name="T9" fmla="*/ 162 h 464"/>
                <a:gd name="T10" fmla="*/ 540 w 540"/>
                <a:gd name="T11" fmla="*/ 232 h 464"/>
                <a:gd name="T12" fmla="*/ 534 w 540"/>
                <a:gd name="T13" fmla="*/ 278 h 464"/>
                <a:gd name="T14" fmla="*/ 506 w 540"/>
                <a:gd name="T15" fmla="*/ 342 h 464"/>
                <a:gd name="T16" fmla="*/ 460 w 540"/>
                <a:gd name="T17" fmla="*/ 396 h 464"/>
                <a:gd name="T18" fmla="*/ 398 w 540"/>
                <a:gd name="T19" fmla="*/ 436 h 464"/>
                <a:gd name="T20" fmla="*/ 324 w 540"/>
                <a:gd name="T21" fmla="*/ 460 h 464"/>
                <a:gd name="T22" fmla="*/ 270 w 540"/>
                <a:gd name="T23" fmla="*/ 464 h 464"/>
                <a:gd name="T24" fmla="*/ 190 w 540"/>
                <a:gd name="T25" fmla="*/ 454 h 464"/>
                <a:gd name="T26" fmla="*/ 118 w 540"/>
                <a:gd name="T27" fmla="*/ 424 h 464"/>
                <a:gd name="T28" fmla="*/ 62 w 540"/>
                <a:gd name="T29" fmla="*/ 380 h 464"/>
                <a:gd name="T30" fmla="*/ 20 w 540"/>
                <a:gd name="T31" fmla="*/ 322 h 464"/>
                <a:gd name="T32" fmla="*/ 2 w 540"/>
                <a:gd name="T33" fmla="*/ 256 h 464"/>
                <a:gd name="T34" fmla="*/ 2 w 540"/>
                <a:gd name="T35" fmla="*/ 208 h 464"/>
                <a:gd name="T36" fmla="*/ 20 w 540"/>
                <a:gd name="T37" fmla="*/ 142 h 464"/>
                <a:gd name="T38" fmla="*/ 62 w 540"/>
                <a:gd name="T39" fmla="*/ 84 h 464"/>
                <a:gd name="T40" fmla="*/ 118 w 540"/>
                <a:gd name="T41" fmla="*/ 40 h 464"/>
                <a:gd name="T42" fmla="*/ 190 w 540"/>
                <a:gd name="T43" fmla="*/ 10 h 464"/>
                <a:gd name="T44" fmla="*/ 270 w 540"/>
                <a:gd name="T45" fmla="*/ 0 h 464"/>
                <a:gd name="T46" fmla="*/ 270 w 540"/>
                <a:gd name="T47" fmla="*/ 232 h 464"/>
                <a:gd name="T48" fmla="*/ 220 w 540"/>
                <a:gd name="T49" fmla="*/ 196 h 464"/>
                <a:gd name="T50" fmla="*/ 208 w 540"/>
                <a:gd name="T51" fmla="*/ 176 h 464"/>
                <a:gd name="T52" fmla="*/ 156 w 540"/>
                <a:gd name="T53" fmla="*/ 130 h 464"/>
                <a:gd name="T54" fmla="*/ 76 w 540"/>
                <a:gd name="T55" fmla="*/ 152 h 464"/>
                <a:gd name="T56" fmla="*/ 130 w 540"/>
                <a:gd name="T57" fmla="*/ 204 h 464"/>
                <a:gd name="T58" fmla="*/ 138 w 540"/>
                <a:gd name="T59" fmla="*/ 230 h 464"/>
                <a:gd name="T60" fmla="*/ 132 w 540"/>
                <a:gd name="T61" fmla="*/ 244 h 464"/>
                <a:gd name="T62" fmla="*/ 108 w 540"/>
                <a:gd name="T63" fmla="*/ 250 h 464"/>
                <a:gd name="T64" fmla="*/ 38 w 540"/>
                <a:gd name="T65" fmla="*/ 330 h 464"/>
                <a:gd name="T66" fmla="*/ 146 w 540"/>
                <a:gd name="T67" fmla="*/ 330 h 464"/>
                <a:gd name="T68" fmla="*/ 186 w 540"/>
                <a:gd name="T69" fmla="*/ 320 h 464"/>
                <a:gd name="T70" fmla="*/ 214 w 540"/>
                <a:gd name="T71" fmla="*/ 296 h 464"/>
                <a:gd name="T72" fmla="*/ 320 w 540"/>
                <a:gd name="T73" fmla="*/ 390 h 464"/>
                <a:gd name="T74" fmla="*/ 326 w 540"/>
                <a:gd name="T75" fmla="*/ 296 h 464"/>
                <a:gd name="T76" fmla="*/ 352 w 540"/>
                <a:gd name="T77" fmla="*/ 320 h 464"/>
                <a:gd name="T78" fmla="*/ 392 w 540"/>
                <a:gd name="T79" fmla="*/ 330 h 464"/>
                <a:gd name="T80" fmla="*/ 500 w 540"/>
                <a:gd name="T81" fmla="*/ 250 h 464"/>
                <a:gd name="T82" fmla="*/ 432 w 540"/>
                <a:gd name="T83" fmla="*/ 250 h 464"/>
                <a:gd name="T84" fmla="*/ 408 w 540"/>
                <a:gd name="T85" fmla="*/ 244 h 464"/>
                <a:gd name="T86" fmla="*/ 400 w 540"/>
                <a:gd name="T87" fmla="*/ 230 h 464"/>
                <a:gd name="T88" fmla="*/ 410 w 540"/>
                <a:gd name="T89" fmla="*/ 204 h 464"/>
                <a:gd name="T90" fmla="*/ 462 w 540"/>
                <a:gd name="T91" fmla="*/ 152 h 464"/>
                <a:gd name="T92" fmla="*/ 382 w 540"/>
                <a:gd name="T93" fmla="*/ 130 h 464"/>
                <a:gd name="T94" fmla="*/ 330 w 540"/>
                <a:gd name="T95" fmla="*/ 176 h 464"/>
                <a:gd name="T96" fmla="*/ 320 w 540"/>
                <a:gd name="T97" fmla="*/ 19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40" h="464">
                  <a:moveTo>
                    <a:pt x="270" y="0"/>
                  </a:moveTo>
                  <a:lnTo>
                    <a:pt x="270" y="0"/>
                  </a:lnTo>
                  <a:lnTo>
                    <a:pt x="298" y="0"/>
                  </a:lnTo>
                  <a:lnTo>
                    <a:pt x="324" y="4"/>
                  </a:lnTo>
                  <a:lnTo>
                    <a:pt x="350" y="10"/>
                  </a:lnTo>
                  <a:lnTo>
                    <a:pt x="374" y="18"/>
                  </a:lnTo>
                  <a:lnTo>
                    <a:pt x="398" y="28"/>
                  </a:lnTo>
                  <a:lnTo>
                    <a:pt x="420" y="40"/>
                  </a:lnTo>
                  <a:lnTo>
                    <a:pt x="442" y="52"/>
                  </a:lnTo>
                  <a:lnTo>
                    <a:pt x="460" y="68"/>
                  </a:lnTo>
                  <a:lnTo>
                    <a:pt x="478" y="84"/>
                  </a:lnTo>
                  <a:lnTo>
                    <a:pt x="494" y="102"/>
                  </a:lnTo>
                  <a:lnTo>
                    <a:pt x="506" y="122"/>
                  </a:lnTo>
                  <a:lnTo>
                    <a:pt x="518" y="142"/>
                  </a:lnTo>
                  <a:lnTo>
                    <a:pt x="528" y="162"/>
                  </a:lnTo>
                  <a:lnTo>
                    <a:pt x="534" y="184"/>
                  </a:lnTo>
                  <a:lnTo>
                    <a:pt x="538" y="208"/>
                  </a:lnTo>
                  <a:lnTo>
                    <a:pt x="540" y="232"/>
                  </a:lnTo>
                  <a:lnTo>
                    <a:pt x="540" y="232"/>
                  </a:lnTo>
                  <a:lnTo>
                    <a:pt x="538" y="256"/>
                  </a:lnTo>
                  <a:lnTo>
                    <a:pt x="534" y="278"/>
                  </a:lnTo>
                  <a:lnTo>
                    <a:pt x="528" y="300"/>
                  </a:lnTo>
                  <a:lnTo>
                    <a:pt x="518" y="322"/>
                  </a:lnTo>
                  <a:lnTo>
                    <a:pt x="506" y="342"/>
                  </a:lnTo>
                  <a:lnTo>
                    <a:pt x="494" y="362"/>
                  </a:lnTo>
                  <a:lnTo>
                    <a:pt x="478" y="380"/>
                  </a:lnTo>
                  <a:lnTo>
                    <a:pt x="460" y="396"/>
                  </a:lnTo>
                  <a:lnTo>
                    <a:pt x="442" y="410"/>
                  </a:lnTo>
                  <a:lnTo>
                    <a:pt x="420" y="424"/>
                  </a:lnTo>
                  <a:lnTo>
                    <a:pt x="398" y="436"/>
                  </a:lnTo>
                  <a:lnTo>
                    <a:pt x="374" y="446"/>
                  </a:lnTo>
                  <a:lnTo>
                    <a:pt x="350" y="454"/>
                  </a:lnTo>
                  <a:lnTo>
                    <a:pt x="324" y="460"/>
                  </a:lnTo>
                  <a:lnTo>
                    <a:pt x="298" y="462"/>
                  </a:lnTo>
                  <a:lnTo>
                    <a:pt x="270" y="464"/>
                  </a:lnTo>
                  <a:lnTo>
                    <a:pt x="270" y="464"/>
                  </a:lnTo>
                  <a:lnTo>
                    <a:pt x="242" y="462"/>
                  </a:lnTo>
                  <a:lnTo>
                    <a:pt x="216" y="458"/>
                  </a:lnTo>
                  <a:lnTo>
                    <a:pt x="190" y="454"/>
                  </a:lnTo>
                  <a:lnTo>
                    <a:pt x="164" y="446"/>
                  </a:lnTo>
                  <a:lnTo>
                    <a:pt x="140" y="436"/>
                  </a:lnTo>
                  <a:lnTo>
                    <a:pt x="118" y="424"/>
                  </a:lnTo>
                  <a:lnTo>
                    <a:pt x="98" y="410"/>
                  </a:lnTo>
                  <a:lnTo>
                    <a:pt x="78" y="396"/>
                  </a:lnTo>
                  <a:lnTo>
                    <a:pt x="62" y="380"/>
                  </a:lnTo>
                  <a:lnTo>
                    <a:pt x="46" y="362"/>
                  </a:lnTo>
                  <a:lnTo>
                    <a:pt x="32" y="342"/>
                  </a:lnTo>
                  <a:lnTo>
                    <a:pt x="20" y="322"/>
                  </a:lnTo>
                  <a:lnTo>
                    <a:pt x="12" y="300"/>
                  </a:lnTo>
                  <a:lnTo>
                    <a:pt x="6" y="278"/>
                  </a:lnTo>
                  <a:lnTo>
                    <a:pt x="2" y="256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08"/>
                  </a:lnTo>
                  <a:lnTo>
                    <a:pt x="6" y="184"/>
                  </a:lnTo>
                  <a:lnTo>
                    <a:pt x="12" y="162"/>
                  </a:lnTo>
                  <a:lnTo>
                    <a:pt x="20" y="142"/>
                  </a:lnTo>
                  <a:lnTo>
                    <a:pt x="32" y="120"/>
                  </a:lnTo>
                  <a:lnTo>
                    <a:pt x="46" y="102"/>
                  </a:lnTo>
                  <a:lnTo>
                    <a:pt x="62" y="84"/>
                  </a:lnTo>
                  <a:lnTo>
                    <a:pt x="78" y="68"/>
                  </a:lnTo>
                  <a:lnTo>
                    <a:pt x="98" y="52"/>
                  </a:lnTo>
                  <a:lnTo>
                    <a:pt x="118" y="40"/>
                  </a:lnTo>
                  <a:lnTo>
                    <a:pt x="140" y="28"/>
                  </a:lnTo>
                  <a:lnTo>
                    <a:pt x="164" y="18"/>
                  </a:lnTo>
                  <a:lnTo>
                    <a:pt x="190" y="10"/>
                  </a:lnTo>
                  <a:lnTo>
                    <a:pt x="216" y="4"/>
                  </a:lnTo>
                  <a:lnTo>
                    <a:pt x="242" y="0"/>
                  </a:lnTo>
                  <a:lnTo>
                    <a:pt x="270" y="0"/>
                  </a:lnTo>
                  <a:lnTo>
                    <a:pt x="270" y="0"/>
                  </a:lnTo>
                  <a:close/>
                  <a:moveTo>
                    <a:pt x="270" y="232"/>
                  </a:moveTo>
                  <a:lnTo>
                    <a:pt x="270" y="232"/>
                  </a:lnTo>
                  <a:close/>
                  <a:moveTo>
                    <a:pt x="220" y="50"/>
                  </a:moveTo>
                  <a:lnTo>
                    <a:pt x="220" y="50"/>
                  </a:lnTo>
                  <a:lnTo>
                    <a:pt x="220" y="196"/>
                  </a:lnTo>
                  <a:lnTo>
                    <a:pt x="220" y="196"/>
                  </a:lnTo>
                  <a:lnTo>
                    <a:pt x="214" y="186"/>
                  </a:lnTo>
                  <a:lnTo>
                    <a:pt x="208" y="176"/>
                  </a:lnTo>
                  <a:lnTo>
                    <a:pt x="194" y="160"/>
                  </a:lnTo>
                  <a:lnTo>
                    <a:pt x="176" y="144"/>
                  </a:lnTo>
                  <a:lnTo>
                    <a:pt x="156" y="130"/>
                  </a:lnTo>
                  <a:lnTo>
                    <a:pt x="48" y="130"/>
                  </a:lnTo>
                  <a:lnTo>
                    <a:pt x="48" y="130"/>
                  </a:lnTo>
                  <a:lnTo>
                    <a:pt x="76" y="152"/>
                  </a:lnTo>
                  <a:lnTo>
                    <a:pt x="106" y="178"/>
                  </a:lnTo>
                  <a:lnTo>
                    <a:pt x="120" y="192"/>
                  </a:lnTo>
                  <a:lnTo>
                    <a:pt x="130" y="204"/>
                  </a:lnTo>
                  <a:lnTo>
                    <a:pt x="136" y="218"/>
                  </a:lnTo>
                  <a:lnTo>
                    <a:pt x="138" y="230"/>
                  </a:lnTo>
                  <a:lnTo>
                    <a:pt x="138" y="230"/>
                  </a:lnTo>
                  <a:lnTo>
                    <a:pt x="138" y="236"/>
                  </a:lnTo>
                  <a:lnTo>
                    <a:pt x="136" y="240"/>
                  </a:lnTo>
                  <a:lnTo>
                    <a:pt x="132" y="244"/>
                  </a:lnTo>
                  <a:lnTo>
                    <a:pt x="128" y="246"/>
                  </a:lnTo>
                  <a:lnTo>
                    <a:pt x="11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38" y="25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146" y="330"/>
                  </a:lnTo>
                  <a:lnTo>
                    <a:pt x="146" y="330"/>
                  </a:lnTo>
                  <a:lnTo>
                    <a:pt x="166" y="328"/>
                  </a:lnTo>
                  <a:lnTo>
                    <a:pt x="176" y="324"/>
                  </a:lnTo>
                  <a:lnTo>
                    <a:pt x="186" y="320"/>
                  </a:lnTo>
                  <a:lnTo>
                    <a:pt x="196" y="314"/>
                  </a:lnTo>
                  <a:lnTo>
                    <a:pt x="206" y="306"/>
                  </a:lnTo>
                  <a:lnTo>
                    <a:pt x="214" y="296"/>
                  </a:lnTo>
                  <a:lnTo>
                    <a:pt x="220" y="284"/>
                  </a:lnTo>
                  <a:lnTo>
                    <a:pt x="220" y="390"/>
                  </a:lnTo>
                  <a:lnTo>
                    <a:pt x="320" y="390"/>
                  </a:lnTo>
                  <a:lnTo>
                    <a:pt x="320" y="284"/>
                  </a:lnTo>
                  <a:lnTo>
                    <a:pt x="320" y="284"/>
                  </a:lnTo>
                  <a:lnTo>
                    <a:pt x="326" y="296"/>
                  </a:lnTo>
                  <a:lnTo>
                    <a:pt x="334" y="306"/>
                  </a:lnTo>
                  <a:lnTo>
                    <a:pt x="342" y="314"/>
                  </a:lnTo>
                  <a:lnTo>
                    <a:pt x="352" y="320"/>
                  </a:lnTo>
                  <a:lnTo>
                    <a:pt x="362" y="324"/>
                  </a:lnTo>
                  <a:lnTo>
                    <a:pt x="372" y="328"/>
                  </a:lnTo>
                  <a:lnTo>
                    <a:pt x="392" y="330"/>
                  </a:lnTo>
                  <a:lnTo>
                    <a:pt x="392" y="330"/>
                  </a:lnTo>
                  <a:lnTo>
                    <a:pt x="500" y="330"/>
                  </a:lnTo>
                  <a:lnTo>
                    <a:pt x="500" y="250"/>
                  </a:lnTo>
                  <a:lnTo>
                    <a:pt x="500" y="250"/>
                  </a:lnTo>
                  <a:lnTo>
                    <a:pt x="432" y="250"/>
                  </a:lnTo>
                  <a:lnTo>
                    <a:pt x="432" y="250"/>
                  </a:lnTo>
                  <a:lnTo>
                    <a:pt x="422" y="250"/>
                  </a:lnTo>
                  <a:lnTo>
                    <a:pt x="412" y="246"/>
                  </a:lnTo>
                  <a:lnTo>
                    <a:pt x="408" y="244"/>
                  </a:lnTo>
                  <a:lnTo>
                    <a:pt x="404" y="240"/>
                  </a:lnTo>
                  <a:lnTo>
                    <a:pt x="402" y="236"/>
                  </a:lnTo>
                  <a:lnTo>
                    <a:pt x="400" y="230"/>
                  </a:lnTo>
                  <a:lnTo>
                    <a:pt x="400" y="230"/>
                  </a:lnTo>
                  <a:lnTo>
                    <a:pt x="402" y="218"/>
                  </a:lnTo>
                  <a:lnTo>
                    <a:pt x="410" y="204"/>
                  </a:lnTo>
                  <a:lnTo>
                    <a:pt x="420" y="192"/>
                  </a:lnTo>
                  <a:lnTo>
                    <a:pt x="432" y="178"/>
                  </a:lnTo>
                  <a:lnTo>
                    <a:pt x="462" y="152"/>
                  </a:lnTo>
                  <a:lnTo>
                    <a:pt x="492" y="130"/>
                  </a:lnTo>
                  <a:lnTo>
                    <a:pt x="382" y="130"/>
                  </a:lnTo>
                  <a:lnTo>
                    <a:pt x="382" y="130"/>
                  </a:lnTo>
                  <a:lnTo>
                    <a:pt x="364" y="144"/>
                  </a:lnTo>
                  <a:lnTo>
                    <a:pt x="346" y="160"/>
                  </a:lnTo>
                  <a:lnTo>
                    <a:pt x="330" y="176"/>
                  </a:lnTo>
                  <a:lnTo>
                    <a:pt x="324" y="186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20" y="50"/>
                  </a:lnTo>
                  <a:lnTo>
                    <a:pt x="22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1314450" y="339725"/>
              <a:ext cx="5232400" cy="736600"/>
              <a:chOff x="1314450" y="339725"/>
              <a:chExt cx="5232400" cy="736600"/>
            </a:xfrm>
            <a:grpFill/>
          </p:grpSpPr>
          <p:sp>
            <p:nvSpPr>
              <p:cNvPr id="11" name="Freeform 9"/>
              <p:cNvSpPr>
                <a:spLocks/>
              </p:cNvSpPr>
              <p:nvPr/>
            </p:nvSpPr>
            <p:spPr bwMode="auto">
              <a:xfrm>
                <a:off x="1908175" y="352425"/>
                <a:ext cx="139700" cy="98425"/>
              </a:xfrm>
              <a:custGeom>
                <a:avLst/>
                <a:gdLst>
                  <a:gd name="T0" fmla="*/ 4 w 88"/>
                  <a:gd name="T1" fmla="*/ 0 h 62"/>
                  <a:gd name="T2" fmla="*/ 88 w 88"/>
                  <a:gd name="T3" fmla="*/ 0 h 62"/>
                  <a:gd name="T4" fmla="*/ 84 w 88"/>
                  <a:gd name="T5" fmla="*/ 62 h 62"/>
                  <a:gd name="T6" fmla="*/ 0 w 88"/>
                  <a:gd name="T7" fmla="*/ 62 h 62"/>
                  <a:gd name="T8" fmla="*/ 4 w 88"/>
                  <a:gd name="T9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" h="62">
                    <a:moveTo>
                      <a:pt x="4" y="0"/>
                    </a:moveTo>
                    <a:lnTo>
                      <a:pt x="88" y="0"/>
                    </a:lnTo>
                    <a:lnTo>
                      <a:pt x="84" y="62"/>
                    </a:lnTo>
                    <a:lnTo>
                      <a:pt x="0" y="6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10"/>
              <p:cNvSpPr>
                <a:spLocks noEditPoints="1"/>
              </p:cNvSpPr>
              <p:nvPr/>
            </p:nvSpPr>
            <p:spPr bwMode="auto">
              <a:xfrm>
                <a:off x="5397500" y="504825"/>
                <a:ext cx="393700" cy="393700"/>
              </a:xfrm>
              <a:custGeom>
                <a:avLst/>
                <a:gdLst>
                  <a:gd name="T0" fmla="*/ 152 w 248"/>
                  <a:gd name="T1" fmla="*/ 216 h 248"/>
                  <a:gd name="T2" fmla="*/ 138 w 248"/>
                  <a:gd name="T3" fmla="*/ 228 h 248"/>
                  <a:gd name="T4" fmla="*/ 112 w 248"/>
                  <a:gd name="T5" fmla="*/ 242 h 248"/>
                  <a:gd name="T6" fmla="*/ 92 w 248"/>
                  <a:gd name="T7" fmla="*/ 246 h 248"/>
                  <a:gd name="T8" fmla="*/ 80 w 248"/>
                  <a:gd name="T9" fmla="*/ 248 h 248"/>
                  <a:gd name="T10" fmla="*/ 44 w 248"/>
                  <a:gd name="T11" fmla="*/ 242 h 248"/>
                  <a:gd name="T12" fmla="*/ 18 w 248"/>
                  <a:gd name="T13" fmla="*/ 226 h 248"/>
                  <a:gd name="T14" fmla="*/ 4 w 248"/>
                  <a:gd name="T15" fmla="*/ 202 h 248"/>
                  <a:gd name="T16" fmla="*/ 0 w 248"/>
                  <a:gd name="T17" fmla="*/ 174 h 248"/>
                  <a:gd name="T18" fmla="*/ 2 w 248"/>
                  <a:gd name="T19" fmla="*/ 156 h 248"/>
                  <a:gd name="T20" fmla="*/ 20 w 248"/>
                  <a:gd name="T21" fmla="*/ 128 h 248"/>
                  <a:gd name="T22" fmla="*/ 54 w 248"/>
                  <a:gd name="T23" fmla="*/ 108 h 248"/>
                  <a:gd name="T24" fmla="*/ 104 w 248"/>
                  <a:gd name="T25" fmla="*/ 98 h 248"/>
                  <a:gd name="T26" fmla="*/ 162 w 248"/>
                  <a:gd name="T27" fmla="*/ 96 h 248"/>
                  <a:gd name="T28" fmla="*/ 164 w 248"/>
                  <a:gd name="T29" fmla="*/ 78 h 248"/>
                  <a:gd name="T30" fmla="*/ 162 w 248"/>
                  <a:gd name="T31" fmla="*/ 60 h 248"/>
                  <a:gd name="T32" fmla="*/ 154 w 248"/>
                  <a:gd name="T33" fmla="*/ 46 h 248"/>
                  <a:gd name="T34" fmla="*/ 136 w 248"/>
                  <a:gd name="T35" fmla="*/ 40 h 248"/>
                  <a:gd name="T36" fmla="*/ 126 w 248"/>
                  <a:gd name="T37" fmla="*/ 42 h 248"/>
                  <a:gd name="T38" fmla="*/ 114 w 248"/>
                  <a:gd name="T39" fmla="*/ 48 h 248"/>
                  <a:gd name="T40" fmla="*/ 106 w 248"/>
                  <a:gd name="T41" fmla="*/ 66 h 248"/>
                  <a:gd name="T42" fmla="*/ 22 w 248"/>
                  <a:gd name="T43" fmla="*/ 76 h 248"/>
                  <a:gd name="T44" fmla="*/ 24 w 248"/>
                  <a:gd name="T45" fmla="*/ 66 h 248"/>
                  <a:gd name="T46" fmla="*/ 28 w 248"/>
                  <a:gd name="T47" fmla="*/ 46 h 248"/>
                  <a:gd name="T48" fmla="*/ 38 w 248"/>
                  <a:gd name="T49" fmla="*/ 30 h 248"/>
                  <a:gd name="T50" fmla="*/ 54 w 248"/>
                  <a:gd name="T51" fmla="*/ 18 h 248"/>
                  <a:gd name="T52" fmla="*/ 62 w 248"/>
                  <a:gd name="T53" fmla="*/ 14 h 248"/>
                  <a:gd name="T54" fmla="*/ 102 w 248"/>
                  <a:gd name="T55" fmla="*/ 2 h 248"/>
                  <a:gd name="T56" fmla="*/ 144 w 248"/>
                  <a:gd name="T57" fmla="*/ 0 h 248"/>
                  <a:gd name="T58" fmla="*/ 164 w 248"/>
                  <a:gd name="T59" fmla="*/ 0 h 248"/>
                  <a:gd name="T60" fmla="*/ 200 w 248"/>
                  <a:gd name="T61" fmla="*/ 10 h 248"/>
                  <a:gd name="T62" fmla="*/ 230 w 248"/>
                  <a:gd name="T63" fmla="*/ 30 h 248"/>
                  <a:gd name="T64" fmla="*/ 240 w 248"/>
                  <a:gd name="T65" fmla="*/ 44 h 248"/>
                  <a:gd name="T66" fmla="*/ 246 w 248"/>
                  <a:gd name="T67" fmla="*/ 62 h 248"/>
                  <a:gd name="T68" fmla="*/ 248 w 248"/>
                  <a:gd name="T69" fmla="*/ 82 h 248"/>
                  <a:gd name="T70" fmla="*/ 242 w 248"/>
                  <a:gd name="T71" fmla="*/ 196 h 248"/>
                  <a:gd name="T72" fmla="*/ 242 w 248"/>
                  <a:gd name="T73" fmla="*/ 246 h 248"/>
                  <a:gd name="T74" fmla="*/ 152 w 248"/>
                  <a:gd name="T75" fmla="*/ 216 h 248"/>
                  <a:gd name="T76" fmla="*/ 114 w 248"/>
                  <a:gd name="T77" fmla="*/ 200 h 248"/>
                  <a:gd name="T78" fmla="*/ 138 w 248"/>
                  <a:gd name="T79" fmla="*/ 194 h 248"/>
                  <a:gd name="T80" fmla="*/ 152 w 248"/>
                  <a:gd name="T81" fmla="*/ 176 h 248"/>
                  <a:gd name="T82" fmla="*/ 158 w 248"/>
                  <a:gd name="T83" fmla="*/ 154 h 248"/>
                  <a:gd name="T84" fmla="*/ 160 w 248"/>
                  <a:gd name="T85" fmla="*/ 130 h 248"/>
                  <a:gd name="T86" fmla="*/ 122 w 248"/>
                  <a:gd name="T87" fmla="*/ 132 h 248"/>
                  <a:gd name="T88" fmla="*/ 110 w 248"/>
                  <a:gd name="T89" fmla="*/ 134 h 248"/>
                  <a:gd name="T90" fmla="*/ 94 w 248"/>
                  <a:gd name="T91" fmla="*/ 148 h 248"/>
                  <a:gd name="T92" fmla="*/ 86 w 248"/>
                  <a:gd name="T93" fmla="*/ 170 h 248"/>
                  <a:gd name="T94" fmla="*/ 86 w 248"/>
                  <a:gd name="T95" fmla="*/ 176 h 248"/>
                  <a:gd name="T96" fmla="*/ 92 w 248"/>
                  <a:gd name="T97" fmla="*/ 192 h 248"/>
                  <a:gd name="T98" fmla="*/ 102 w 248"/>
                  <a:gd name="T99" fmla="*/ 198 h 248"/>
                  <a:gd name="T100" fmla="*/ 114 w 248"/>
                  <a:gd name="T101" fmla="*/ 20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8" h="248">
                    <a:moveTo>
                      <a:pt x="152" y="216"/>
                    </a:moveTo>
                    <a:lnTo>
                      <a:pt x="152" y="216"/>
                    </a:lnTo>
                    <a:lnTo>
                      <a:pt x="152" y="216"/>
                    </a:lnTo>
                    <a:lnTo>
                      <a:pt x="138" y="228"/>
                    </a:lnTo>
                    <a:lnTo>
                      <a:pt x="122" y="238"/>
                    </a:lnTo>
                    <a:lnTo>
                      <a:pt x="112" y="242"/>
                    </a:lnTo>
                    <a:lnTo>
                      <a:pt x="102" y="246"/>
                    </a:lnTo>
                    <a:lnTo>
                      <a:pt x="92" y="246"/>
                    </a:lnTo>
                    <a:lnTo>
                      <a:pt x="80" y="248"/>
                    </a:lnTo>
                    <a:lnTo>
                      <a:pt x="80" y="248"/>
                    </a:lnTo>
                    <a:lnTo>
                      <a:pt x="60" y="246"/>
                    </a:lnTo>
                    <a:lnTo>
                      <a:pt x="44" y="242"/>
                    </a:lnTo>
                    <a:lnTo>
                      <a:pt x="30" y="234"/>
                    </a:lnTo>
                    <a:lnTo>
                      <a:pt x="18" y="226"/>
                    </a:lnTo>
                    <a:lnTo>
                      <a:pt x="10" y="216"/>
                    </a:lnTo>
                    <a:lnTo>
                      <a:pt x="4" y="202"/>
                    </a:lnTo>
                    <a:lnTo>
                      <a:pt x="0" y="188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2" y="156"/>
                    </a:lnTo>
                    <a:lnTo>
                      <a:pt x="8" y="142"/>
                    </a:lnTo>
                    <a:lnTo>
                      <a:pt x="20" y="128"/>
                    </a:lnTo>
                    <a:lnTo>
                      <a:pt x="34" y="116"/>
                    </a:lnTo>
                    <a:lnTo>
                      <a:pt x="54" y="108"/>
                    </a:lnTo>
                    <a:lnTo>
                      <a:pt x="76" y="102"/>
                    </a:lnTo>
                    <a:lnTo>
                      <a:pt x="104" y="98"/>
                    </a:lnTo>
                    <a:lnTo>
                      <a:pt x="134" y="96"/>
                    </a:lnTo>
                    <a:lnTo>
                      <a:pt x="162" y="96"/>
                    </a:lnTo>
                    <a:lnTo>
                      <a:pt x="162" y="96"/>
                    </a:lnTo>
                    <a:lnTo>
                      <a:pt x="164" y="78"/>
                    </a:lnTo>
                    <a:lnTo>
                      <a:pt x="164" y="70"/>
                    </a:lnTo>
                    <a:lnTo>
                      <a:pt x="162" y="60"/>
                    </a:lnTo>
                    <a:lnTo>
                      <a:pt x="160" y="52"/>
                    </a:lnTo>
                    <a:lnTo>
                      <a:pt x="154" y="46"/>
                    </a:lnTo>
                    <a:lnTo>
                      <a:pt x="146" y="42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26" y="42"/>
                    </a:lnTo>
                    <a:lnTo>
                      <a:pt x="120" y="44"/>
                    </a:lnTo>
                    <a:lnTo>
                      <a:pt x="114" y="48"/>
                    </a:lnTo>
                    <a:lnTo>
                      <a:pt x="110" y="54"/>
                    </a:lnTo>
                    <a:lnTo>
                      <a:pt x="106" y="66"/>
                    </a:lnTo>
                    <a:lnTo>
                      <a:pt x="104" y="76"/>
                    </a:lnTo>
                    <a:lnTo>
                      <a:pt x="22" y="76"/>
                    </a:lnTo>
                    <a:lnTo>
                      <a:pt x="22" y="76"/>
                    </a:lnTo>
                    <a:lnTo>
                      <a:pt x="24" y="66"/>
                    </a:lnTo>
                    <a:lnTo>
                      <a:pt x="26" y="54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38" y="30"/>
                    </a:lnTo>
                    <a:lnTo>
                      <a:pt x="46" y="24"/>
                    </a:lnTo>
                    <a:lnTo>
                      <a:pt x="54" y="18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2" y="6"/>
                    </a:lnTo>
                    <a:lnTo>
                      <a:pt x="102" y="2"/>
                    </a:lnTo>
                    <a:lnTo>
                      <a:pt x="124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64" y="0"/>
                    </a:lnTo>
                    <a:lnTo>
                      <a:pt x="182" y="4"/>
                    </a:lnTo>
                    <a:lnTo>
                      <a:pt x="200" y="10"/>
                    </a:lnTo>
                    <a:lnTo>
                      <a:pt x="216" y="18"/>
                    </a:lnTo>
                    <a:lnTo>
                      <a:pt x="230" y="30"/>
                    </a:lnTo>
                    <a:lnTo>
                      <a:pt x="236" y="38"/>
                    </a:lnTo>
                    <a:lnTo>
                      <a:pt x="240" y="44"/>
                    </a:lnTo>
                    <a:lnTo>
                      <a:pt x="244" y="52"/>
                    </a:lnTo>
                    <a:lnTo>
                      <a:pt x="246" y="62"/>
                    </a:lnTo>
                    <a:lnTo>
                      <a:pt x="248" y="72"/>
                    </a:lnTo>
                    <a:lnTo>
                      <a:pt x="248" y="82"/>
                    </a:lnTo>
                    <a:lnTo>
                      <a:pt x="242" y="196"/>
                    </a:lnTo>
                    <a:lnTo>
                      <a:pt x="242" y="196"/>
                    </a:lnTo>
                    <a:lnTo>
                      <a:pt x="240" y="214"/>
                    </a:lnTo>
                    <a:lnTo>
                      <a:pt x="242" y="246"/>
                    </a:lnTo>
                    <a:lnTo>
                      <a:pt x="158" y="246"/>
                    </a:lnTo>
                    <a:lnTo>
                      <a:pt x="152" y="216"/>
                    </a:lnTo>
                    <a:close/>
                    <a:moveTo>
                      <a:pt x="114" y="200"/>
                    </a:moveTo>
                    <a:lnTo>
                      <a:pt x="114" y="200"/>
                    </a:lnTo>
                    <a:lnTo>
                      <a:pt x="128" y="198"/>
                    </a:lnTo>
                    <a:lnTo>
                      <a:pt x="138" y="194"/>
                    </a:lnTo>
                    <a:lnTo>
                      <a:pt x="146" y="186"/>
                    </a:lnTo>
                    <a:lnTo>
                      <a:pt x="152" y="176"/>
                    </a:lnTo>
                    <a:lnTo>
                      <a:pt x="156" y="166"/>
                    </a:lnTo>
                    <a:lnTo>
                      <a:pt x="158" y="154"/>
                    </a:lnTo>
                    <a:lnTo>
                      <a:pt x="160" y="130"/>
                    </a:lnTo>
                    <a:lnTo>
                      <a:pt x="160" y="130"/>
                    </a:lnTo>
                    <a:lnTo>
                      <a:pt x="134" y="130"/>
                    </a:lnTo>
                    <a:lnTo>
                      <a:pt x="122" y="132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2" y="140"/>
                    </a:lnTo>
                    <a:lnTo>
                      <a:pt x="94" y="148"/>
                    </a:lnTo>
                    <a:lnTo>
                      <a:pt x="88" y="158"/>
                    </a:lnTo>
                    <a:lnTo>
                      <a:pt x="86" y="170"/>
                    </a:lnTo>
                    <a:lnTo>
                      <a:pt x="86" y="170"/>
                    </a:lnTo>
                    <a:lnTo>
                      <a:pt x="86" y="176"/>
                    </a:lnTo>
                    <a:lnTo>
                      <a:pt x="88" y="182"/>
                    </a:lnTo>
                    <a:lnTo>
                      <a:pt x="92" y="192"/>
                    </a:lnTo>
                    <a:lnTo>
                      <a:pt x="96" y="194"/>
                    </a:lnTo>
                    <a:lnTo>
                      <a:pt x="102" y="198"/>
                    </a:lnTo>
                    <a:lnTo>
                      <a:pt x="108" y="200"/>
                    </a:lnTo>
                    <a:lnTo>
                      <a:pt x="114" y="200"/>
                    </a:lnTo>
                    <a:lnTo>
                      <a:pt x="114" y="2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11"/>
              <p:cNvSpPr>
                <a:spLocks noEditPoints="1"/>
              </p:cNvSpPr>
              <p:nvPr/>
            </p:nvSpPr>
            <p:spPr bwMode="auto">
              <a:xfrm>
                <a:off x="6092825" y="352425"/>
                <a:ext cx="454025" cy="542925"/>
              </a:xfrm>
              <a:custGeom>
                <a:avLst/>
                <a:gdLst>
                  <a:gd name="T0" fmla="*/ 0 w 286"/>
                  <a:gd name="T1" fmla="*/ 342 h 342"/>
                  <a:gd name="T2" fmla="*/ 24 w 286"/>
                  <a:gd name="T3" fmla="*/ 0 h 342"/>
                  <a:gd name="T4" fmla="*/ 114 w 286"/>
                  <a:gd name="T5" fmla="*/ 0 h 342"/>
                  <a:gd name="T6" fmla="*/ 90 w 286"/>
                  <a:gd name="T7" fmla="*/ 342 h 342"/>
                  <a:gd name="T8" fmla="*/ 0 w 286"/>
                  <a:gd name="T9" fmla="*/ 342 h 342"/>
                  <a:gd name="T10" fmla="*/ 100 w 286"/>
                  <a:gd name="T11" fmla="*/ 210 h 342"/>
                  <a:gd name="T12" fmla="*/ 184 w 286"/>
                  <a:gd name="T13" fmla="*/ 104 h 342"/>
                  <a:gd name="T14" fmla="*/ 286 w 286"/>
                  <a:gd name="T15" fmla="*/ 104 h 342"/>
                  <a:gd name="T16" fmla="*/ 194 w 286"/>
                  <a:gd name="T17" fmla="*/ 204 h 342"/>
                  <a:gd name="T18" fmla="*/ 282 w 286"/>
                  <a:gd name="T19" fmla="*/ 342 h 342"/>
                  <a:gd name="T20" fmla="*/ 170 w 286"/>
                  <a:gd name="T21" fmla="*/ 342 h 342"/>
                  <a:gd name="T22" fmla="*/ 100 w 286"/>
                  <a:gd name="T23" fmla="*/ 21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6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4" y="0"/>
                    </a:lnTo>
                    <a:lnTo>
                      <a:pt x="90" y="342"/>
                    </a:lnTo>
                    <a:lnTo>
                      <a:pt x="0" y="342"/>
                    </a:lnTo>
                    <a:close/>
                    <a:moveTo>
                      <a:pt x="100" y="210"/>
                    </a:moveTo>
                    <a:lnTo>
                      <a:pt x="184" y="104"/>
                    </a:lnTo>
                    <a:lnTo>
                      <a:pt x="286" y="104"/>
                    </a:lnTo>
                    <a:lnTo>
                      <a:pt x="194" y="204"/>
                    </a:lnTo>
                    <a:lnTo>
                      <a:pt x="282" y="342"/>
                    </a:lnTo>
                    <a:lnTo>
                      <a:pt x="170" y="342"/>
                    </a:lnTo>
                    <a:lnTo>
                      <a:pt x="10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12"/>
              <p:cNvSpPr>
                <a:spLocks/>
              </p:cNvSpPr>
              <p:nvPr/>
            </p:nvSpPr>
            <p:spPr bwMode="auto">
              <a:xfrm>
                <a:off x="3606800" y="517525"/>
                <a:ext cx="292100" cy="377825"/>
              </a:xfrm>
              <a:custGeom>
                <a:avLst/>
                <a:gdLst>
                  <a:gd name="T0" fmla="*/ 104 w 184"/>
                  <a:gd name="T1" fmla="*/ 34 h 238"/>
                  <a:gd name="T2" fmla="*/ 106 w 184"/>
                  <a:gd name="T3" fmla="*/ 34 h 238"/>
                  <a:gd name="T4" fmla="*/ 106 w 184"/>
                  <a:gd name="T5" fmla="*/ 34 h 238"/>
                  <a:gd name="T6" fmla="*/ 114 w 184"/>
                  <a:gd name="T7" fmla="*/ 24 h 238"/>
                  <a:gd name="T8" fmla="*/ 124 w 184"/>
                  <a:gd name="T9" fmla="*/ 16 h 238"/>
                  <a:gd name="T10" fmla="*/ 132 w 184"/>
                  <a:gd name="T11" fmla="*/ 10 h 238"/>
                  <a:gd name="T12" fmla="*/ 142 w 184"/>
                  <a:gd name="T13" fmla="*/ 6 h 238"/>
                  <a:gd name="T14" fmla="*/ 152 w 184"/>
                  <a:gd name="T15" fmla="*/ 4 h 238"/>
                  <a:gd name="T16" fmla="*/ 162 w 184"/>
                  <a:gd name="T17" fmla="*/ 2 h 238"/>
                  <a:gd name="T18" fmla="*/ 184 w 184"/>
                  <a:gd name="T19" fmla="*/ 0 h 238"/>
                  <a:gd name="T20" fmla="*/ 178 w 184"/>
                  <a:gd name="T21" fmla="*/ 76 h 238"/>
                  <a:gd name="T22" fmla="*/ 178 w 184"/>
                  <a:gd name="T23" fmla="*/ 76 h 238"/>
                  <a:gd name="T24" fmla="*/ 160 w 184"/>
                  <a:gd name="T25" fmla="*/ 76 h 238"/>
                  <a:gd name="T26" fmla="*/ 160 w 184"/>
                  <a:gd name="T27" fmla="*/ 76 h 238"/>
                  <a:gd name="T28" fmla="*/ 140 w 184"/>
                  <a:gd name="T29" fmla="*/ 78 h 238"/>
                  <a:gd name="T30" fmla="*/ 126 w 184"/>
                  <a:gd name="T31" fmla="*/ 82 h 238"/>
                  <a:gd name="T32" fmla="*/ 116 w 184"/>
                  <a:gd name="T33" fmla="*/ 88 h 238"/>
                  <a:gd name="T34" fmla="*/ 108 w 184"/>
                  <a:gd name="T35" fmla="*/ 98 h 238"/>
                  <a:gd name="T36" fmla="*/ 102 w 184"/>
                  <a:gd name="T37" fmla="*/ 108 h 238"/>
                  <a:gd name="T38" fmla="*/ 100 w 184"/>
                  <a:gd name="T39" fmla="*/ 120 h 238"/>
                  <a:gd name="T40" fmla="*/ 98 w 184"/>
                  <a:gd name="T41" fmla="*/ 148 h 238"/>
                  <a:gd name="T42" fmla="*/ 92 w 184"/>
                  <a:gd name="T43" fmla="*/ 238 h 238"/>
                  <a:gd name="T44" fmla="*/ 0 w 184"/>
                  <a:gd name="T45" fmla="*/ 238 h 238"/>
                  <a:gd name="T46" fmla="*/ 12 w 184"/>
                  <a:gd name="T47" fmla="*/ 62 h 238"/>
                  <a:gd name="T48" fmla="*/ 12 w 184"/>
                  <a:gd name="T49" fmla="*/ 62 h 238"/>
                  <a:gd name="T50" fmla="*/ 14 w 184"/>
                  <a:gd name="T51" fmla="*/ 32 h 238"/>
                  <a:gd name="T52" fmla="*/ 14 w 184"/>
                  <a:gd name="T53" fmla="*/ 0 h 238"/>
                  <a:gd name="T54" fmla="*/ 102 w 184"/>
                  <a:gd name="T55" fmla="*/ 0 h 238"/>
                  <a:gd name="T56" fmla="*/ 104 w 184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4" h="238">
                    <a:moveTo>
                      <a:pt x="104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4" y="24"/>
                    </a:lnTo>
                    <a:lnTo>
                      <a:pt x="124" y="16"/>
                    </a:lnTo>
                    <a:lnTo>
                      <a:pt x="132" y="10"/>
                    </a:lnTo>
                    <a:lnTo>
                      <a:pt x="142" y="6"/>
                    </a:lnTo>
                    <a:lnTo>
                      <a:pt x="152" y="4"/>
                    </a:lnTo>
                    <a:lnTo>
                      <a:pt x="162" y="2"/>
                    </a:lnTo>
                    <a:lnTo>
                      <a:pt x="184" y="0"/>
                    </a:lnTo>
                    <a:lnTo>
                      <a:pt x="178" y="76"/>
                    </a:lnTo>
                    <a:lnTo>
                      <a:pt x="178" y="76"/>
                    </a:lnTo>
                    <a:lnTo>
                      <a:pt x="160" y="76"/>
                    </a:lnTo>
                    <a:lnTo>
                      <a:pt x="160" y="76"/>
                    </a:lnTo>
                    <a:lnTo>
                      <a:pt x="140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2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4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13"/>
              <p:cNvSpPr>
                <a:spLocks/>
              </p:cNvSpPr>
              <p:nvPr/>
            </p:nvSpPr>
            <p:spPr bwMode="auto">
              <a:xfrm>
                <a:off x="3889375" y="352425"/>
                <a:ext cx="174625" cy="542925"/>
              </a:xfrm>
              <a:custGeom>
                <a:avLst/>
                <a:gdLst>
                  <a:gd name="T0" fmla="*/ 0 w 110"/>
                  <a:gd name="T1" fmla="*/ 342 h 342"/>
                  <a:gd name="T2" fmla="*/ 24 w 110"/>
                  <a:gd name="T3" fmla="*/ 0 h 342"/>
                  <a:gd name="T4" fmla="*/ 110 w 110"/>
                  <a:gd name="T5" fmla="*/ 0 h 342"/>
                  <a:gd name="T6" fmla="*/ 86 w 110"/>
                  <a:gd name="T7" fmla="*/ 342 h 342"/>
                  <a:gd name="T8" fmla="*/ 0 w 110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0" y="0"/>
                    </a:lnTo>
                    <a:lnTo>
                      <a:pt x="86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14"/>
              <p:cNvSpPr>
                <a:spLocks noEditPoints="1"/>
              </p:cNvSpPr>
              <p:nvPr/>
            </p:nvSpPr>
            <p:spPr bwMode="auto">
              <a:xfrm>
                <a:off x="2740025" y="352425"/>
                <a:ext cx="438150" cy="546100"/>
              </a:xfrm>
              <a:custGeom>
                <a:avLst/>
                <a:gdLst>
                  <a:gd name="T0" fmla="*/ 112 w 276"/>
                  <a:gd name="T1" fmla="*/ 0 h 344"/>
                  <a:gd name="T2" fmla="*/ 104 w 276"/>
                  <a:gd name="T3" fmla="*/ 136 h 344"/>
                  <a:gd name="T4" fmla="*/ 120 w 276"/>
                  <a:gd name="T5" fmla="*/ 122 h 344"/>
                  <a:gd name="T6" fmla="*/ 146 w 276"/>
                  <a:gd name="T7" fmla="*/ 104 h 344"/>
                  <a:gd name="T8" fmla="*/ 168 w 276"/>
                  <a:gd name="T9" fmla="*/ 98 h 344"/>
                  <a:gd name="T10" fmla="*/ 180 w 276"/>
                  <a:gd name="T11" fmla="*/ 98 h 344"/>
                  <a:gd name="T12" fmla="*/ 206 w 276"/>
                  <a:gd name="T13" fmla="*/ 100 h 344"/>
                  <a:gd name="T14" fmla="*/ 226 w 276"/>
                  <a:gd name="T15" fmla="*/ 108 h 344"/>
                  <a:gd name="T16" fmla="*/ 244 w 276"/>
                  <a:gd name="T17" fmla="*/ 120 h 344"/>
                  <a:gd name="T18" fmla="*/ 258 w 276"/>
                  <a:gd name="T19" fmla="*/ 136 h 344"/>
                  <a:gd name="T20" fmla="*/ 274 w 276"/>
                  <a:gd name="T21" fmla="*/ 176 h 344"/>
                  <a:gd name="T22" fmla="*/ 276 w 276"/>
                  <a:gd name="T23" fmla="*/ 220 h 344"/>
                  <a:gd name="T24" fmla="*/ 274 w 276"/>
                  <a:gd name="T25" fmla="*/ 242 h 344"/>
                  <a:gd name="T26" fmla="*/ 260 w 276"/>
                  <a:gd name="T27" fmla="*/ 284 h 344"/>
                  <a:gd name="T28" fmla="*/ 240 w 276"/>
                  <a:gd name="T29" fmla="*/ 312 h 344"/>
                  <a:gd name="T30" fmla="*/ 222 w 276"/>
                  <a:gd name="T31" fmla="*/ 328 h 344"/>
                  <a:gd name="T32" fmla="*/ 202 w 276"/>
                  <a:gd name="T33" fmla="*/ 338 h 344"/>
                  <a:gd name="T34" fmla="*/ 176 w 276"/>
                  <a:gd name="T35" fmla="*/ 344 h 344"/>
                  <a:gd name="T36" fmla="*/ 160 w 276"/>
                  <a:gd name="T37" fmla="*/ 344 h 344"/>
                  <a:gd name="T38" fmla="*/ 140 w 276"/>
                  <a:gd name="T39" fmla="*/ 342 h 344"/>
                  <a:gd name="T40" fmla="*/ 106 w 276"/>
                  <a:gd name="T41" fmla="*/ 324 h 344"/>
                  <a:gd name="T42" fmla="*/ 92 w 276"/>
                  <a:gd name="T43" fmla="*/ 312 h 344"/>
                  <a:gd name="T44" fmla="*/ 0 w 276"/>
                  <a:gd name="T45" fmla="*/ 342 h 344"/>
                  <a:gd name="T46" fmla="*/ 94 w 276"/>
                  <a:gd name="T47" fmla="*/ 226 h 344"/>
                  <a:gd name="T48" fmla="*/ 96 w 276"/>
                  <a:gd name="T49" fmla="*/ 250 h 344"/>
                  <a:gd name="T50" fmla="*/ 102 w 276"/>
                  <a:gd name="T51" fmla="*/ 272 h 344"/>
                  <a:gd name="T52" fmla="*/ 114 w 276"/>
                  <a:gd name="T53" fmla="*/ 288 h 344"/>
                  <a:gd name="T54" fmla="*/ 134 w 276"/>
                  <a:gd name="T55" fmla="*/ 296 h 344"/>
                  <a:gd name="T56" fmla="*/ 148 w 276"/>
                  <a:gd name="T57" fmla="*/ 294 h 344"/>
                  <a:gd name="T58" fmla="*/ 168 w 276"/>
                  <a:gd name="T59" fmla="*/ 282 h 344"/>
                  <a:gd name="T60" fmla="*/ 180 w 276"/>
                  <a:gd name="T61" fmla="*/ 260 h 344"/>
                  <a:gd name="T62" fmla="*/ 186 w 276"/>
                  <a:gd name="T63" fmla="*/ 222 h 344"/>
                  <a:gd name="T64" fmla="*/ 186 w 276"/>
                  <a:gd name="T65" fmla="*/ 198 h 344"/>
                  <a:gd name="T66" fmla="*/ 180 w 276"/>
                  <a:gd name="T67" fmla="*/ 174 h 344"/>
                  <a:gd name="T68" fmla="*/ 168 w 276"/>
                  <a:gd name="T69" fmla="*/ 156 h 344"/>
                  <a:gd name="T70" fmla="*/ 146 w 276"/>
                  <a:gd name="T71" fmla="*/ 150 h 344"/>
                  <a:gd name="T72" fmla="*/ 132 w 276"/>
                  <a:gd name="T73" fmla="*/ 152 h 344"/>
                  <a:gd name="T74" fmla="*/ 112 w 276"/>
                  <a:gd name="T75" fmla="*/ 166 h 344"/>
                  <a:gd name="T76" fmla="*/ 100 w 276"/>
                  <a:gd name="T77" fmla="*/ 188 h 344"/>
                  <a:gd name="T78" fmla="*/ 94 w 276"/>
                  <a:gd name="T79" fmla="*/ 226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6" h="344">
                    <a:moveTo>
                      <a:pt x="24" y="0"/>
                    </a:moveTo>
                    <a:lnTo>
                      <a:pt x="112" y="0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20" y="122"/>
                    </a:lnTo>
                    <a:lnTo>
                      <a:pt x="138" y="108"/>
                    </a:lnTo>
                    <a:lnTo>
                      <a:pt x="146" y="104"/>
                    </a:lnTo>
                    <a:lnTo>
                      <a:pt x="158" y="100"/>
                    </a:lnTo>
                    <a:lnTo>
                      <a:pt x="168" y="98"/>
                    </a:lnTo>
                    <a:lnTo>
                      <a:pt x="180" y="98"/>
                    </a:lnTo>
                    <a:lnTo>
                      <a:pt x="180" y="98"/>
                    </a:lnTo>
                    <a:lnTo>
                      <a:pt x="194" y="98"/>
                    </a:lnTo>
                    <a:lnTo>
                      <a:pt x="206" y="100"/>
                    </a:lnTo>
                    <a:lnTo>
                      <a:pt x="216" y="104"/>
                    </a:lnTo>
                    <a:lnTo>
                      <a:pt x="226" y="108"/>
                    </a:lnTo>
                    <a:lnTo>
                      <a:pt x="236" y="114"/>
                    </a:lnTo>
                    <a:lnTo>
                      <a:pt x="244" y="120"/>
                    </a:lnTo>
                    <a:lnTo>
                      <a:pt x="250" y="128"/>
                    </a:lnTo>
                    <a:lnTo>
                      <a:pt x="258" y="136"/>
                    </a:lnTo>
                    <a:lnTo>
                      <a:pt x="266" y="156"/>
                    </a:lnTo>
                    <a:lnTo>
                      <a:pt x="274" y="176"/>
                    </a:lnTo>
                    <a:lnTo>
                      <a:pt x="276" y="198"/>
                    </a:lnTo>
                    <a:lnTo>
                      <a:pt x="276" y="220"/>
                    </a:lnTo>
                    <a:lnTo>
                      <a:pt x="276" y="220"/>
                    </a:lnTo>
                    <a:lnTo>
                      <a:pt x="274" y="242"/>
                    </a:lnTo>
                    <a:lnTo>
                      <a:pt x="268" y="264"/>
                    </a:lnTo>
                    <a:lnTo>
                      <a:pt x="260" y="284"/>
                    </a:lnTo>
                    <a:lnTo>
                      <a:pt x="248" y="304"/>
                    </a:lnTo>
                    <a:lnTo>
                      <a:pt x="240" y="312"/>
                    </a:lnTo>
                    <a:lnTo>
                      <a:pt x="232" y="320"/>
                    </a:lnTo>
                    <a:lnTo>
                      <a:pt x="222" y="328"/>
                    </a:lnTo>
                    <a:lnTo>
                      <a:pt x="212" y="334"/>
                    </a:lnTo>
                    <a:lnTo>
                      <a:pt x="202" y="338"/>
                    </a:lnTo>
                    <a:lnTo>
                      <a:pt x="188" y="342"/>
                    </a:lnTo>
                    <a:lnTo>
                      <a:pt x="176" y="344"/>
                    </a:lnTo>
                    <a:lnTo>
                      <a:pt x="160" y="344"/>
                    </a:lnTo>
                    <a:lnTo>
                      <a:pt x="160" y="344"/>
                    </a:lnTo>
                    <a:lnTo>
                      <a:pt x="150" y="344"/>
                    </a:lnTo>
                    <a:lnTo>
                      <a:pt x="140" y="342"/>
                    </a:lnTo>
                    <a:lnTo>
                      <a:pt x="122" y="336"/>
                    </a:lnTo>
                    <a:lnTo>
                      <a:pt x="106" y="324"/>
                    </a:lnTo>
                    <a:lnTo>
                      <a:pt x="94" y="312"/>
                    </a:lnTo>
                    <a:lnTo>
                      <a:pt x="92" y="312"/>
                    </a:lnTo>
                    <a:lnTo>
                      <a:pt x="88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  <a:moveTo>
                      <a:pt x="94" y="226"/>
                    </a:moveTo>
                    <a:lnTo>
                      <a:pt x="94" y="226"/>
                    </a:lnTo>
                    <a:lnTo>
                      <a:pt x="96" y="250"/>
                    </a:lnTo>
                    <a:lnTo>
                      <a:pt x="98" y="260"/>
                    </a:lnTo>
                    <a:lnTo>
                      <a:pt x="102" y="272"/>
                    </a:lnTo>
                    <a:lnTo>
                      <a:pt x="106" y="282"/>
                    </a:lnTo>
                    <a:lnTo>
                      <a:pt x="114" y="288"/>
                    </a:lnTo>
                    <a:lnTo>
                      <a:pt x="122" y="294"/>
                    </a:lnTo>
                    <a:lnTo>
                      <a:pt x="134" y="296"/>
                    </a:lnTo>
                    <a:lnTo>
                      <a:pt x="134" y="296"/>
                    </a:lnTo>
                    <a:lnTo>
                      <a:pt x="148" y="294"/>
                    </a:lnTo>
                    <a:lnTo>
                      <a:pt x="158" y="288"/>
                    </a:lnTo>
                    <a:lnTo>
                      <a:pt x="168" y="282"/>
                    </a:lnTo>
                    <a:lnTo>
                      <a:pt x="174" y="272"/>
                    </a:lnTo>
                    <a:lnTo>
                      <a:pt x="180" y="260"/>
                    </a:lnTo>
                    <a:lnTo>
                      <a:pt x="184" y="248"/>
                    </a:lnTo>
                    <a:lnTo>
                      <a:pt x="186" y="222"/>
                    </a:lnTo>
                    <a:lnTo>
                      <a:pt x="186" y="222"/>
                    </a:lnTo>
                    <a:lnTo>
                      <a:pt x="186" y="198"/>
                    </a:lnTo>
                    <a:lnTo>
                      <a:pt x="184" y="186"/>
                    </a:lnTo>
                    <a:lnTo>
                      <a:pt x="180" y="174"/>
                    </a:lnTo>
                    <a:lnTo>
                      <a:pt x="176" y="164"/>
                    </a:lnTo>
                    <a:lnTo>
                      <a:pt x="168" y="156"/>
                    </a:lnTo>
                    <a:lnTo>
                      <a:pt x="158" y="152"/>
                    </a:lnTo>
                    <a:lnTo>
                      <a:pt x="146" y="150"/>
                    </a:lnTo>
                    <a:lnTo>
                      <a:pt x="146" y="150"/>
                    </a:lnTo>
                    <a:lnTo>
                      <a:pt x="132" y="152"/>
                    </a:lnTo>
                    <a:lnTo>
                      <a:pt x="120" y="156"/>
                    </a:lnTo>
                    <a:lnTo>
                      <a:pt x="112" y="166"/>
                    </a:lnTo>
                    <a:lnTo>
                      <a:pt x="104" y="176"/>
                    </a:lnTo>
                    <a:lnTo>
                      <a:pt x="100" y="188"/>
                    </a:lnTo>
                    <a:lnTo>
                      <a:pt x="98" y="200"/>
                    </a:lnTo>
                    <a:lnTo>
                      <a:pt x="94" y="226"/>
                    </a:lnTo>
                    <a:lnTo>
                      <a:pt x="94" y="2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15"/>
              <p:cNvSpPr>
                <a:spLocks noEditPoints="1"/>
              </p:cNvSpPr>
              <p:nvPr/>
            </p:nvSpPr>
            <p:spPr bwMode="auto">
              <a:xfrm>
                <a:off x="3197225" y="504825"/>
                <a:ext cx="406400" cy="396875"/>
              </a:xfrm>
              <a:custGeom>
                <a:avLst/>
                <a:gdLst>
                  <a:gd name="T0" fmla="*/ 86 w 256"/>
                  <a:gd name="T1" fmla="*/ 142 h 250"/>
                  <a:gd name="T2" fmla="*/ 86 w 256"/>
                  <a:gd name="T3" fmla="*/ 166 h 250"/>
                  <a:gd name="T4" fmla="*/ 90 w 256"/>
                  <a:gd name="T5" fmla="*/ 184 h 250"/>
                  <a:gd name="T6" fmla="*/ 102 w 256"/>
                  <a:gd name="T7" fmla="*/ 196 h 250"/>
                  <a:gd name="T8" fmla="*/ 124 w 256"/>
                  <a:gd name="T9" fmla="*/ 202 h 250"/>
                  <a:gd name="T10" fmla="*/ 132 w 256"/>
                  <a:gd name="T11" fmla="*/ 200 h 250"/>
                  <a:gd name="T12" fmla="*/ 148 w 256"/>
                  <a:gd name="T13" fmla="*/ 196 h 250"/>
                  <a:gd name="T14" fmla="*/ 158 w 256"/>
                  <a:gd name="T15" fmla="*/ 186 h 250"/>
                  <a:gd name="T16" fmla="*/ 164 w 256"/>
                  <a:gd name="T17" fmla="*/ 174 h 250"/>
                  <a:gd name="T18" fmla="*/ 248 w 256"/>
                  <a:gd name="T19" fmla="*/ 170 h 250"/>
                  <a:gd name="T20" fmla="*/ 246 w 256"/>
                  <a:gd name="T21" fmla="*/ 180 h 250"/>
                  <a:gd name="T22" fmla="*/ 238 w 256"/>
                  <a:gd name="T23" fmla="*/ 198 h 250"/>
                  <a:gd name="T24" fmla="*/ 218 w 256"/>
                  <a:gd name="T25" fmla="*/ 222 h 250"/>
                  <a:gd name="T26" fmla="*/ 202 w 256"/>
                  <a:gd name="T27" fmla="*/ 234 h 250"/>
                  <a:gd name="T28" fmla="*/ 168 w 256"/>
                  <a:gd name="T29" fmla="*/ 246 h 250"/>
                  <a:gd name="T30" fmla="*/ 128 w 256"/>
                  <a:gd name="T31" fmla="*/ 250 h 250"/>
                  <a:gd name="T32" fmla="*/ 96 w 256"/>
                  <a:gd name="T33" fmla="*/ 248 h 250"/>
                  <a:gd name="T34" fmla="*/ 66 w 256"/>
                  <a:gd name="T35" fmla="*/ 242 h 250"/>
                  <a:gd name="T36" fmla="*/ 44 w 256"/>
                  <a:gd name="T37" fmla="*/ 232 h 250"/>
                  <a:gd name="T38" fmla="*/ 26 w 256"/>
                  <a:gd name="T39" fmla="*/ 218 h 250"/>
                  <a:gd name="T40" fmla="*/ 12 w 256"/>
                  <a:gd name="T41" fmla="*/ 200 h 250"/>
                  <a:gd name="T42" fmla="*/ 4 w 256"/>
                  <a:gd name="T43" fmla="*/ 178 h 250"/>
                  <a:gd name="T44" fmla="*/ 0 w 256"/>
                  <a:gd name="T45" fmla="*/ 150 h 250"/>
                  <a:gd name="T46" fmla="*/ 0 w 256"/>
                  <a:gd name="T47" fmla="*/ 118 h 250"/>
                  <a:gd name="T48" fmla="*/ 4 w 256"/>
                  <a:gd name="T49" fmla="*/ 92 h 250"/>
                  <a:gd name="T50" fmla="*/ 14 w 256"/>
                  <a:gd name="T51" fmla="*/ 68 h 250"/>
                  <a:gd name="T52" fmla="*/ 26 w 256"/>
                  <a:gd name="T53" fmla="*/ 48 h 250"/>
                  <a:gd name="T54" fmla="*/ 44 w 256"/>
                  <a:gd name="T55" fmla="*/ 32 h 250"/>
                  <a:gd name="T56" fmla="*/ 86 w 256"/>
                  <a:gd name="T57" fmla="*/ 8 h 250"/>
                  <a:gd name="T58" fmla="*/ 138 w 256"/>
                  <a:gd name="T59" fmla="*/ 0 h 250"/>
                  <a:gd name="T60" fmla="*/ 154 w 256"/>
                  <a:gd name="T61" fmla="*/ 2 h 250"/>
                  <a:gd name="T62" fmla="*/ 184 w 256"/>
                  <a:gd name="T63" fmla="*/ 6 h 250"/>
                  <a:gd name="T64" fmla="*/ 208 w 256"/>
                  <a:gd name="T65" fmla="*/ 18 h 250"/>
                  <a:gd name="T66" fmla="*/ 228 w 256"/>
                  <a:gd name="T67" fmla="*/ 32 h 250"/>
                  <a:gd name="T68" fmla="*/ 242 w 256"/>
                  <a:gd name="T69" fmla="*/ 50 h 250"/>
                  <a:gd name="T70" fmla="*/ 250 w 256"/>
                  <a:gd name="T71" fmla="*/ 72 h 250"/>
                  <a:gd name="T72" fmla="*/ 256 w 256"/>
                  <a:gd name="T73" fmla="*/ 112 h 250"/>
                  <a:gd name="T74" fmla="*/ 86 w 256"/>
                  <a:gd name="T75" fmla="*/ 142 h 250"/>
                  <a:gd name="T76" fmla="*/ 172 w 256"/>
                  <a:gd name="T77" fmla="*/ 98 h 250"/>
                  <a:gd name="T78" fmla="*/ 170 w 256"/>
                  <a:gd name="T79" fmla="*/ 78 h 250"/>
                  <a:gd name="T80" fmla="*/ 164 w 256"/>
                  <a:gd name="T81" fmla="*/ 62 h 250"/>
                  <a:gd name="T82" fmla="*/ 158 w 256"/>
                  <a:gd name="T83" fmla="*/ 56 h 250"/>
                  <a:gd name="T84" fmla="*/ 142 w 256"/>
                  <a:gd name="T85" fmla="*/ 48 h 250"/>
                  <a:gd name="T86" fmla="*/ 134 w 256"/>
                  <a:gd name="T87" fmla="*/ 46 h 250"/>
                  <a:gd name="T88" fmla="*/ 114 w 256"/>
                  <a:gd name="T89" fmla="*/ 52 h 250"/>
                  <a:gd name="T90" fmla="*/ 102 w 256"/>
                  <a:gd name="T91" fmla="*/ 62 h 250"/>
                  <a:gd name="T92" fmla="*/ 94 w 256"/>
                  <a:gd name="T93" fmla="*/ 78 h 250"/>
                  <a:gd name="T94" fmla="*/ 172 w 256"/>
                  <a:gd name="T95" fmla="*/ 98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6" h="250">
                    <a:moveTo>
                      <a:pt x="86" y="142"/>
                    </a:moveTo>
                    <a:lnTo>
                      <a:pt x="86" y="142"/>
                    </a:lnTo>
                    <a:lnTo>
                      <a:pt x="84" y="154"/>
                    </a:lnTo>
                    <a:lnTo>
                      <a:pt x="86" y="166"/>
                    </a:lnTo>
                    <a:lnTo>
                      <a:pt x="88" y="176"/>
                    </a:lnTo>
                    <a:lnTo>
                      <a:pt x="90" y="184"/>
                    </a:lnTo>
                    <a:lnTo>
                      <a:pt x="96" y="192"/>
                    </a:lnTo>
                    <a:lnTo>
                      <a:pt x="102" y="196"/>
                    </a:lnTo>
                    <a:lnTo>
                      <a:pt x="112" y="200"/>
                    </a:lnTo>
                    <a:lnTo>
                      <a:pt x="124" y="202"/>
                    </a:lnTo>
                    <a:lnTo>
                      <a:pt x="124" y="202"/>
                    </a:lnTo>
                    <a:lnTo>
                      <a:pt x="132" y="200"/>
                    </a:lnTo>
                    <a:lnTo>
                      <a:pt x="140" y="198"/>
                    </a:lnTo>
                    <a:lnTo>
                      <a:pt x="148" y="196"/>
                    </a:lnTo>
                    <a:lnTo>
                      <a:pt x="154" y="192"/>
                    </a:lnTo>
                    <a:lnTo>
                      <a:pt x="158" y="186"/>
                    </a:lnTo>
                    <a:lnTo>
                      <a:pt x="162" y="180"/>
                    </a:lnTo>
                    <a:lnTo>
                      <a:pt x="164" y="174"/>
                    </a:lnTo>
                    <a:lnTo>
                      <a:pt x="164" y="170"/>
                    </a:lnTo>
                    <a:lnTo>
                      <a:pt x="248" y="170"/>
                    </a:lnTo>
                    <a:lnTo>
                      <a:pt x="248" y="170"/>
                    </a:lnTo>
                    <a:lnTo>
                      <a:pt x="246" y="180"/>
                    </a:lnTo>
                    <a:lnTo>
                      <a:pt x="242" y="190"/>
                    </a:lnTo>
                    <a:lnTo>
                      <a:pt x="238" y="198"/>
                    </a:lnTo>
                    <a:lnTo>
                      <a:pt x="232" y="208"/>
                    </a:lnTo>
                    <a:lnTo>
                      <a:pt x="218" y="222"/>
                    </a:lnTo>
                    <a:lnTo>
                      <a:pt x="202" y="234"/>
                    </a:lnTo>
                    <a:lnTo>
                      <a:pt x="202" y="234"/>
                    </a:lnTo>
                    <a:lnTo>
                      <a:pt x="186" y="242"/>
                    </a:lnTo>
                    <a:lnTo>
                      <a:pt x="168" y="246"/>
                    </a:lnTo>
                    <a:lnTo>
                      <a:pt x="148" y="248"/>
                    </a:lnTo>
                    <a:lnTo>
                      <a:pt x="128" y="250"/>
                    </a:lnTo>
                    <a:lnTo>
                      <a:pt x="128" y="250"/>
                    </a:lnTo>
                    <a:lnTo>
                      <a:pt x="96" y="248"/>
                    </a:lnTo>
                    <a:lnTo>
                      <a:pt x="80" y="244"/>
                    </a:lnTo>
                    <a:lnTo>
                      <a:pt x="66" y="242"/>
                    </a:lnTo>
                    <a:lnTo>
                      <a:pt x="54" y="238"/>
                    </a:lnTo>
                    <a:lnTo>
                      <a:pt x="44" y="232"/>
                    </a:lnTo>
                    <a:lnTo>
                      <a:pt x="34" y="226"/>
                    </a:lnTo>
                    <a:lnTo>
                      <a:pt x="26" y="218"/>
                    </a:lnTo>
                    <a:lnTo>
                      <a:pt x="18" y="210"/>
                    </a:lnTo>
                    <a:lnTo>
                      <a:pt x="12" y="200"/>
                    </a:lnTo>
                    <a:lnTo>
                      <a:pt x="8" y="190"/>
                    </a:lnTo>
                    <a:lnTo>
                      <a:pt x="4" y="178"/>
                    </a:lnTo>
                    <a:lnTo>
                      <a:pt x="2" y="164"/>
                    </a:lnTo>
                    <a:lnTo>
                      <a:pt x="0" y="150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2" y="106"/>
                    </a:lnTo>
                    <a:lnTo>
                      <a:pt x="4" y="92"/>
                    </a:lnTo>
                    <a:lnTo>
                      <a:pt x="8" y="80"/>
                    </a:lnTo>
                    <a:lnTo>
                      <a:pt x="14" y="68"/>
                    </a:lnTo>
                    <a:lnTo>
                      <a:pt x="20" y="58"/>
                    </a:lnTo>
                    <a:lnTo>
                      <a:pt x="26" y="48"/>
                    </a:lnTo>
                    <a:lnTo>
                      <a:pt x="34" y="40"/>
                    </a:lnTo>
                    <a:lnTo>
                      <a:pt x="44" y="32"/>
                    </a:lnTo>
                    <a:lnTo>
                      <a:pt x="64" y="18"/>
                    </a:lnTo>
                    <a:lnTo>
                      <a:pt x="86" y="8"/>
                    </a:lnTo>
                    <a:lnTo>
                      <a:pt x="110" y="2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4" y="2"/>
                    </a:lnTo>
                    <a:lnTo>
                      <a:pt x="170" y="4"/>
                    </a:lnTo>
                    <a:lnTo>
                      <a:pt x="184" y="6"/>
                    </a:lnTo>
                    <a:lnTo>
                      <a:pt x="196" y="12"/>
                    </a:lnTo>
                    <a:lnTo>
                      <a:pt x="208" y="18"/>
                    </a:lnTo>
                    <a:lnTo>
                      <a:pt x="218" y="24"/>
                    </a:lnTo>
                    <a:lnTo>
                      <a:pt x="228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46" y="60"/>
                    </a:lnTo>
                    <a:lnTo>
                      <a:pt x="250" y="72"/>
                    </a:lnTo>
                    <a:lnTo>
                      <a:pt x="254" y="84"/>
                    </a:lnTo>
                    <a:lnTo>
                      <a:pt x="256" y="112"/>
                    </a:lnTo>
                    <a:lnTo>
                      <a:pt x="254" y="142"/>
                    </a:lnTo>
                    <a:lnTo>
                      <a:pt x="86" y="142"/>
                    </a:lnTo>
                    <a:close/>
                    <a:moveTo>
                      <a:pt x="172" y="98"/>
                    </a:moveTo>
                    <a:lnTo>
                      <a:pt x="172" y="98"/>
                    </a:lnTo>
                    <a:lnTo>
                      <a:pt x="172" y="88"/>
                    </a:lnTo>
                    <a:lnTo>
                      <a:pt x="170" y="78"/>
                    </a:lnTo>
                    <a:lnTo>
                      <a:pt x="168" y="70"/>
                    </a:lnTo>
                    <a:lnTo>
                      <a:pt x="164" y="62"/>
                    </a:lnTo>
                    <a:lnTo>
                      <a:pt x="164" y="62"/>
                    </a:lnTo>
                    <a:lnTo>
                      <a:pt x="158" y="56"/>
                    </a:lnTo>
                    <a:lnTo>
                      <a:pt x="150" y="50"/>
                    </a:lnTo>
                    <a:lnTo>
                      <a:pt x="142" y="48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22" y="48"/>
                    </a:lnTo>
                    <a:lnTo>
                      <a:pt x="114" y="52"/>
                    </a:lnTo>
                    <a:lnTo>
                      <a:pt x="106" y="56"/>
                    </a:lnTo>
                    <a:lnTo>
                      <a:pt x="102" y="62"/>
                    </a:lnTo>
                    <a:lnTo>
                      <a:pt x="96" y="70"/>
                    </a:lnTo>
                    <a:lnTo>
                      <a:pt x="94" y="78"/>
                    </a:lnTo>
                    <a:lnTo>
                      <a:pt x="90" y="98"/>
                    </a:lnTo>
                    <a:lnTo>
                      <a:pt x="172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16"/>
              <p:cNvSpPr>
                <a:spLocks/>
              </p:cNvSpPr>
              <p:nvPr/>
            </p:nvSpPr>
            <p:spPr bwMode="auto">
              <a:xfrm>
                <a:off x="1314450" y="352425"/>
                <a:ext cx="196850" cy="542925"/>
              </a:xfrm>
              <a:custGeom>
                <a:avLst/>
                <a:gdLst>
                  <a:gd name="T0" fmla="*/ 24 w 124"/>
                  <a:gd name="T1" fmla="*/ 0 h 342"/>
                  <a:gd name="T2" fmla="*/ 124 w 124"/>
                  <a:gd name="T3" fmla="*/ 0 h 342"/>
                  <a:gd name="T4" fmla="*/ 100 w 124"/>
                  <a:gd name="T5" fmla="*/ 342 h 342"/>
                  <a:gd name="T6" fmla="*/ 0 w 124"/>
                  <a:gd name="T7" fmla="*/ 342 h 342"/>
                  <a:gd name="T8" fmla="*/ 24 w 124"/>
                  <a:gd name="T9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342">
                    <a:moveTo>
                      <a:pt x="24" y="0"/>
                    </a:moveTo>
                    <a:lnTo>
                      <a:pt x="124" y="0"/>
                    </a:lnTo>
                    <a:lnTo>
                      <a:pt x="100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17"/>
              <p:cNvSpPr>
                <a:spLocks/>
              </p:cNvSpPr>
              <p:nvPr/>
            </p:nvSpPr>
            <p:spPr bwMode="auto">
              <a:xfrm>
                <a:off x="1498600" y="352425"/>
                <a:ext cx="368300" cy="542925"/>
              </a:xfrm>
              <a:custGeom>
                <a:avLst/>
                <a:gdLst>
                  <a:gd name="T0" fmla="*/ 120 w 232"/>
                  <a:gd name="T1" fmla="*/ 0 h 342"/>
                  <a:gd name="T2" fmla="*/ 0 w 232"/>
                  <a:gd name="T3" fmla="*/ 152 h 342"/>
                  <a:gd name="T4" fmla="*/ 106 w 232"/>
                  <a:gd name="T5" fmla="*/ 342 h 342"/>
                  <a:gd name="T6" fmla="*/ 226 w 232"/>
                  <a:gd name="T7" fmla="*/ 342 h 342"/>
                  <a:gd name="T8" fmla="*/ 106 w 232"/>
                  <a:gd name="T9" fmla="*/ 148 h 342"/>
                  <a:gd name="T10" fmla="*/ 232 w 232"/>
                  <a:gd name="T11" fmla="*/ 0 h 342"/>
                  <a:gd name="T12" fmla="*/ 120 w 232"/>
                  <a:gd name="T13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2" h="342">
                    <a:moveTo>
                      <a:pt x="120" y="0"/>
                    </a:moveTo>
                    <a:lnTo>
                      <a:pt x="0" y="152"/>
                    </a:lnTo>
                    <a:lnTo>
                      <a:pt x="106" y="342"/>
                    </a:lnTo>
                    <a:lnTo>
                      <a:pt x="226" y="342"/>
                    </a:lnTo>
                    <a:lnTo>
                      <a:pt x="106" y="148"/>
                    </a:lnTo>
                    <a:lnTo>
                      <a:pt x="232" y="0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18"/>
              <p:cNvSpPr>
                <a:spLocks/>
              </p:cNvSpPr>
              <p:nvPr/>
            </p:nvSpPr>
            <p:spPr bwMode="auto">
              <a:xfrm>
                <a:off x="1876425" y="517525"/>
                <a:ext cx="158750" cy="377825"/>
              </a:xfrm>
              <a:custGeom>
                <a:avLst/>
                <a:gdLst>
                  <a:gd name="T0" fmla="*/ 16 w 100"/>
                  <a:gd name="T1" fmla="*/ 0 h 238"/>
                  <a:gd name="T2" fmla="*/ 100 w 100"/>
                  <a:gd name="T3" fmla="*/ 0 h 238"/>
                  <a:gd name="T4" fmla="*/ 84 w 100"/>
                  <a:gd name="T5" fmla="*/ 238 h 238"/>
                  <a:gd name="T6" fmla="*/ 0 w 100"/>
                  <a:gd name="T7" fmla="*/ 238 h 238"/>
                  <a:gd name="T8" fmla="*/ 16 w 100"/>
                  <a:gd name="T9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238">
                    <a:moveTo>
                      <a:pt x="16" y="0"/>
                    </a:moveTo>
                    <a:lnTo>
                      <a:pt x="100" y="0"/>
                    </a:lnTo>
                    <a:lnTo>
                      <a:pt x="84" y="238"/>
                    </a:lnTo>
                    <a:lnTo>
                      <a:pt x="0" y="238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19"/>
              <p:cNvSpPr>
                <a:spLocks/>
              </p:cNvSpPr>
              <p:nvPr/>
            </p:nvSpPr>
            <p:spPr bwMode="auto">
              <a:xfrm>
                <a:off x="2038350" y="504825"/>
                <a:ext cx="692150" cy="390525"/>
              </a:xfrm>
              <a:custGeom>
                <a:avLst/>
                <a:gdLst>
                  <a:gd name="T0" fmla="*/ 106 w 436"/>
                  <a:gd name="T1" fmla="*/ 40 h 246"/>
                  <a:gd name="T2" fmla="*/ 106 w 436"/>
                  <a:gd name="T3" fmla="*/ 40 h 246"/>
                  <a:gd name="T4" fmla="*/ 128 w 436"/>
                  <a:gd name="T5" fmla="*/ 20 h 246"/>
                  <a:gd name="T6" fmla="*/ 150 w 436"/>
                  <a:gd name="T7" fmla="*/ 8 h 246"/>
                  <a:gd name="T8" fmla="*/ 172 w 436"/>
                  <a:gd name="T9" fmla="*/ 2 h 246"/>
                  <a:gd name="T10" fmla="*/ 192 w 436"/>
                  <a:gd name="T11" fmla="*/ 2 h 246"/>
                  <a:gd name="T12" fmla="*/ 216 w 436"/>
                  <a:gd name="T13" fmla="*/ 6 h 246"/>
                  <a:gd name="T14" fmla="*/ 238 w 436"/>
                  <a:gd name="T15" fmla="*/ 14 h 246"/>
                  <a:gd name="T16" fmla="*/ 254 w 436"/>
                  <a:gd name="T17" fmla="*/ 28 h 246"/>
                  <a:gd name="T18" fmla="*/ 264 w 436"/>
                  <a:gd name="T19" fmla="*/ 44 h 246"/>
                  <a:gd name="T20" fmla="*/ 272 w 436"/>
                  <a:gd name="T21" fmla="*/ 34 h 246"/>
                  <a:gd name="T22" fmla="*/ 290 w 436"/>
                  <a:gd name="T23" fmla="*/ 18 h 246"/>
                  <a:gd name="T24" fmla="*/ 312 w 436"/>
                  <a:gd name="T25" fmla="*/ 8 h 246"/>
                  <a:gd name="T26" fmla="*/ 338 w 436"/>
                  <a:gd name="T27" fmla="*/ 2 h 246"/>
                  <a:gd name="T28" fmla="*/ 352 w 436"/>
                  <a:gd name="T29" fmla="*/ 0 h 246"/>
                  <a:gd name="T30" fmla="*/ 386 w 436"/>
                  <a:gd name="T31" fmla="*/ 6 h 246"/>
                  <a:gd name="T32" fmla="*/ 414 w 436"/>
                  <a:gd name="T33" fmla="*/ 24 h 246"/>
                  <a:gd name="T34" fmla="*/ 432 w 436"/>
                  <a:gd name="T35" fmla="*/ 50 h 246"/>
                  <a:gd name="T36" fmla="*/ 436 w 436"/>
                  <a:gd name="T37" fmla="*/ 86 h 246"/>
                  <a:gd name="T38" fmla="*/ 332 w 436"/>
                  <a:gd name="T39" fmla="*/ 246 h 246"/>
                  <a:gd name="T40" fmla="*/ 342 w 436"/>
                  <a:gd name="T41" fmla="*/ 106 h 246"/>
                  <a:gd name="T42" fmla="*/ 342 w 436"/>
                  <a:gd name="T43" fmla="*/ 80 h 246"/>
                  <a:gd name="T44" fmla="*/ 336 w 436"/>
                  <a:gd name="T45" fmla="*/ 66 h 246"/>
                  <a:gd name="T46" fmla="*/ 322 w 436"/>
                  <a:gd name="T47" fmla="*/ 58 h 246"/>
                  <a:gd name="T48" fmla="*/ 312 w 436"/>
                  <a:gd name="T49" fmla="*/ 58 h 246"/>
                  <a:gd name="T50" fmla="*/ 288 w 436"/>
                  <a:gd name="T51" fmla="*/ 66 h 246"/>
                  <a:gd name="T52" fmla="*/ 276 w 436"/>
                  <a:gd name="T53" fmla="*/ 82 h 246"/>
                  <a:gd name="T54" fmla="*/ 270 w 436"/>
                  <a:gd name="T55" fmla="*/ 100 h 246"/>
                  <a:gd name="T56" fmla="*/ 260 w 436"/>
                  <a:gd name="T57" fmla="*/ 246 h 246"/>
                  <a:gd name="T58" fmla="*/ 180 w 436"/>
                  <a:gd name="T59" fmla="*/ 106 h 246"/>
                  <a:gd name="T60" fmla="*/ 178 w 436"/>
                  <a:gd name="T61" fmla="*/ 88 h 246"/>
                  <a:gd name="T62" fmla="*/ 174 w 436"/>
                  <a:gd name="T63" fmla="*/ 72 h 246"/>
                  <a:gd name="T64" fmla="*/ 164 w 436"/>
                  <a:gd name="T65" fmla="*/ 62 h 246"/>
                  <a:gd name="T66" fmla="*/ 148 w 436"/>
                  <a:gd name="T67" fmla="*/ 58 h 246"/>
                  <a:gd name="T68" fmla="*/ 132 w 436"/>
                  <a:gd name="T69" fmla="*/ 60 h 246"/>
                  <a:gd name="T70" fmla="*/ 114 w 436"/>
                  <a:gd name="T71" fmla="*/ 72 h 246"/>
                  <a:gd name="T72" fmla="*/ 104 w 436"/>
                  <a:gd name="T73" fmla="*/ 92 h 246"/>
                  <a:gd name="T74" fmla="*/ 102 w 436"/>
                  <a:gd name="T75" fmla="*/ 110 h 246"/>
                  <a:gd name="T76" fmla="*/ 0 w 436"/>
                  <a:gd name="T77" fmla="*/ 246 h 246"/>
                  <a:gd name="T78" fmla="*/ 106 w 436"/>
                  <a:gd name="T79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36" h="246">
                    <a:moveTo>
                      <a:pt x="106" y="8"/>
                    </a:moveTo>
                    <a:lnTo>
                      <a:pt x="106" y="40"/>
                    </a:lnTo>
                    <a:lnTo>
                      <a:pt x="106" y="40"/>
                    </a:lnTo>
                    <a:lnTo>
                      <a:pt x="106" y="40"/>
                    </a:lnTo>
                    <a:lnTo>
                      <a:pt x="118" y="28"/>
                    </a:lnTo>
                    <a:lnTo>
                      <a:pt x="128" y="20"/>
                    </a:lnTo>
                    <a:lnTo>
                      <a:pt x="140" y="12"/>
                    </a:lnTo>
                    <a:lnTo>
                      <a:pt x="150" y="8"/>
                    </a:lnTo>
                    <a:lnTo>
                      <a:pt x="162" y="4"/>
                    </a:lnTo>
                    <a:lnTo>
                      <a:pt x="172" y="2"/>
                    </a:lnTo>
                    <a:lnTo>
                      <a:pt x="192" y="2"/>
                    </a:lnTo>
                    <a:lnTo>
                      <a:pt x="192" y="2"/>
                    </a:lnTo>
                    <a:lnTo>
                      <a:pt x="204" y="2"/>
                    </a:lnTo>
                    <a:lnTo>
                      <a:pt x="216" y="6"/>
                    </a:lnTo>
                    <a:lnTo>
                      <a:pt x="228" y="8"/>
                    </a:lnTo>
                    <a:lnTo>
                      <a:pt x="238" y="14"/>
                    </a:lnTo>
                    <a:lnTo>
                      <a:pt x="246" y="20"/>
                    </a:lnTo>
                    <a:lnTo>
                      <a:pt x="254" y="28"/>
                    </a:lnTo>
                    <a:lnTo>
                      <a:pt x="260" y="36"/>
                    </a:lnTo>
                    <a:lnTo>
                      <a:pt x="264" y="44"/>
                    </a:lnTo>
                    <a:lnTo>
                      <a:pt x="264" y="44"/>
                    </a:lnTo>
                    <a:lnTo>
                      <a:pt x="272" y="34"/>
                    </a:lnTo>
                    <a:lnTo>
                      <a:pt x="280" y="26"/>
                    </a:lnTo>
                    <a:lnTo>
                      <a:pt x="290" y="18"/>
                    </a:lnTo>
                    <a:lnTo>
                      <a:pt x="302" y="12"/>
                    </a:lnTo>
                    <a:lnTo>
                      <a:pt x="312" y="8"/>
                    </a:lnTo>
                    <a:lnTo>
                      <a:pt x="326" y="4"/>
                    </a:lnTo>
                    <a:lnTo>
                      <a:pt x="338" y="2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70" y="2"/>
                    </a:lnTo>
                    <a:lnTo>
                      <a:pt x="386" y="6"/>
                    </a:lnTo>
                    <a:lnTo>
                      <a:pt x="402" y="14"/>
                    </a:lnTo>
                    <a:lnTo>
                      <a:pt x="414" y="24"/>
                    </a:lnTo>
                    <a:lnTo>
                      <a:pt x="424" y="36"/>
                    </a:lnTo>
                    <a:lnTo>
                      <a:pt x="432" y="50"/>
                    </a:lnTo>
                    <a:lnTo>
                      <a:pt x="436" y="68"/>
                    </a:lnTo>
                    <a:lnTo>
                      <a:pt x="436" y="86"/>
                    </a:lnTo>
                    <a:lnTo>
                      <a:pt x="424" y="246"/>
                    </a:lnTo>
                    <a:lnTo>
                      <a:pt x="332" y="246"/>
                    </a:lnTo>
                    <a:lnTo>
                      <a:pt x="342" y="106"/>
                    </a:lnTo>
                    <a:lnTo>
                      <a:pt x="342" y="106"/>
                    </a:lnTo>
                    <a:lnTo>
                      <a:pt x="342" y="88"/>
                    </a:lnTo>
                    <a:lnTo>
                      <a:pt x="342" y="80"/>
                    </a:lnTo>
                    <a:lnTo>
                      <a:pt x="340" y="74"/>
                    </a:lnTo>
                    <a:lnTo>
                      <a:pt x="336" y="66"/>
                    </a:lnTo>
                    <a:lnTo>
                      <a:pt x="330" y="62"/>
                    </a:lnTo>
                    <a:lnTo>
                      <a:pt x="322" y="58"/>
                    </a:lnTo>
                    <a:lnTo>
                      <a:pt x="312" y="58"/>
                    </a:lnTo>
                    <a:lnTo>
                      <a:pt x="312" y="58"/>
                    </a:lnTo>
                    <a:lnTo>
                      <a:pt x="298" y="60"/>
                    </a:lnTo>
                    <a:lnTo>
                      <a:pt x="288" y="66"/>
                    </a:lnTo>
                    <a:lnTo>
                      <a:pt x="280" y="72"/>
                    </a:lnTo>
                    <a:lnTo>
                      <a:pt x="276" y="82"/>
                    </a:lnTo>
                    <a:lnTo>
                      <a:pt x="272" y="92"/>
                    </a:lnTo>
                    <a:lnTo>
                      <a:pt x="270" y="100"/>
                    </a:lnTo>
                    <a:lnTo>
                      <a:pt x="270" y="110"/>
                    </a:lnTo>
                    <a:lnTo>
                      <a:pt x="260" y="246"/>
                    </a:lnTo>
                    <a:lnTo>
                      <a:pt x="170" y="246"/>
                    </a:lnTo>
                    <a:lnTo>
                      <a:pt x="180" y="106"/>
                    </a:lnTo>
                    <a:lnTo>
                      <a:pt x="180" y="106"/>
                    </a:lnTo>
                    <a:lnTo>
                      <a:pt x="178" y="88"/>
                    </a:lnTo>
                    <a:lnTo>
                      <a:pt x="178" y="80"/>
                    </a:lnTo>
                    <a:lnTo>
                      <a:pt x="174" y="72"/>
                    </a:lnTo>
                    <a:lnTo>
                      <a:pt x="170" y="66"/>
                    </a:lnTo>
                    <a:lnTo>
                      <a:pt x="164" y="62"/>
                    </a:lnTo>
                    <a:lnTo>
                      <a:pt x="15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32" y="60"/>
                    </a:lnTo>
                    <a:lnTo>
                      <a:pt x="122" y="66"/>
                    </a:lnTo>
                    <a:lnTo>
                      <a:pt x="114" y="72"/>
                    </a:lnTo>
                    <a:lnTo>
                      <a:pt x="108" y="82"/>
                    </a:lnTo>
                    <a:lnTo>
                      <a:pt x="104" y="92"/>
                    </a:lnTo>
                    <a:lnTo>
                      <a:pt x="104" y="100"/>
                    </a:lnTo>
                    <a:lnTo>
                      <a:pt x="102" y="110"/>
                    </a:lnTo>
                    <a:lnTo>
                      <a:pt x="94" y="246"/>
                    </a:lnTo>
                    <a:lnTo>
                      <a:pt x="0" y="246"/>
                    </a:lnTo>
                    <a:lnTo>
                      <a:pt x="16" y="8"/>
                    </a:lnTo>
                    <a:lnTo>
                      <a:pt x="106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20"/>
              <p:cNvSpPr>
                <a:spLocks/>
              </p:cNvSpPr>
              <p:nvPr/>
            </p:nvSpPr>
            <p:spPr bwMode="auto">
              <a:xfrm>
                <a:off x="4064000" y="517525"/>
                <a:ext cx="454025" cy="558800"/>
              </a:xfrm>
              <a:custGeom>
                <a:avLst/>
                <a:gdLst>
                  <a:gd name="T0" fmla="*/ 116 w 286"/>
                  <a:gd name="T1" fmla="*/ 352 h 352"/>
                  <a:gd name="T2" fmla="*/ 34 w 286"/>
                  <a:gd name="T3" fmla="*/ 352 h 352"/>
                  <a:gd name="T4" fmla="*/ 86 w 286"/>
                  <a:gd name="T5" fmla="*/ 242 h 352"/>
                  <a:gd name="T6" fmla="*/ 0 w 286"/>
                  <a:gd name="T7" fmla="*/ 0 h 352"/>
                  <a:gd name="T8" fmla="*/ 100 w 286"/>
                  <a:gd name="T9" fmla="*/ 0 h 352"/>
                  <a:gd name="T10" fmla="*/ 140 w 286"/>
                  <a:gd name="T11" fmla="*/ 148 h 352"/>
                  <a:gd name="T12" fmla="*/ 202 w 286"/>
                  <a:gd name="T13" fmla="*/ 0 h 352"/>
                  <a:gd name="T14" fmla="*/ 286 w 286"/>
                  <a:gd name="T15" fmla="*/ 0 h 352"/>
                  <a:gd name="T16" fmla="*/ 116 w 286"/>
                  <a:gd name="T17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6" h="352">
                    <a:moveTo>
                      <a:pt x="116" y="352"/>
                    </a:moveTo>
                    <a:lnTo>
                      <a:pt x="34" y="352"/>
                    </a:lnTo>
                    <a:lnTo>
                      <a:pt x="86" y="242"/>
                    </a:lnTo>
                    <a:lnTo>
                      <a:pt x="0" y="0"/>
                    </a:lnTo>
                    <a:lnTo>
                      <a:pt x="100" y="0"/>
                    </a:lnTo>
                    <a:lnTo>
                      <a:pt x="140" y="148"/>
                    </a:lnTo>
                    <a:lnTo>
                      <a:pt x="202" y="0"/>
                    </a:lnTo>
                    <a:lnTo>
                      <a:pt x="286" y="0"/>
                    </a:lnTo>
                    <a:lnTo>
                      <a:pt x="116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21"/>
              <p:cNvSpPr>
                <a:spLocks/>
              </p:cNvSpPr>
              <p:nvPr/>
            </p:nvSpPr>
            <p:spPr bwMode="auto">
              <a:xfrm>
                <a:off x="4473575" y="593725"/>
                <a:ext cx="241300" cy="117475"/>
              </a:xfrm>
              <a:custGeom>
                <a:avLst/>
                <a:gdLst>
                  <a:gd name="T0" fmla="*/ 36 w 152"/>
                  <a:gd name="T1" fmla="*/ 0 h 74"/>
                  <a:gd name="T2" fmla="*/ 152 w 152"/>
                  <a:gd name="T3" fmla="*/ 0 h 74"/>
                  <a:gd name="T4" fmla="*/ 114 w 152"/>
                  <a:gd name="T5" fmla="*/ 74 h 74"/>
                  <a:gd name="T6" fmla="*/ 0 w 152"/>
                  <a:gd name="T7" fmla="*/ 74 h 74"/>
                  <a:gd name="T8" fmla="*/ 36 w 152"/>
                  <a:gd name="T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74">
                    <a:moveTo>
                      <a:pt x="36" y="0"/>
                    </a:moveTo>
                    <a:lnTo>
                      <a:pt x="152" y="0"/>
                    </a:lnTo>
                    <a:lnTo>
                      <a:pt x="114" y="74"/>
                    </a:lnTo>
                    <a:lnTo>
                      <a:pt x="0" y="7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" name="Freeform 22"/>
              <p:cNvSpPr>
                <a:spLocks/>
              </p:cNvSpPr>
              <p:nvPr/>
            </p:nvSpPr>
            <p:spPr bwMode="auto">
              <a:xfrm>
                <a:off x="4721225" y="339725"/>
                <a:ext cx="504825" cy="558800"/>
              </a:xfrm>
              <a:custGeom>
                <a:avLst/>
                <a:gdLst>
                  <a:gd name="T0" fmla="*/ 180 w 318"/>
                  <a:gd name="T1" fmla="*/ 0 h 352"/>
                  <a:gd name="T2" fmla="*/ 232 w 318"/>
                  <a:gd name="T3" fmla="*/ 6 h 352"/>
                  <a:gd name="T4" fmla="*/ 266 w 318"/>
                  <a:gd name="T5" fmla="*/ 20 h 352"/>
                  <a:gd name="T6" fmla="*/ 286 w 318"/>
                  <a:gd name="T7" fmla="*/ 32 h 352"/>
                  <a:gd name="T8" fmla="*/ 302 w 318"/>
                  <a:gd name="T9" fmla="*/ 50 h 352"/>
                  <a:gd name="T10" fmla="*/ 312 w 318"/>
                  <a:gd name="T11" fmla="*/ 74 h 352"/>
                  <a:gd name="T12" fmla="*/ 318 w 318"/>
                  <a:gd name="T13" fmla="*/ 100 h 352"/>
                  <a:gd name="T14" fmla="*/ 222 w 318"/>
                  <a:gd name="T15" fmla="*/ 116 h 352"/>
                  <a:gd name="T16" fmla="*/ 222 w 318"/>
                  <a:gd name="T17" fmla="*/ 108 h 352"/>
                  <a:gd name="T18" fmla="*/ 216 w 318"/>
                  <a:gd name="T19" fmla="*/ 90 h 352"/>
                  <a:gd name="T20" fmla="*/ 204 w 318"/>
                  <a:gd name="T21" fmla="*/ 76 h 352"/>
                  <a:gd name="T22" fmla="*/ 188 w 318"/>
                  <a:gd name="T23" fmla="*/ 68 h 352"/>
                  <a:gd name="T24" fmla="*/ 176 w 318"/>
                  <a:gd name="T25" fmla="*/ 68 h 352"/>
                  <a:gd name="T26" fmla="*/ 150 w 318"/>
                  <a:gd name="T27" fmla="*/ 72 h 352"/>
                  <a:gd name="T28" fmla="*/ 128 w 318"/>
                  <a:gd name="T29" fmla="*/ 88 h 352"/>
                  <a:gd name="T30" fmla="*/ 108 w 318"/>
                  <a:gd name="T31" fmla="*/ 118 h 352"/>
                  <a:gd name="T32" fmla="*/ 98 w 318"/>
                  <a:gd name="T33" fmla="*/ 162 h 352"/>
                  <a:gd name="T34" fmla="*/ 96 w 318"/>
                  <a:gd name="T35" fmla="*/ 188 h 352"/>
                  <a:gd name="T36" fmla="*/ 98 w 318"/>
                  <a:gd name="T37" fmla="*/ 234 h 352"/>
                  <a:gd name="T38" fmla="*/ 112 w 318"/>
                  <a:gd name="T39" fmla="*/ 266 h 352"/>
                  <a:gd name="T40" fmla="*/ 122 w 318"/>
                  <a:gd name="T41" fmla="*/ 278 h 352"/>
                  <a:gd name="T42" fmla="*/ 138 w 318"/>
                  <a:gd name="T43" fmla="*/ 284 h 352"/>
                  <a:gd name="T44" fmla="*/ 158 w 318"/>
                  <a:gd name="T45" fmla="*/ 288 h 352"/>
                  <a:gd name="T46" fmla="*/ 174 w 318"/>
                  <a:gd name="T47" fmla="*/ 286 h 352"/>
                  <a:gd name="T48" fmla="*/ 198 w 318"/>
                  <a:gd name="T49" fmla="*/ 274 h 352"/>
                  <a:gd name="T50" fmla="*/ 212 w 318"/>
                  <a:gd name="T51" fmla="*/ 256 h 352"/>
                  <a:gd name="T52" fmla="*/ 218 w 318"/>
                  <a:gd name="T53" fmla="*/ 236 h 352"/>
                  <a:gd name="T54" fmla="*/ 314 w 318"/>
                  <a:gd name="T55" fmla="*/ 236 h 352"/>
                  <a:gd name="T56" fmla="*/ 306 w 318"/>
                  <a:gd name="T57" fmla="*/ 270 h 352"/>
                  <a:gd name="T58" fmla="*/ 290 w 318"/>
                  <a:gd name="T59" fmla="*/ 300 h 352"/>
                  <a:gd name="T60" fmla="*/ 272 w 318"/>
                  <a:gd name="T61" fmla="*/ 318 h 352"/>
                  <a:gd name="T62" fmla="*/ 248 w 318"/>
                  <a:gd name="T63" fmla="*/ 334 h 352"/>
                  <a:gd name="T64" fmla="*/ 216 w 318"/>
                  <a:gd name="T65" fmla="*/ 346 h 352"/>
                  <a:gd name="T66" fmla="*/ 176 w 318"/>
                  <a:gd name="T67" fmla="*/ 352 h 352"/>
                  <a:gd name="T68" fmla="*/ 152 w 318"/>
                  <a:gd name="T69" fmla="*/ 352 h 352"/>
                  <a:gd name="T70" fmla="*/ 106 w 318"/>
                  <a:gd name="T71" fmla="*/ 348 h 352"/>
                  <a:gd name="T72" fmla="*/ 70 w 318"/>
                  <a:gd name="T73" fmla="*/ 336 h 352"/>
                  <a:gd name="T74" fmla="*/ 42 w 318"/>
                  <a:gd name="T75" fmla="*/ 316 h 352"/>
                  <a:gd name="T76" fmla="*/ 22 w 318"/>
                  <a:gd name="T77" fmla="*/ 292 h 352"/>
                  <a:gd name="T78" fmla="*/ 8 w 318"/>
                  <a:gd name="T79" fmla="*/ 262 h 352"/>
                  <a:gd name="T80" fmla="*/ 2 w 318"/>
                  <a:gd name="T81" fmla="*/ 230 h 352"/>
                  <a:gd name="T82" fmla="*/ 0 w 318"/>
                  <a:gd name="T83" fmla="*/ 194 h 352"/>
                  <a:gd name="T84" fmla="*/ 2 w 318"/>
                  <a:gd name="T85" fmla="*/ 160 h 352"/>
                  <a:gd name="T86" fmla="*/ 18 w 318"/>
                  <a:gd name="T87" fmla="*/ 102 h 352"/>
                  <a:gd name="T88" fmla="*/ 32 w 318"/>
                  <a:gd name="T89" fmla="*/ 74 h 352"/>
                  <a:gd name="T90" fmla="*/ 52 w 318"/>
                  <a:gd name="T91" fmla="*/ 50 h 352"/>
                  <a:gd name="T92" fmla="*/ 76 w 318"/>
                  <a:gd name="T93" fmla="*/ 30 h 352"/>
                  <a:gd name="T94" fmla="*/ 106 w 318"/>
                  <a:gd name="T95" fmla="*/ 14 h 352"/>
                  <a:gd name="T96" fmla="*/ 140 w 318"/>
                  <a:gd name="T97" fmla="*/ 4 h 352"/>
                  <a:gd name="T98" fmla="*/ 180 w 318"/>
                  <a:gd name="T99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18" h="352">
                    <a:moveTo>
                      <a:pt x="180" y="0"/>
                    </a:moveTo>
                    <a:lnTo>
                      <a:pt x="180" y="0"/>
                    </a:lnTo>
                    <a:lnTo>
                      <a:pt x="206" y="0"/>
                    </a:lnTo>
                    <a:lnTo>
                      <a:pt x="232" y="6"/>
                    </a:lnTo>
                    <a:lnTo>
                      <a:pt x="256" y="14"/>
                    </a:lnTo>
                    <a:lnTo>
                      <a:pt x="266" y="20"/>
                    </a:lnTo>
                    <a:lnTo>
                      <a:pt x="276" y="26"/>
                    </a:lnTo>
                    <a:lnTo>
                      <a:pt x="286" y="32"/>
                    </a:lnTo>
                    <a:lnTo>
                      <a:pt x="294" y="42"/>
                    </a:lnTo>
                    <a:lnTo>
                      <a:pt x="302" y="50"/>
                    </a:lnTo>
                    <a:lnTo>
                      <a:pt x="308" y="62"/>
                    </a:lnTo>
                    <a:lnTo>
                      <a:pt x="312" y="74"/>
                    </a:lnTo>
                    <a:lnTo>
                      <a:pt x="316" y="86"/>
                    </a:lnTo>
                    <a:lnTo>
                      <a:pt x="318" y="100"/>
                    </a:lnTo>
                    <a:lnTo>
                      <a:pt x="318" y="116"/>
                    </a:lnTo>
                    <a:lnTo>
                      <a:pt x="222" y="116"/>
                    </a:lnTo>
                    <a:lnTo>
                      <a:pt x="222" y="116"/>
                    </a:lnTo>
                    <a:lnTo>
                      <a:pt x="222" y="108"/>
                    </a:lnTo>
                    <a:lnTo>
                      <a:pt x="220" y="98"/>
                    </a:lnTo>
                    <a:lnTo>
                      <a:pt x="216" y="90"/>
                    </a:lnTo>
                    <a:lnTo>
                      <a:pt x="212" y="84"/>
                    </a:lnTo>
                    <a:lnTo>
                      <a:pt x="204" y="76"/>
                    </a:lnTo>
                    <a:lnTo>
                      <a:pt x="198" y="72"/>
                    </a:lnTo>
                    <a:lnTo>
                      <a:pt x="188" y="68"/>
                    </a:lnTo>
                    <a:lnTo>
                      <a:pt x="176" y="68"/>
                    </a:lnTo>
                    <a:lnTo>
                      <a:pt x="176" y="68"/>
                    </a:lnTo>
                    <a:lnTo>
                      <a:pt x="164" y="68"/>
                    </a:lnTo>
                    <a:lnTo>
                      <a:pt x="150" y="72"/>
                    </a:lnTo>
                    <a:lnTo>
                      <a:pt x="138" y="80"/>
                    </a:lnTo>
                    <a:lnTo>
                      <a:pt x="128" y="88"/>
                    </a:lnTo>
                    <a:lnTo>
                      <a:pt x="118" y="102"/>
                    </a:lnTo>
                    <a:lnTo>
                      <a:pt x="108" y="118"/>
                    </a:lnTo>
                    <a:lnTo>
                      <a:pt x="102" y="138"/>
                    </a:lnTo>
                    <a:lnTo>
                      <a:pt x="98" y="162"/>
                    </a:lnTo>
                    <a:lnTo>
                      <a:pt x="98" y="162"/>
                    </a:lnTo>
                    <a:lnTo>
                      <a:pt x="96" y="188"/>
                    </a:lnTo>
                    <a:lnTo>
                      <a:pt x="96" y="212"/>
                    </a:lnTo>
                    <a:lnTo>
                      <a:pt x="98" y="234"/>
                    </a:lnTo>
                    <a:lnTo>
                      <a:pt x="104" y="252"/>
                    </a:lnTo>
                    <a:lnTo>
                      <a:pt x="112" y="266"/>
                    </a:lnTo>
                    <a:lnTo>
                      <a:pt x="116" y="272"/>
                    </a:lnTo>
                    <a:lnTo>
                      <a:pt x="122" y="278"/>
                    </a:lnTo>
                    <a:lnTo>
                      <a:pt x="130" y="282"/>
                    </a:lnTo>
                    <a:lnTo>
                      <a:pt x="138" y="284"/>
                    </a:lnTo>
                    <a:lnTo>
                      <a:pt x="148" y="286"/>
                    </a:lnTo>
                    <a:lnTo>
                      <a:pt x="158" y="288"/>
                    </a:lnTo>
                    <a:lnTo>
                      <a:pt x="158" y="288"/>
                    </a:lnTo>
                    <a:lnTo>
                      <a:pt x="174" y="286"/>
                    </a:lnTo>
                    <a:lnTo>
                      <a:pt x="188" y="280"/>
                    </a:lnTo>
                    <a:lnTo>
                      <a:pt x="198" y="274"/>
                    </a:lnTo>
                    <a:lnTo>
                      <a:pt x="206" y="264"/>
                    </a:lnTo>
                    <a:lnTo>
                      <a:pt x="212" y="256"/>
                    </a:lnTo>
                    <a:lnTo>
                      <a:pt x="214" y="248"/>
                    </a:lnTo>
                    <a:lnTo>
                      <a:pt x="218" y="236"/>
                    </a:lnTo>
                    <a:lnTo>
                      <a:pt x="314" y="236"/>
                    </a:lnTo>
                    <a:lnTo>
                      <a:pt x="314" y="236"/>
                    </a:lnTo>
                    <a:lnTo>
                      <a:pt x="312" y="252"/>
                    </a:lnTo>
                    <a:lnTo>
                      <a:pt x="306" y="270"/>
                    </a:lnTo>
                    <a:lnTo>
                      <a:pt x="296" y="290"/>
                    </a:lnTo>
                    <a:lnTo>
                      <a:pt x="290" y="300"/>
                    </a:lnTo>
                    <a:lnTo>
                      <a:pt x="282" y="308"/>
                    </a:lnTo>
                    <a:lnTo>
                      <a:pt x="272" y="318"/>
                    </a:lnTo>
                    <a:lnTo>
                      <a:pt x="260" y="326"/>
                    </a:lnTo>
                    <a:lnTo>
                      <a:pt x="248" y="334"/>
                    </a:lnTo>
                    <a:lnTo>
                      <a:pt x="232" y="340"/>
                    </a:lnTo>
                    <a:lnTo>
                      <a:pt x="216" y="346"/>
                    </a:lnTo>
                    <a:lnTo>
                      <a:pt x="196" y="350"/>
                    </a:lnTo>
                    <a:lnTo>
                      <a:pt x="176" y="352"/>
                    </a:lnTo>
                    <a:lnTo>
                      <a:pt x="152" y="352"/>
                    </a:lnTo>
                    <a:lnTo>
                      <a:pt x="152" y="352"/>
                    </a:lnTo>
                    <a:lnTo>
                      <a:pt x="128" y="352"/>
                    </a:lnTo>
                    <a:lnTo>
                      <a:pt x="106" y="348"/>
                    </a:lnTo>
                    <a:lnTo>
                      <a:pt x="86" y="342"/>
                    </a:lnTo>
                    <a:lnTo>
                      <a:pt x="70" y="336"/>
                    </a:lnTo>
                    <a:lnTo>
                      <a:pt x="54" y="326"/>
                    </a:lnTo>
                    <a:lnTo>
                      <a:pt x="42" y="316"/>
                    </a:lnTo>
                    <a:lnTo>
                      <a:pt x="30" y="304"/>
                    </a:lnTo>
                    <a:lnTo>
                      <a:pt x="22" y="292"/>
                    </a:lnTo>
                    <a:lnTo>
                      <a:pt x="14" y="276"/>
                    </a:lnTo>
                    <a:lnTo>
                      <a:pt x="8" y="262"/>
                    </a:lnTo>
                    <a:lnTo>
                      <a:pt x="4" y="246"/>
                    </a:lnTo>
                    <a:lnTo>
                      <a:pt x="2" y="230"/>
                    </a:lnTo>
                    <a:lnTo>
                      <a:pt x="0" y="212"/>
                    </a:lnTo>
                    <a:lnTo>
                      <a:pt x="0" y="194"/>
                    </a:lnTo>
                    <a:lnTo>
                      <a:pt x="2" y="160"/>
                    </a:lnTo>
                    <a:lnTo>
                      <a:pt x="2" y="160"/>
                    </a:lnTo>
                    <a:lnTo>
                      <a:pt x="8" y="130"/>
                    </a:lnTo>
                    <a:lnTo>
                      <a:pt x="18" y="102"/>
                    </a:lnTo>
                    <a:lnTo>
                      <a:pt x="24" y="88"/>
                    </a:lnTo>
                    <a:lnTo>
                      <a:pt x="32" y="74"/>
                    </a:lnTo>
                    <a:lnTo>
                      <a:pt x="42" y="62"/>
                    </a:lnTo>
                    <a:lnTo>
                      <a:pt x="52" y="50"/>
                    </a:lnTo>
                    <a:lnTo>
                      <a:pt x="64" y="40"/>
                    </a:lnTo>
                    <a:lnTo>
                      <a:pt x="76" y="30"/>
                    </a:lnTo>
                    <a:lnTo>
                      <a:pt x="90" y="20"/>
                    </a:lnTo>
                    <a:lnTo>
                      <a:pt x="106" y="14"/>
                    </a:lnTo>
                    <a:lnTo>
                      <a:pt x="122" y="8"/>
                    </a:lnTo>
                    <a:lnTo>
                      <a:pt x="140" y="4"/>
                    </a:lnTo>
                    <a:lnTo>
                      <a:pt x="160" y="0"/>
                    </a:lnTo>
                    <a:lnTo>
                      <a:pt x="180" y="0"/>
                    </a:lnTo>
                    <a:lnTo>
                      <a:pt x="18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23"/>
              <p:cNvSpPr>
                <a:spLocks/>
              </p:cNvSpPr>
              <p:nvPr/>
            </p:nvSpPr>
            <p:spPr bwMode="auto">
              <a:xfrm>
                <a:off x="5229225" y="352425"/>
                <a:ext cx="177800" cy="542925"/>
              </a:xfrm>
              <a:custGeom>
                <a:avLst/>
                <a:gdLst>
                  <a:gd name="T0" fmla="*/ 0 w 112"/>
                  <a:gd name="T1" fmla="*/ 342 h 342"/>
                  <a:gd name="T2" fmla="*/ 24 w 112"/>
                  <a:gd name="T3" fmla="*/ 0 h 342"/>
                  <a:gd name="T4" fmla="*/ 112 w 112"/>
                  <a:gd name="T5" fmla="*/ 0 h 342"/>
                  <a:gd name="T6" fmla="*/ 88 w 112"/>
                  <a:gd name="T7" fmla="*/ 342 h 342"/>
                  <a:gd name="T8" fmla="*/ 0 w 112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2" y="0"/>
                    </a:lnTo>
                    <a:lnTo>
                      <a:pt x="88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Freeform 24"/>
              <p:cNvSpPr>
                <a:spLocks/>
              </p:cNvSpPr>
              <p:nvPr/>
            </p:nvSpPr>
            <p:spPr bwMode="auto">
              <a:xfrm>
                <a:off x="5803900" y="517525"/>
                <a:ext cx="295275" cy="377825"/>
              </a:xfrm>
              <a:custGeom>
                <a:avLst/>
                <a:gdLst>
                  <a:gd name="T0" fmla="*/ 106 w 186"/>
                  <a:gd name="T1" fmla="*/ 34 h 238"/>
                  <a:gd name="T2" fmla="*/ 106 w 186"/>
                  <a:gd name="T3" fmla="*/ 34 h 238"/>
                  <a:gd name="T4" fmla="*/ 106 w 186"/>
                  <a:gd name="T5" fmla="*/ 34 h 238"/>
                  <a:gd name="T6" fmla="*/ 116 w 186"/>
                  <a:gd name="T7" fmla="*/ 24 h 238"/>
                  <a:gd name="T8" fmla="*/ 124 w 186"/>
                  <a:gd name="T9" fmla="*/ 16 h 238"/>
                  <a:gd name="T10" fmla="*/ 134 w 186"/>
                  <a:gd name="T11" fmla="*/ 10 h 238"/>
                  <a:gd name="T12" fmla="*/ 144 w 186"/>
                  <a:gd name="T13" fmla="*/ 6 h 238"/>
                  <a:gd name="T14" fmla="*/ 154 w 186"/>
                  <a:gd name="T15" fmla="*/ 4 h 238"/>
                  <a:gd name="T16" fmla="*/ 164 w 186"/>
                  <a:gd name="T17" fmla="*/ 2 h 238"/>
                  <a:gd name="T18" fmla="*/ 186 w 186"/>
                  <a:gd name="T19" fmla="*/ 0 h 238"/>
                  <a:gd name="T20" fmla="*/ 180 w 186"/>
                  <a:gd name="T21" fmla="*/ 76 h 238"/>
                  <a:gd name="T22" fmla="*/ 180 w 186"/>
                  <a:gd name="T23" fmla="*/ 76 h 238"/>
                  <a:gd name="T24" fmla="*/ 162 w 186"/>
                  <a:gd name="T25" fmla="*/ 76 h 238"/>
                  <a:gd name="T26" fmla="*/ 162 w 186"/>
                  <a:gd name="T27" fmla="*/ 76 h 238"/>
                  <a:gd name="T28" fmla="*/ 142 w 186"/>
                  <a:gd name="T29" fmla="*/ 78 h 238"/>
                  <a:gd name="T30" fmla="*/ 126 w 186"/>
                  <a:gd name="T31" fmla="*/ 82 h 238"/>
                  <a:gd name="T32" fmla="*/ 116 w 186"/>
                  <a:gd name="T33" fmla="*/ 88 h 238"/>
                  <a:gd name="T34" fmla="*/ 108 w 186"/>
                  <a:gd name="T35" fmla="*/ 98 h 238"/>
                  <a:gd name="T36" fmla="*/ 104 w 186"/>
                  <a:gd name="T37" fmla="*/ 108 h 238"/>
                  <a:gd name="T38" fmla="*/ 100 w 186"/>
                  <a:gd name="T39" fmla="*/ 120 h 238"/>
                  <a:gd name="T40" fmla="*/ 98 w 186"/>
                  <a:gd name="T41" fmla="*/ 148 h 238"/>
                  <a:gd name="T42" fmla="*/ 92 w 186"/>
                  <a:gd name="T43" fmla="*/ 238 h 238"/>
                  <a:gd name="T44" fmla="*/ 0 w 186"/>
                  <a:gd name="T45" fmla="*/ 238 h 238"/>
                  <a:gd name="T46" fmla="*/ 14 w 186"/>
                  <a:gd name="T47" fmla="*/ 62 h 238"/>
                  <a:gd name="T48" fmla="*/ 14 w 186"/>
                  <a:gd name="T49" fmla="*/ 62 h 238"/>
                  <a:gd name="T50" fmla="*/ 14 w 186"/>
                  <a:gd name="T51" fmla="*/ 32 h 238"/>
                  <a:gd name="T52" fmla="*/ 14 w 186"/>
                  <a:gd name="T53" fmla="*/ 0 h 238"/>
                  <a:gd name="T54" fmla="*/ 102 w 186"/>
                  <a:gd name="T55" fmla="*/ 0 h 238"/>
                  <a:gd name="T56" fmla="*/ 106 w 186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6" h="238">
                    <a:moveTo>
                      <a:pt x="106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6" y="24"/>
                    </a:lnTo>
                    <a:lnTo>
                      <a:pt x="124" y="16"/>
                    </a:lnTo>
                    <a:lnTo>
                      <a:pt x="134" y="10"/>
                    </a:lnTo>
                    <a:lnTo>
                      <a:pt x="144" y="6"/>
                    </a:lnTo>
                    <a:lnTo>
                      <a:pt x="154" y="4"/>
                    </a:lnTo>
                    <a:lnTo>
                      <a:pt x="164" y="2"/>
                    </a:lnTo>
                    <a:lnTo>
                      <a:pt x="186" y="0"/>
                    </a:lnTo>
                    <a:lnTo>
                      <a:pt x="180" y="76"/>
                    </a:lnTo>
                    <a:lnTo>
                      <a:pt x="180" y="76"/>
                    </a:lnTo>
                    <a:lnTo>
                      <a:pt x="162" y="76"/>
                    </a:lnTo>
                    <a:lnTo>
                      <a:pt x="162" y="76"/>
                    </a:lnTo>
                    <a:lnTo>
                      <a:pt x="142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4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6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31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53074" y="553073"/>
            <a:ext cx="3571665" cy="316888"/>
          </a:xfrm>
        </p:spPr>
        <p:txBody>
          <a:bodyPr>
            <a:noAutofit/>
          </a:bodyPr>
          <a:lstStyle>
            <a:lvl1pPr marL="0" indent="0">
              <a:buNone/>
              <a:defRPr sz="1400" b="0" u="none">
                <a:solidFill>
                  <a:schemeClr val="bg1"/>
                </a:solidFill>
              </a:defRPr>
            </a:lvl1pPr>
            <a:lvl2pPr marL="457200" indent="0">
              <a:buNone/>
              <a:defRPr b="0" u="none"/>
            </a:lvl2pPr>
            <a:lvl3pPr marL="914400" indent="0">
              <a:buNone/>
              <a:defRPr b="0" u="none"/>
            </a:lvl3pPr>
            <a:lvl4pPr marL="1371600" indent="0">
              <a:buNone/>
              <a:defRPr b="0" u="none"/>
            </a:lvl4pPr>
            <a:lvl5pPr marL="1828800" indent="0">
              <a:buNone/>
              <a:defRPr b="0" u="none"/>
            </a:lvl5pPr>
          </a:lstStyle>
          <a:p>
            <a:pPr lvl="0"/>
            <a:r>
              <a:rPr lang="en-US"/>
              <a:t>Global Risk Management</a:t>
            </a:r>
          </a:p>
        </p:txBody>
      </p:sp>
    </p:spTree>
    <p:extLst>
      <p:ext uri="{BB962C8B-B14F-4D97-AF65-F5344CB8AC3E}">
        <p14:creationId xmlns:p14="http://schemas.microsoft.com/office/powerpoint/2010/main" val="1457374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56499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31" y="0"/>
            <a:ext cx="1219878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58369" y="2336800"/>
            <a:ext cx="5788152" cy="2091087"/>
          </a:xfrm>
        </p:spPr>
        <p:txBody>
          <a:bodyPr anchor="ctr">
            <a:normAutofit/>
          </a:bodyPr>
          <a:lstStyle>
            <a:lvl1pPr algn="l"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58369" y="4427887"/>
            <a:ext cx="5789202" cy="1285515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3E7FBFD-78E1-42FB-85FC-D9CE5E3DEFA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70622" y="276225"/>
            <a:ext cx="2165537" cy="271230"/>
            <a:chOff x="158750" y="276225"/>
            <a:chExt cx="6388100" cy="800100"/>
          </a:xfrm>
          <a:solidFill>
            <a:schemeClr val="accent1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158750" y="276225"/>
              <a:ext cx="857250" cy="736600"/>
            </a:xfrm>
            <a:custGeom>
              <a:avLst/>
              <a:gdLst>
                <a:gd name="T0" fmla="*/ 298 w 540"/>
                <a:gd name="T1" fmla="*/ 0 h 464"/>
                <a:gd name="T2" fmla="*/ 374 w 540"/>
                <a:gd name="T3" fmla="*/ 18 h 464"/>
                <a:gd name="T4" fmla="*/ 442 w 540"/>
                <a:gd name="T5" fmla="*/ 52 h 464"/>
                <a:gd name="T6" fmla="*/ 494 w 540"/>
                <a:gd name="T7" fmla="*/ 102 h 464"/>
                <a:gd name="T8" fmla="*/ 528 w 540"/>
                <a:gd name="T9" fmla="*/ 162 h 464"/>
                <a:gd name="T10" fmla="*/ 540 w 540"/>
                <a:gd name="T11" fmla="*/ 232 h 464"/>
                <a:gd name="T12" fmla="*/ 534 w 540"/>
                <a:gd name="T13" fmla="*/ 278 h 464"/>
                <a:gd name="T14" fmla="*/ 506 w 540"/>
                <a:gd name="T15" fmla="*/ 342 h 464"/>
                <a:gd name="T16" fmla="*/ 460 w 540"/>
                <a:gd name="T17" fmla="*/ 396 h 464"/>
                <a:gd name="T18" fmla="*/ 398 w 540"/>
                <a:gd name="T19" fmla="*/ 436 h 464"/>
                <a:gd name="T20" fmla="*/ 324 w 540"/>
                <a:gd name="T21" fmla="*/ 460 h 464"/>
                <a:gd name="T22" fmla="*/ 270 w 540"/>
                <a:gd name="T23" fmla="*/ 464 h 464"/>
                <a:gd name="T24" fmla="*/ 190 w 540"/>
                <a:gd name="T25" fmla="*/ 454 h 464"/>
                <a:gd name="T26" fmla="*/ 118 w 540"/>
                <a:gd name="T27" fmla="*/ 424 h 464"/>
                <a:gd name="T28" fmla="*/ 62 w 540"/>
                <a:gd name="T29" fmla="*/ 380 h 464"/>
                <a:gd name="T30" fmla="*/ 20 w 540"/>
                <a:gd name="T31" fmla="*/ 322 h 464"/>
                <a:gd name="T32" fmla="*/ 2 w 540"/>
                <a:gd name="T33" fmla="*/ 256 h 464"/>
                <a:gd name="T34" fmla="*/ 2 w 540"/>
                <a:gd name="T35" fmla="*/ 208 h 464"/>
                <a:gd name="T36" fmla="*/ 20 w 540"/>
                <a:gd name="T37" fmla="*/ 142 h 464"/>
                <a:gd name="T38" fmla="*/ 62 w 540"/>
                <a:gd name="T39" fmla="*/ 84 h 464"/>
                <a:gd name="T40" fmla="*/ 118 w 540"/>
                <a:gd name="T41" fmla="*/ 40 h 464"/>
                <a:gd name="T42" fmla="*/ 190 w 540"/>
                <a:gd name="T43" fmla="*/ 10 h 464"/>
                <a:gd name="T44" fmla="*/ 270 w 540"/>
                <a:gd name="T45" fmla="*/ 0 h 464"/>
                <a:gd name="T46" fmla="*/ 270 w 540"/>
                <a:gd name="T47" fmla="*/ 232 h 464"/>
                <a:gd name="T48" fmla="*/ 220 w 540"/>
                <a:gd name="T49" fmla="*/ 196 h 464"/>
                <a:gd name="T50" fmla="*/ 208 w 540"/>
                <a:gd name="T51" fmla="*/ 176 h 464"/>
                <a:gd name="T52" fmla="*/ 156 w 540"/>
                <a:gd name="T53" fmla="*/ 130 h 464"/>
                <a:gd name="T54" fmla="*/ 76 w 540"/>
                <a:gd name="T55" fmla="*/ 152 h 464"/>
                <a:gd name="T56" fmla="*/ 130 w 540"/>
                <a:gd name="T57" fmla="*/ 204 h 464"/>
                <a:gd name="T58" fmla="*/ 138 w 540"/>
                <a:gd name="T59" fmla="*/ 230 h 464"/>
                <a:gd name="T60" fmla="*/ 132 w 540"/>
                <a:gd name="T61" fmla="*/ 244 h 464"/>
                <a:gd name="T62" fmla="*/ 108 w 540"/>
                <a:gd name="T63" fmla="*/ 250 h 464"/>
                <a:gd name="T64" fmla="*/ 38 w 540"/>
                <a:gd name="T65" fmla="*/ 330 h 464"/>
                <a:gd name="T66" fmla="*/ 146 w 540"/>
                <a:gd name="T67" fmla="*/ 330 h 464"/>
                <a:gd name="T68" fmla="*/ 186 w 540"/>
                <a:gd name="T69" fmla="*/ 320 h 464"/>
                <a:gd name="T70" fmla="*/ 214 w 540"/>
                <a:gd name="T71" fmla="*/ 296 h 464"/>
                <a:gd name="T72" fmla="*/ 320 w 540"/>
                <a:gd name="T73" fmla="*/ 390 h 464"/>
                <a:gd name="T74" fmla="*/ 326 w 540"/>
                <a:gd name="T75" fmla="*/ 296 h 464"/>
                <a:gd name="T76" fmla="*/ 352 w 540"/>
                <a:gd name="T77" fmla="*/ 320 h 464"/>
                <a:gd name="T78" fmla="*/ 392 w 540"/>
                <a:gd name="T79" fmla="*/ 330 h 464"/>
                <a:gd name="T80" fmla="*/ 500 w 540"/>
                <a:gd name="T81" fmla="*/ 250 h 464"/>
                <a:gd name="T82" fmla="*/ 432 w 540"/>
                <a:gd name="T83" fmla="*/ 250 h 464"/>
                <a:gd name="T84" fmla="*/ 408 w 540"/>
                <a:gd name="T85" fmla="*/ 244 h 464"/>
                <a:gd name="T86" fmla="*/ 400 w 540"/>
                <a:gd name="T87" fmla="*/ 230 h 464"/>
                <a:gd name="T88" fmla="*/ 410 w 540"/>
                <a:gd name="T89" fmla="*/ 204 h 464"/>
                <a:gd name="T90" fmla="*/ 462 w 540"/>
                <a:gd name="T91" fmla="*/ 152 h 464"/>
                <a:gd name="T92" fmla="*/ 382 w 540"/>
                <a:gd name="T93" fmla="*/ 130 h 464"/>
                <a:gd name="T94" fmla="*/ 330 w 540"/>
                <a:gd name="T95" fmla="*/ 176 h 464"/>
                <a:gd name="T96" fmla="*/ 320 w 540"/>
                <a:gd name="T97" fmla="*/ 19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40" h="464">
                  <a:moveTo>
                    <a:pt x="270" y="0"/>
                  </a:moveTo>
                  <a:lnTo>
                    <a:pt x="270" y="0"/>
                  </a:lnTo>
                  <a:lnTo>
                    <a:pt x="298" y="0"/>
                  </a:lnTo>
                  <a:lnTo>
                    <a:pt x="324" y="4"/>
                  </a:lnTo>
                  <a:lnTo>
                    <a:pt x="350" y="10"/>
                  </a:lnTo>
                  <a:lnTo>
                    <a:pt x="374" y="18"/>
                  </a:lnTo>
                  <a:lnTo>
                    <a:pt x="398" y="28"/>
                  </a:lnTo>
                  <a:lnTo>
                    <a:pt x="420" y="40"/>
                  </a:lnTo>
                  <a:lnTo>
                    <a:pt x="442" y="52"/>
                  </a:lnTo>
                  <a:lnTo>
                    <a:pt x="460" y="68"/>
                  </a:lnTo>
                  <a:lnTo>
                    <a:pt x="478" y="84"/>
                  </a:lnTo>
                  <a:lnTo>
                    <a:pt x="494" y="102"/>
                  </a:lnTo>
                  <a:lnTo>
                    <a:pt x="506" y="122"/>
                  </a:lnTo>
                  <a:lnTo>
                    <a:pt x="518" y="142"/>
                  </a:lnTo>
                  <a:lnTo>
                    <a:pt x="528" y="162"/>
                  </a:lnTo>
                  <a:lnTo>
                    <a:pt x="534" y="184"/>
                  </a:lnTo>
                  <a:lnTo>
                    <a:pt x="538" y="208"/>
                  </a:lnTo>
                  <a:lnTo>
                    <a:pt x="540" y="232"/>
                  </a:lnTo>
                  <a:lnTo>
                    <a:pt x="540" y="232"/>
                  </a:lnTo>
                  <a:lnTo>
                    <a:pt x="538" y="256"/>
                  </a:lnTo>
                  <a:lnTo>
                    <a:pt x="534" y="278"/>
                  </a:lnTo>
                  <a:lnTo>
                    <a:pt x="528" y="300"/>
                  </a:lnTo>
                  <a:lnTo>
                    <a:pt x="518" y="322"/>
                  </a:lnTo>
                  <a:lnTo>
                    <a:pt x="506" y="342"/>
                  </a:lnTo>
                  <a:lnTo>
                    <a:pt x="494" y="362"/>
                  </a:lnTo>
                  <a:lnTo>
                    <a:pt x="478" y="380"/>
                  </a:lnTo>
                  <a:lnTo>
                    <a:pt x="460" y="396"/>
                  </a:lnTo>
                  <a:lnTo>
                    <a:pt x="442" y="410"/>
                  </a:lnTo>
                  <a:lnTo>
                    <a:pt x="420" y="424"/>
                  </a:lnTo>
                  <a:lnTo>
                    <a:pt x="398" y="436"/>
                  </a:lnTo>
                  <a:lnTo>
                    <a:pt x="374" y="446"/>
                  </a:lnTo>
                  <a:lnTo>
                    <a:pt x="350" y="454"/>
                  </a:lnTo>
                  <a:lnTo>
                    <a:pt x="324" y="460"/>
                  </a:lnTo>
                  <a:lnTo>
                    <a:pt x="298" y="462"/>
                  </a:lnTo>
                  <a:lnTo>
                    <a:pt x="270" y="464"/>
                  </a:lnTo>
                  <a:lnTo>
                    <a:pt x="270" y="464"/>
                  </a:lnTo>
                  <a:lnTo>
                    <a:pt x="242" y="462"/>
                  </a:lnTo>
                  <a:lnTo>
                    <a:pt x="216" y="458"/>
                  </a:lnTo>
                  <a:lnTo>
                    <a:pt x="190" y="454"/>
                  </a:lnTo>
                  <a:lnTo>
                    <a:pt x="164" y="446"/>
                  </a:lnTo>
                  <a:lnTo>
                    <a:pt x="140" y="436"/>
                  </a:lnTo>
                  <a:lnTo>
                    <a:pt x="118" y="424"/>
                  </a:lnTo>
                  <a:lnTo>
                    <a:pt x="98" y="410"/>
                  </a:lnTo>
                  <a:lnTo>
                    <a:pt x="78" y="396"/>
                  </a:lnTo>
                  <a:lnTo>
                    <a:pt x="62" y="380"/>
                  </a:lnTo>
                  <a:lnTo>
                    <a:pt x="46" y="362"/>
                  </a:lnTo>
                  <a:lnTo>
                    <a:pt x="32" y="342"/>
                  </a:lnTo>
                  <a:lnTo>
                    <a:pt x="20" y="322"/>
                  </a:lnTo>
                  <a:lnTo>
                    <a:pt x="12" y="300"/>
                  </a:lnTo>
                  <a:lnTo>
                    <a:pt x="6" y="278"/>
                  </a:lnTo>
                  <a:lnTo>
                    <a:pt x="2" y="256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08"/>
                  </a:lnTo>
                  <a:lnTo>
                    <a:pt x="6" y="184"/>
                  </a:lnTo>
                  <a:lnTo>
                    <a:pt x="12" y="162"/>
                  </a:lnTo>
                  <a:lnTo>
                    <a:pt x="20" y="142"/>
                  </a:lnTo>
                  <a:lnTo>
                    <a:pt x="32" y="120"/>
                  </a:lnTo>
                  <a:lnTo>
                    <a:pt x="46" y="102"/>
                  </a:lnTo>
                  <a:lnTo>
                    <a:pt x="62" y="84"/>
                  </a:lnTo>
                  <a:lnTo>
                    <a:pt x="78" y="68"/>
                  </a:lnTo>
                  <a:lnTo>
                    <a:pt x="98" y="52"/>
                  </a:lnTo>
                  <a:lnTo>
                    <a:pt x="118" y="40"/>
                  </a:lnTo>
                  <a:lnTo>
                    <a:pt x="140" y="28"/>
                  </a:lnTo>
                  <a:lnTo>
                    <a:pt x="164" y="18"/>
                  </a:lnTo>
                  <a:lnTo>
                    <a:pt x="190" y="10"/>
                  </a:lnTo>
                  <a:lnTo>
                    <a:pt x="216" y="4"/>
                  </a:lnTo>
                  <a:lnTo>
                    <a:pt x="242" y="0"/>
                  </a:lnTo>
                  <a:lnTo>
                    <a:pt x="270" y="0"/>
                  </a:lnTo>
                  <a:lnTo>
                    <a:pt x="270" y="0"/>
                  </a:lnTo>
                  <a:close/>
                  <a:moveTo>
                    <a:pt x="270" y="232"/>
                  </a:moveTo>
                  <a:lnTo>
                    <a:pt x="270" y="232"/>
                  </a:lnTo>
                  <a:close/>
                  <a:moveTo>
                    <a:pt x="220" y="50"/>
                  </a:moveTo>
                  <a:lnTo>
                    <a:pt x="220" y="50"/>
                  </a:lnTo>
                  <a:lnTo>
                    <a:pt x="220" y="196"/>
                  </a:lnTo>
                  <a:lnTo>
                    <a:pt x="220" y="196"/>
                  </a:lnTo>
                  <a:lnTo>
                    <a:pt x="214" y="186"/>
                  </a:lnTo>
                  <a:lnTo>
                    <a:pt x="208" y="176"/>
                  </a:lnTo>
                  <a:lnTo>
                    <a:pt x="194" y="160"/>
                  </a:lnTo>
                  <a:lnTo>
                    <a:pt x="176" y="144"/>
                  </a:lnTo>
                  <a:lnTo>
                    <a:pt x="156" y="130"/>
                  </a:lnTo>
                  <a:lnTo>
                    <a:pt x="48" y="130"/>
                  </a:lnTo>
                  <a:lnTo>
                    <a:pt x="48" y="130"/>
                  </a:lnTo>
                  <a:lnTo>
                    <a:pt x="76" y="152"/>
                  </a:lnTo>
                  <a:lnTo>
                    <a:pt x="106" y="178"/>
                  </a:lnTo>
                  <a:lnTo>
                    <a:pt x="120" y="192"/>
                  </a:lnTo>
                  <a:lnTo>
                    <a:pt x="130" y="204"/>
                  </a:lnTo>
                  <a:lnTo>
                    <a:pt x="136" y="218"/>
                  </a:lnTo>
                  <a:lnTo>
                    <a:pt x="138" y="230"/>
                  </a:lnTo>
                  <a:lnTo>
                    <a:pt x="138" y="230"/>
                  </a:lnTo>
                  <a:lnTo>
                    <a:pt x="138" y="236"/>
                  </a:lnTo>
                  <a:lnTo>
                    <a:pt x="136" y="240"/>
                  </a:lnTo>
                  <a:lnTo>
                    <a:pt x="132" y="244"/>
                  </a:lnTo>
                  <a:lnTo>
                    <a:pt x="128" y="246"/>
                  </a:lnTo>
                  <a:lnTo>
                    <a:pt x="11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38" y="25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146" y="330"/>
                  </a:lnTo>
                  <a:lnTo>
                    <a:pt x="146" y="330"/>
                  </a:lnTo>
                  <a:lnTo>
                    <a:pt x="166" y="328"/>
                  </a:lnTo>
                  <a:lnTo>
                    <a:pt x="176" y="324"/>
                  </a:lnTo>
                  <a:lnTo>
                    <a:pt x="186" y="320"/>
                  </a:lnTo>
                  <a:lnTo>
                    <a:pt x="196" y="314"/>
                  </a:lnTo>
                  <a:lnTo>
                    <a:pt x="206" y="306"/>
                  </a:lnTo>
                  <a:lnTo>
                    <a:pt x="214" y="296"/>
                  </a:lnTo>
                  <a:lnTo>
                    <a:pt x="220" y="284"/>
                  </a:lnTo>
                  <a:lnTo>
                    <a:pt x="220" y="390"/>
                  </a:lnTo>
                  <a:lnTo>
                    <a:pt x="320" y="390"/>
                  </a:lnTo>
                  <a:lnTo>
                    <a:pt x="320" y="284"/>
                  </a:lnTo>
                  <a:lnTo>
                    <a:pt x="320" y="284"/>
                  </a:lnTo>
                  <a:lnTo>
                    <a:pt x="326" y="296"/>
                  </a:lnTo>
                  <a:lnTo>
                    <a:pt x="334" y="306"/>
                  </a:lnTo>
                  <a:lnTo>
                    <a:pt x="342" y="314"/>
                  </a:lnTo>
                  <a:lnTo>
                    <a:pt x="352" y="320"/>
                  </a:lnTo>
                  <a:lnTo>
                    <a:pt x="362" y="324"/>
                  </a:lnTo>
                  <a:lnTo>
                    <a:pt x="372" y="328"/>
                  </a:lnTo>
                  <a:lnTo>
                    <a:pt x="392" y="330"/>
                  </a:lnTo>
                  <a:lnTo>
                    <a:pt x="392" y="330"/>
                  </a:lnTo>
                  <a:lnTo>
                    <a:pt x="500" y="330"/>
                  </a:lnTo>
                  <a:lnTo>
                    <a:pt x="500" y="250"/>
                  </a:lnTo>
                  <a:lnTo>
                    <a:pt x="500" y="250"/>
                  </a:lnTo>
                  <a:lnTo>
                    <a:pt x="432" y="250"/>
                  </a:lnTo>
                  <a:lnTo>
                    <a:pt x="432" y="250"/>
                  </a:lnTo>
                  <a:lnTo>
                    <a:pt x="422" y="250"/>
                  </a:lnTo>
                  <a:lnTo>
                    <a:pt x="412" y="246"/>
                  </a:lnTo>
                  <a:lnTo>
                    <a:pt x="408" y="244"/>
                  </a:lnTo>
                  <a:lnTo>
                    <a:pt x="404" y="240"/>
                  </a:lnTo>
                  <a:lnTo>
                    <a:pt x="402" y="236"/>
                  </a:lnTo>
                  <a:lnTo>
                    <a:pt x="400" y="230"/>
                  </a:lnTo>
                  <a:lnTo>
                    <a:pt x="400" y="230"/>
                  </a:lnTo>
                  <a:lnTo>
                    <a:pt x="402" y="218"/>
                  </a:lnTo>
                  <a:lnTo>
                    <a:pt x="410" y="204"/>
                  </a:lnTo>
                  <a:lnTo>
                    <a:pt x="420" y="192"/>
                  </a:lnTo>
                  <a:lnTo>
                    <a:pt x="432" y="178"/>
                  </a:lnTo>
                  <a:lnTo>
                    <a:pt x="462" y="152"/>
                  </a:lnTo>
                  <a:lnTo>
                    <a:pt x="492" y="130"/>
                  </a:lnTo>
                  <a:lnTo>
                    <a:pt x="382" y="130"/>
                  </a:lnTo>
                  <a:lnTo>
                    <a:pt x="382" y="130"/>
                  </a:lnTo>
                  <a:lnTo>
                    <a:pt x="364" y="144"/>
                  </a:lnTo>
                  <a:lnTo>
                    <a:pt x="346" y="160"/>
                  </a:lnTo>
                  <a:lnTo>
                    <a:pt x="330" y="176"/>
                  </a:lnTo>
                  <a:lnTo>
                    <a:pt x="324" y="186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20" y="50"/>
                  </a:lnTo>
                  <a:lnTo>
                    <a:pt x="22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1314450" y="339725"/>
              <a:ext cx="5232400" cy="736600"/>
              <a:chOff x="1314450" y="339725"/>
              <a:chExt cx="5232400" cy="736600"/>
            </a:xfrm>
            <a:grpFill/>
          </p:grpSpPr>
          <p:sp>
            <p:nvSpPr>
              <p:cNvPr id="11" name="Freeform 9"/>
              <p:cNvSpPr>
                <a:spLocks/>
              </p:cNvSpPr>
              <p:nvPr/>
            </p:nvSpPr>
            <p:spPr bwMode="auto">
              <a:xfrm>
                <a:off x="1908175" y="352425"/>
                <a:ext cx="139700" cy="98425"/>
              </a:xfrm>
              <a:custGeom>
                <a:avLst/>
                <a:gdLst>
                  <a:gd name="T0" fmla="*/ 4 w 88"/>
                  <a:gd name="T1" fmla="*/ 0 h 62"/>
                  <a:gd name="T2" fmla="*/ 88 w 88"/>
                  <a:gd name="T3" fmla="*/ 0 h 62"/>
                  <a:gd name="T4" fmla="*/ 84 w 88"/>
                  <a:gd name="T5" fmla="*/ 62 h 62"/>
                  <a:gd name="T6" fmla="*/ 0 w 88"/>
                  <a:gd name="T7" fmla="*/ 62 h 62"/>
                  <a:gd name="T8" fmla="*/ 4 w 88"/>
                  <a:gd name="T9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" h="62">
                    <a:moveTo>
                      <a:pt x="4" y="0"/>
                    </a:moveTo>
                    <a:lnTo>
                      <a:pt x="88" y="0"/>
                    </a:lnTo>
                    <a:lnTo>
                      <a:pt x="84" y="62"/>
                    </a:lnTo>
                    <a:lnTo>
                      <a:pt x="0" y="6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10"/>
              <p:cNvSpPr>
                <a:spLocks noEditPoints="1"/>
              </p:cNvSpPr>
              <p:nvPr/>
            </p:nvSpPr>
            <p:spPr bwMode="auto">
              <a:xfrm>
                <a:off x="5397500" y="504825"/>
                <a:ext cx="393700" cy="393700"/>
              </a:xfrm>
              <a:custGeom>
                <a:avLst/>
                <a:gdLst>
                  <a:gd name="T0" fmla="*/ 152 w 248"/>
                  <a:gd name="T1" fmla="*/ 216 h 248"/>
                  <a:gd name="T2" fmla="*/ 138 w 248"/>
                  <a:gd name="T3" fmla="*/ 228 h 248"/>
                  <a:gd name="T4" fmla="*/ 112 w 248"/>
                  <a:gd name="T5" fmla="*/ 242 h 248"/>
                  <a:gd name="T6" fmla="*/ 92 w 248"/>
                  <a:gd name="T7" fmla="*/ 246 h 248"/>
                  <a:gd name="T8" fmla="*/ 80 w 248"/>
                  <a:gd name="T9" fmla="*/ 248 h 248"/>
                  <a:gd name="T10" fmla="*/ 44 w 248"/>
                  <a:gd name="T11" fmla="*/ 242 h 248"/>
                  <a:gd name="T12" fmla="*/ 18 w 248"/>
                  <a:gd name="T13" fmla="*/ 226 h 248"/>
                  <a:gd name="T14" fmla="*/ 4 w 248"/>
                  <a:gd name="T15" fmla="*/ 202 h 248"/>
                  <a:gd name="T16" fmla="*/ 0 w 248"/>
                  <a:gd name="T17" fmla="*/ 174 h 248"/>
                  <a:gd name="T18" fmla="*/ 2 w 248"/>
                  <a:gd name="T19" fmla="*/ 156 h 248"/>
                  <a:gd name="T20" fmla="*/ 20 w 248"/>
                  <a:gd name="T21" fmla="*/ 128 h 248"/>
                  <a:gd name="T22" fmla="*/ 54 w 248"/>
                  <a:gd name="T23" fmla="*/ 108 h 248"/>
                  <a:gd name="T24" fmla="*/ 104 w 248"/>
                  <a:gd name="T25" fmla="*/ 98 h 248"/>
                  <a:gd name="T26" fmla="*/ 162 w 248"/>
                  <a:gd name="T27" fmla="*/ 96 h 248"/>
                  <a:gd name="T28" fmla="*/ 164 w 248"/>
                  <a:gd name="T29" fmla="*/ 78 h 248"/>
                  <a:gd name="T30" fmla="*/ 162 w 248"/>
                  <a:gd name="T31" fmla="*/ 60 h 248"/>
                  <a:gd name="T32" fmla="*/ 154 w 248"/>
                  <a:gd name="T33" fmla="*/ 46 h 248"/>
                  <a:gd name="T34" fmla="*/ 136 w 248"/>
                  <a:gd name="T35" fmla="*/ 40 h 248"/>
                  <a:gd name="T36" fmla="*/ 126 w 248"/>
                  <a:gd name="T37" fmla="*/ 42 h 248"/>
                  <a:gd name="T38" fmla="*/ 114 w 248"/>
                  <a:gd name="T39" fmla="*/ 48 h 248"/>
                  <a:gd name="T40" fmla="*/ 106 w 248"/>
                  <a:gd name="T41" fmla="*/ 66 h 248"/>
                  <a:gd name="T42" fmla="*/ 22 w 248"/>
                  <a:gd name="T43" fmla="*/ 76 h 248"/>
                  <a:gd name="T44" fmla="*/ 24 w 248"/>
                  <a:gd name="T45" fmla="*/ 66 h 248"/>
                  <a:gd name="T46" fmla="*/ 28 w 248"/>
                  <a:gd name="T47" fmla="*/ 46 h 248"/>
                  <a:gd name="T48" fmla="*/ 38 w 248"/>
                  <a:gd name="T49" fmla="*/ 30 h 248"/>
                  <a:gd name="T50" fmla="*/ 54 w 248"/>
                  <a:gd name="T51" fmla="*/ 18 h 248"/>
                  <a:gd name="T52" fmla="*/ 62 w 248"/>
                  <a:gd name="T53" fmla="*/ 14 h 248"/>
                  <a:gd name="T54" fmla="*/ 102 w 248"/>
                  <a:gd name="T55" fmla="*/ 2 h 248"/>
                  <a:gd name="T56" fmla="*/ 144 w 248"/>
                  <a:gd name="T57" fmla="*/ 0 h 248"/>
                  <a:gd name="T58" fmla="*/ 164 w 248"/>
                  <a:gd name="T59" fmla="*/ 0 h 248"/>
                  <a:gd name="T60" fmla="*/ 200 w 248"/>
                  <a:gd name="T61" fmla="*/ 10 h 248"/>
                  <a:gd name="T62" fmla="*/ 230 w 248"/>
                  <a:gd name="T63" fmla="*/ 30 h 248"/>
                  <a:gd name="T64" fmla="*/ 240 w 248"/>
                  <a:gd name="T65" fmla="*/ 44 h 248"/>
                  <a:gd name="T66" fmla="*/ 246 w 248"/>
                  <a:gd name="T67" fmla="*/ 62 h 248"/>
                  <a:gd name="T68" fmla="*/ 248 w 248"/>
                  <a:gd name="T69" fmla="*/ 82 h 248"/>
                  <a:gd name="T70" fmla="*/ 242 w 248"/>
                  <a:gd name="T71" fmla="*/ 196 h 248"/>
                  <a:gd name="T72" fmla="*/ 242 w 248"/>
                  <a:gd name="T73" fmla="*/ 246 h 248"/>
                  <a:gd name="T74" fmla="*/ 152 w 248"/>
                  <a:gd name="T75" fmla="*/ 216 h 248"/>
                  <a:gd name="T76" fmla="*/ 114 w 248"/>
                  <a:gd name="T77" fmla="*/ 200 h 248"/>
                  <a:gd name="T78" fmla="*/ 138 w 248"/>
                  <a:gd name="T79" fmla="*/ 194 h 248"/>
                  <a:gd name="T80" fmla="*/ 152 w 248"/>
                  <a:gd name="T81" fmla="*/ 176 h 248"/>
                  <a:gd name="T82" fmla="*/ 158 w 248"/>
                  <a:gd name="T83" fmla="*/ 154 h 248"/>
                  <a:gd name="T84" fmla="*/ 160 w 248"/>
                  <a:gd name="T85" fmla="*/ 130 h 248"/>
                  <a:gd name="T86" fmla="*/ 122 w 248"/>
                  <a:gd name="T87" fmla="*/ 132 h 248"/>
                  <a:gd name="T88" fmla="*/ 110 w 248"/>
                  <a:gd name="T89" fmla="*/ 134 h 248"/>
                  <a:gd name="T90" fmla="*/ 94 w 248"/>
                  <a:gd name="T91" fmla="*/ 148 h 248"/>
                  <a:gd name="T92" fmla="*/ 86 w 248"/>
                  <a:gd name="T93" fmla="*/ 170 h 248"/>
                  <a:gd name="T94" fmla="*/ 86 w 248"/>
                  <a:gd name="T95" fmla="*/ 176 h 248"/>
                  <a:gd name="T96" fmla="*/ 92 w 248"/>
                  <a:gd name="T97" fmla="*/ 192 h 248"/>
                  <a:gd name="T98" fmla="*/ 102 w 248"/>
                  <a:gd name="T99" fmla="*/ 198 h 248"/>
                  <a:gd name="T100" fmla="*/ 114 w 248"/>
                  <a:gd name="T101" fmla="*/ 20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8" h="248">
                    <a:moveTo>
                      <a:pt x="152" y="216"/>
                    </a:moveTo>
                    <a:lnTo>
                      <a:pt x="152" y="216"/>
                    </a:lnTo>
                    <a:lnTo>
                      <a:pt x="152" y="216"/>
                    </a:lnTo>
                    <a:lnTo>
                      <a:pt x="138" y="228"/>
                    </a:lnTo>
                    <a:lnTo>
                      <a:pt x="122" y="238"/>
                    </a:lnTo>
                    <a:lnTo>
                      <a:pt x="112" y="242"/>
                    </a:lnTo>
                    <a:lnTo>
                      <a:pt x="102" y="246"/>
                    </a:lnTo>
                    <a:lnTo>
                      <a:pt x="92" y="246"/>
                    </a:lnTo>
                    <a:lnTo>
                      <a:pt x="80" y="248"/>
                    </a:lnTo>
                    <a:lnTo>
                      <a:pt x="80" y="248"/>
                    </a:lnTo>
                    <a:lnTo>
                      <a:pt x="60" y="246"/>
                    </a:lnTo>
                    <a:lnTo>
                      <a:pt x="44" y="242"/>
                    </a:lnTo>
                    <a:lnTo>
                      <a:pt x="30" y="234"/>
                    </a:lnTo>
                    <a:lnTo>
                      <a:pt x="18" y="226"/>
                    </a:lnTo>
                    <a:lnTo>
                      <a:pt x="10" y="216"/>
                    </a:lnTo>
                    <a:lnTo>
                      <a:pt x="4" y="202"/>
                    </a:lnTo>
                    <a:lnTo>
                      <a:pt x="0" y="188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2" y="156"/>
                    </a:lnTo>
                    <a:lnTo>
                      <a:pt x="8" y="142"/>
                    </a:lnTo>
                    <a:lnTo>
                      <a:pt x="20" y="128"/>
                    </a:lnTo>
                    <a:lnTo>
                      <a:pt x="34" y="116"/>
                    </a:lnTo>
                    <a:lnTo>
                      <a:pt x="54" y="108"/>
                    </a:lnTo>
                    <a:lnTo>
                      <a:pt x="76" y="102"/>
                    </a:lnTo>
                    <a:lnTo>
                      <a:pt x="104" y="98"/>
                    </a:lnTo>
                    <a:lnTo>
                      <a:pt x="134" y="96"/>
                    </a:lnTo>
                    <a:lnTo>
                      <a:pt x="162" y="96"/>
                    </a:lnTo>
                    <a:lnTo>
                      <a:pt x="162" y="96"/>
                    </a:lnTo>
                    <a:lnTo>
                      <a:pt x="164" y="78"/>
                    </a:lnTo>
                    <a:lnTo>
                      <a:pt x="164" y="70"/>
                    </a:lnTo>
                    <a:lnTo>
                      <a:pt x="162" y="60"/>
                    </a:lnTo>
                    <a:lnTo>
                      <a:pt x="160" y="52"/>
                    </a:lnTo>
                    <a:lnTo>
                      <a:pt x="154" y="46"/>
                    </a:lnTo>
                    <a:lnTo>
                      <a:pt x="146" y="42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26" y="42"/>
                    </a:lnTo>
                    <a:lnTo>
                      <a:pt x="120" y="44"/>
                    </a:lnTo>
                    <a:lnTo>
                      <a:pt x="114" y="48"/>
                    </a:lnTo>
                    <a:lnTo>
                      <a:pt x="110" y="54"/>
                    </a:lnTo>
                    <a:lnTo>
                      <a:pt x="106" y="66"/>
                    </a:lnTo>
                    <a:lnTo>
                      <a:pt x="104" y="76"/>
                    </a:lnTo>
                    <a:lnTo>
                      <a:pt x="22" y="76"/>
                    </a:lnTo>
                    <a:lnTo>
                      <a:pt x="22" y="76"/>
                    </a:lnTo>
                    <a:lnTo>
                      <a:pt x="24" y="66"/>
                    </a:lnTo>
                    <a:lnTo>
                      <a:pt x="26" y="54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38" y="30"/>
                    </a:lnTo>
                    <a:lnTo>
                      <a:pt x="46" y="24"/>
                    </a:lnTo>
                    <a:lnTo>
                      <a:pt x="54" y="18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2" y="6"/>
                    </a:lnTo>
                    <a:lnTo>
                      <a:pt x="102" y="2"/>
                    </a:lnTo>
                    <a:lnTo>
                      <a:pt x="124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64" y="0"/>
                    </a:lnTo>
                    <a:lnTo>
                      <a:pt x="182" y="4"/>
                    </a:lnTo>
                    <a:lnTo>
                      <a:pt x="200" y="10"/>
                    </a:lnTo>
                    <a:lnTo>
                      <a:pt x="216" y="18"/>
                    </a:lnTo>
                    <a:lnTo>
                      <a:pt x="230" y="30"/>
                    </a:lnTo>
                    <a:lnTo>
                      <a:pt x="236" y="38"/>
                    </a:lnTo>
                    <a:lnTo>
                      <a:pt x="240" y="44"/>
                    </a:lnTo>
                    <a:lnTo>
                      <a:pt x="244" y="52"/>
                    </a:lnTo>
                    <a:lnTo>
                      <a:pt x="246" y="62"/>
                    </a:lnTo>
                    <a:lnTo>
                      <a:pt x="248" y="72"/>
                    </a:lnTo>
                    <a:lnTo>
                      <a:pt x="248" y="82"/>
                    </a:lnTo>
                    <a:lnTo>
                      <a:pt x="242" y="196"/>
                    </a:lnTo>
                    <a:lnTo>
                      <a:pt x="242" y="196"/>
                    </a:lnTo>
                    <a:lnTo>
                      <a:pt x="240" y="214"/>
                    </a:lnTo>
                    <a:lnTo>
                      <a:pt x="242" y="246"/>
                    </a:lnTo>
                    <a:lnTo>
                      <a:pt x="158" y="246"/>
                    </a:lnTo>
                    <a:lnTo>
                      <a:pt x="152" y="216"/>
                    </a:lnTo>
                    <a:close/>
                    <a:moveTo>
                      <a:pt x="114" y="200"/>
                    </a:moveTo>
                    <a:lnTo>
                      <a:pt x="114" y="200"/>
                    </a:lnTo>
                    <a:lnTo>
                      <a:pt x="128" y="198"/>
                    </a:lnTo>
                    <a:lnTo>
                      <a:pt x="138" y="194"/>
                    </a:lnTo>
                    <a:lnTo>
                      <a:pt x="146" y="186"/>
                    </a:lnTo>
                    <a:lnTo>
                      <a:pt x="152" y="176"/>
                    </a:lnTo>
                    <a:lnTo>
                      <a:pt x="156" y="166"/>
                    </a:lnTo>
                    <a:lnTo>
                      <a:pt x="158" y="154"/>
                    </a:lnTo>
                    <a:lnTo>
                      <a:pt x="160" y="130"/>
                    </a:lnTo>
                    <a:lnTo>
                      <a:pt x="160" y="130"/>
                    </a:lnTo>
                    <a:lnTo>
                      <a:pt x="134" y="130"/>
                    </a:lnTo>
                    <a:lnTo>
                      <a:pt x="122" y="132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2" y="140"/>
                    </a:lnTo>
                    <a:lnTo>
                      <a:pt x="94" y="148"/>
                    </a:lnTo>
                    <a:lnTo>
                      <a:pt x="88" y="158"/>
                    </a:lnTo>
                    <a:lnTo>
                      <a:pt x="86" y="170"/>
                    </a:lnTo>
                    <a:lnTo>
                      <a:pt x="86" y="170"/>
                    </a:lnTo>
                    <a:lnTo>
                      <a:pt x="86" y="176"/>
                    </a:lnTo>
                    <a:lnTo>
                      <a:pt x="88" y="182"/>
                    </a:lnTo>
                    <a:lnTo>
                      <a:pt x="92" y="192"/>
                    </a:lnTo>
                    <a:lnTo>
                      <a:pt x="96" y="194"/>
                    </a:lnTo>
                    <a:lnTo>
                      <a:pt x="102" y="198"/>
                    </a:lnTo>
                    <a:lnTo>
                      <a:pt x="108" y="200"/>
                    </a:lnTo>
                    <a:lnTo>
                      <a:pt x="114" y="200"/>
                    </a:lnTo>
                    <a:lnTo>
                      <a:pt x="114" y="2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11"/>
              <p:cNvSpPr>
                <a:spLocks noEditPoints="1"/>
              </p:cNvSpPr>
              <p:nvPr/>
            </p:nvSpPr>
            <p:spPr bwMode="auto">
              <a:xfrm>
                <a:off x="6092825" y="352425"/>
                <a:ext cx="454025" cy="542925"/>
              </a:xfrm>
              <a:custGeom>
                <a:avLst/>
                <a:gdLst>
                  <a:gd name="T0" fmla="*/ 0 w 286"/>
                  <a:gd name="T1" fmla="*/ 342 h 342"/>
                  <a:gd name="T2" fmla="*/ 24 w 286"/>
                  <a:gd name="T3" fmla="*/ 0 h 342"/>
                  <a:gd name="T4" fmla="*/ 114 w 286"/>
                  <a:gd name="T5" fmla="*/ 0 h 342"/>
                  <a:gd name="T6" fmla="*/ 90 w 286"/>
                  <a:gd name="T7" fmla="*/ 342 h 342"/>
                  <a:gd name="T8" fmla="*/ 0 w 286"/>
                  <a:gd name="T9" fmla="*/ 342 h 342"/>
                  <a:gd name="T10" fmla="*/ 100 w 286"/>
                  <a:gd name="T11" fmla="*/ 210 h 342"/>
                  <a:gd name="T12" fmla="*/ 184 w 286"/>
                  <a:gd name="T13" fmla="*/ 104 h 342"/>
                  <a:gd name="T14" fmla="*/ 286 w 286"/>
                  <a:gd name="T15" fmla="*/ 104 h 342"/>
                  <a:gd name="T16" fmla="*/ 194 w 286"/>
                  <a:gd name="T17" fmla="*/ 204 h 342"/>
                  <a:gd name="T18" fmla="*/ 282 w 286"/>
                  <a:gd name="T19" fmla="*/ 342 h 342"/>
                  <a:gd name="T20" fmla="*/ 170 w 286"/>
                  <a:gd name="T21" fmla="*/ 342 h 342"/>
                  <a:gd name="T22" fmla="*/ 100 w 286"/>
                  <a:gd name="T23" fmla="*/ 21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6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4" y="0"/>
                    </a:lnTo>
                    <a:lnTo>
                      <a:pt x="90" y="342"/>
                    </a:lnTo>
                    <a:lnTo>
                      <a:pt x="0" y="342"/>
                    </a:lnTo>
                    <a:close/>
                    <a:moveTo>
                      <a:pt x="100" y="210"/>
                    </a:moveTo>
                    <a:lnTo>
                      <a:pt x="184" y="104"/>
                    </a:lnTo>
                    <a:lnTo>
                      <a:pt x="286" y="104"/>
                    </a:lnTo>
                    <a:lnTo>
                      <a:pt x="194" y="204"/>
                    </a:lnTo>
                    <a:lnTo>
                      <a:pt x="282" y="342"/>
                    </a:lnTo>
                    <a:lnTo>
                      <a:pt x="170" y="342"/>
                    </a:lnTo>
                    <a:lnTo>
                      <a:pt x="10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12"/>
              <p:cNvSpPr>
                <a:spLocks/>
              </p:cNvSpPr>
              <p:nvPr/>
            </p:nvSpPr>
            <p:spPr bwMode="auto">
              <a:xfrm>
                <a:off x="3606800" y="517525"/>
                <a:ext cx="292100" cy="377825"/>
              </a:xfrm>
              <a:custGeom>
                <a:avLst/>
                <a:gdLst>
                  <a:gd name="T0" fmla="*/ 104 w 184"/>
                  <a:gd name="T1" fmla="*/ 34 h 238"/>
                  <a:gd name="T2" fmla="*/ 106 w 184"/>
                  <a:gd name="T3" fmla="*/ 34 h 238"/>
                  <a:gd name="T4" fmla="*/ 106 w 184"/>
                  <a:gd name="T5" fmla="*/ 34 h 238"/>
                  <a:gd name="T6" fmla="*/ 114 w 184"/>
                  <a:gd name="T7" fmla="*/ 24 h 238"/>
                  <a:gd name="T8" fmla="*/ 124 w 184"/>
                  <a:gd name="T9" fmla="*/ 16 h 238"/>
                  <a:gd name="T10" fmla="*/ 132 w 184"/>
                  <a:gd name="T11" fmla="*/ 10 h 238"/>
                  <a:gd name="T12" fmla="*/ 142 w 184"/>
                  <a:gd name="T13" fmla="*/ 6 h 238"/>
                  <a:gd name="T14" fmla="*/ 152 w 184"/>
                  <a:gd name="T15" fmla="*/ 4 h 238"/>
                  <a:gd name="T16" fmla="*/ 162 w 184"/>
                  <a:gd name="T17" fmla="*/ 2 h 238"/>
                  <a:gd name="T18" fmla="*/ 184 w 184"/>
                  <a:gd name="T19" fmla="*/ 0 h 238"/>
                  <a:gd name="T20" fmla="*/ 178 w 184"/>
                  <a:gd name="T21" fmla="*/ 76 h 238"/>
                  <a:gd name="T22" fmla="*/ 178 w 184"/>
                  <a:gd name="T23" fmla="*/ 76 h 238"/>
                  <a:gd name="T24" fmla="*/ 160 w 184"/>
                  <a:gd name="T25" fmla="*/ 76 h 238"/>
                  <a:gd name="T26" fmla="*/ 160 w 184"/>
                  <a:gd name="T27" fmla="*/ 76 h 238"/>
                  <a:gd name="T28" fmla="*/ 140 w 184"/>
                  <a:gd name="T29" fmla="*/ 78 h 238"/>
                  <a:gd name="T30" fmla="*/ 126 w 184"/>
                  <a:gd name="T31" fmla="*/ 82 h 238"/>
                  <a:gd name="T32" fmla="*/ 116 w 184"/>
                  <a:gd name="T33" fmla="*/ 88 h 238"/>
                  <a:gd name="T34" fmla="*/ 108 w 184"/>
                  <a:gd name="T35" fmla="*/ 98 h 238"/>
                  <a:gd name="T36" fmla="*/ 102 w 184"/>
                  <a:gd name="T37" fmla="*/ 108 h 238"/>
                  <a:gd name="T38" fmla="*/ 100 w 184"/>
                  <a:gd name="T39" fmla="*/ 120 h 238"/>
                  <a:gd name="T40" fmla="*/ 98 w 184"/>
                  <a:gd name="T41" fmla="*/ 148 h 238"/>
                  <a:gd name="T42" fmla="*/ 92 w 184"/>
                  <a:gd name="T43" fmla="*/ 238 h 238"/>
                  <a:gd name="T44" fmla="*/ 0 w 184"/>
                  <a:gd name="T45" fmla="*/ 238 h 238"/>
                  <a:gd name="T46" fmla="*/ 12 w 184"/>
                  <a:gd name="T47" fmla="*/ 62 h 238"/>
                  <a:gd name="T48" fmla="*/ 12 w 184"/>
                  <a:gd name="T49" fmla="*/ 62 h 238"/>
                  <a:gd name="T50" fmla="*/ 14 w 184"/>
                  <a:gd name="T51" fmla="*/ 32 h 238"/>
                  <a:gd name="T52" fmla="*/ 14 w 184"/>
                  <a:gd name="T53" fmla="*/ 0 h 238"/>
                  <a:gd name="T54" fmla="*/ 102 w 184"/>
                  <a:gd name="T55" fmla="*/ 0 h 238"/>
                  <a:gd name="T56" fmla="*/ 104 w 184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4" h="238">
                    <a:moveTo>
                      <a:pt x="104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4" y="24"/>
                    </a:lnTo>
                    <a:lnTo>
                      <a:pt x="124" y="16"/>
                    </a:lnTo>
                    <a:lnTo>
                      <a:pt x="132" y="10"/>
                    </a:lnTo>
                    <a:lnTo>
                      <a:pt x="142" y="6"/>
                    </a:lnTo>
                    <a:lnTo>
                      <a:pt x="152" y="4"/>
                    </a:lnTo>
                    <a:lnTo>
                      <a:pt x="162" y="2"/>
                    </a:lnTo>
                    <a:lnTo>
                      <a:pt x="184" y="0"/>
                    </a:lnTo>
                    <a:lnTo>
                      <a:pt x="178" y="76"/>
                    </a:lnTo>
                    <a:lnTo>
                      <a:pt x="178" y="76"/>
                    </a:lnTo>
                    <a:lnTo>
                      <a:pt x="160" y="76"/>
                    </a:lnTo>
                    <a:lnTo>
                      <a:pt x="160" y="76"/>
                    </a:lnTo>
                    <a:lnTo>
                      <a:pt x="140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2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4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13"/>
              <p:cNvSpPr>
                <a:spLocks/>
              </p:cNvSpPr>
              <p:nvPr/>
            </p:nvSpPr>
            <p:spPr bwMode="auto">
              <a:xfrm>
                <a:off x="3889375" y="352425"/>
                <a:ext cx="174625" cy="542925"/>
              </a:xfrm>
              <a:custGeom>
                <a:avLst/>
                <a:gdLst>
                  <a:gd name="T0" fmla="*/ 0 w 110"/>
                  <a:gd name="T1" fmla="*/ 342 h 342"/>
                  <a:gd name="T2" fmla="*/ 24 w 110"/>
                  <a:gd name="T3" fmla="*/ 0 h 342"/>
                  <a:gd name="T4" fmla="*/ 110 w 110"/>
                  <a:gd name="T5" fmla="*/ 0 h 342"/>
                  <a:gd name="T6" fmla="*/ 86 w 110"/>
                  <a:gd name="T7" fmla="*/ 342 h 342"/>
                  <a:gd name="T8" fmla="*/ 0 w 110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0" y="0"/>
                    </a:lnTo>
                    <a:lnTo>
                      <a:pt x="86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14"/>
              <p:cNvSpPr>
                <a:spLocks noEditPoints="1"/>
              </p:cNvSpPr>
              <p:nvPr/>
            </p:nvSpPr>
            <p:spPr bwMode="auto">
              <a:xfrm>
                <a:off x="2740025" y="352425"/>
                <a:ext cx="438150" cy="546100"/>
              </a:xfrm>
              <a:custGeom>
                <a:avLst/>
                <a:gdLst>
                  <a:gd name="T0" fmla="*/ 112 w 276"/>
                  <a:gd name="T1" fmla="*/ 0 h 344"/>
                  <a:gd name="T2" fmla="*/ 104 w 276"/>
                  <a:gd name="T3" fmla="*/ 136 h 344"/>
                  <a:gd name="T4" fmla="*/ 120 w 276"/>
                  <a:gd name="T5" fmla="*/ 122 h 344"/>
                  <a:gd name="T6" fmla="*/ 146 w 276"/>
                  <a:gd name="T7" fmla="*/ 104 h 344"/>
                  <a:gd name="T8" fmla="*/ 168 w 276"/>
                  <a:gd name="T9" fmla="*/ 98 h 344"/>
                  <a:gd name="T10" fmla="*/ 180 w 276"/>
                  <a:gd name="T11" fmla="*/ 98 h 344"/>
                  <a:gd name="T12" fmla="*/ 206 w 276"/>
                  <a:gd name="T13" fmla="*/ 100 h 344"/>
                  <a:gd name="T14" fmla="*/ 226 w 276"/>
                  <a:gd name="T15" fmla="*/ 108 h 344"/>
                  <a:gd name="T16" fmla="*/ 244 w 276"/>
                  <a:gd name="T17" fmla="*/ 120 h 344"/>
                  <a:gd name="T18" fmla="*/ 258 w 276"/>
                  <a:gd name="T19" fmla="*/ 136 h 344"/>
                  <a:gd name="T20" fmla="*/ 274 w 276"/>
                  <a:gd name="T21" fmla="*/ 176 h 344"/>
                  <a:gd name="T22" fmla="*/ 276 w 276"/>
                  <a:gd name="T23" fmla="*/ 220 h 344"/>
                  <a:gd name="T24" fmla="*/ 274 w 276"/>
                  <a:gd name="T25" fmla="*/ 242 h 344"/>
                  <a:gd name="T26" fmla="*/ 260 w 276"/>
                  <a:gd name="T27" fmla="*/ 284 h 344"/>
                  <a:gd name="T28" fmla="*/ 240 w 276"/>
                  <a:gd name="T29" fmla="*/ 312 h 344"/>
                  <a:gd name="T30" fmla="*/ 222 w 276"/>
                  <a:gd name="T31" fmla="*/ 328 h 344"/>
                  <a:gd name="T32" fmla="*/ 202 w 276"/>
                  <a:gd name="T33" fmla="*/ 338 h 344"/>
                  <a:gd name="T34" fmla="*/ 176 w 276"/>
                  <a:gd name="T35" fmla="*/ 344 h 344"/>
                  <a:gd name="T36" fmla="*/ 160 w 276"/>
                  <a:gd name="T37" fmla="*/ 344 h 344"/>
                  <a:gd name="T38" fmla="*/ 140 w 276"/>
                  <a:gd name="T39" fmla="*/ 342 h 344"/>
                  <a:gd name="T40" fmla="*/ 106 w 276"/>
                  <a:gd name="T41" fmla="*/ 324 h 344"/>
                  <a:gd name="T42" fmla="*/ 92 w 276"/>
                  <a:gd name="T43" fmla="*/ 312 h 344"/>
                  <a:gd name="T44" fmla="*/ 0 w 276"/>
                  <a:gd name="T45" fmla="*/ 342 h 344"/>
                  <a:gd name="T46" fmla="*/ 94 w 276"/>
                  <a:gd name="T47" fmla="*/ 226 h 344"/>
                  <a:gd name="T48" fmla="*/ 96 w 276"/>
                  <a:gd name="T49" fmla="*/ 250 h 344"/>
                  <a:gd name="T50" fmla="*/ 102 w 276"/>
                  <a:gd name="T51" fmla="*/ 272 h 344"/>
                  <a:gd name="T52" fmla="*/ 114 w 276"/>
                  <a:gd name="T53" fmla="*/ 288 h 344"/>
                  <a:gd name="T54" fmla="*/ 134 w 276"/>
                  <a:gd name="T55" fmla="*/ 296 h 344"/>
                  <a:gd name="T56" fmla="*/ 148 w 276"/>
                  <a:gd name="T57" fmla="*/ 294 h 344"/>
                  <a:gd name="T58" fmla="*/ 168 w 276"/>
                  <a:gd name="T59" fmla="*/ 282 h 344"/>
                  <a:gd name="T60" fmla="*/ 180 w 276"/>
                  <a:gd name="T61" fmla="*/ 260 h 344"/>
                  <a:gd name="T62" fmla="*/ 186 w 276"/>
                  <a:gd name="T63" fmla="*/ 222 h 344"/>
                  <a:gd name="T64" fmla="*/ 186 w 276"/>
                  <a:gd name="T65" fmla="*/ 198 h 344"/>
                  <a:gd name="T66" fmla="*/ 180 w 276"/>
                  <a:gd name="T67" fmla="*/ 174 h 344"/>
                  <a:gd name="T68" fmla="*/ 168 w 276"/>
                  <a:gd name="T69" fmla="*/ 156 h 344"/>
                  <a:gd name="T70" fmla="*/ 146 w 276"/>
                  <a:gd name="T71" fmla="*/ 150 h 344"/>
                  <a:gd name="T72" fmla="*/ 132 w 276"/>
                  <a:gd name="T73" fmla="*/ 152 h 344"/>
                  <a:gd name="T74" fmla="*/ 112 w 276"/>
                  <a:gd name="T75" fmla="*/ 166 h 344"/>
                  <a:gd name="T76" fmla="*/ 100 w 276"/>
                  <a:gd name="T77" fmla="*/ 188 h 344"/>
                  <a:gd name="T78" fmla="*/ 94 w 276"/>
                  <a:gd name="T79" fmla="*/ 226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6" h="344">
                    <a:moveTo>
                      <a:pt x="24" y="0"/>
                    </a:moveTo>
                    <a:lnTo>
                      <a:pt x="112" y="0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20" y="122"/>
                    </a:lnTo>
                    <a:lnTo>
                      <a:pt x="138" y="108"/>
                    </a:lnTo>
                    <a:lnTo>
                      <a:pt x="146" y="104"/>
                    </a:lnTo>
                    <a:lnTo>
                      <a:pt x="158" y="100"/>
                    </a:lnTo>
                    <a:lnTo>
                      <a:pt x="168" y="98"/>
                    </a:lnTo>
                    <a:lnTo>
                      <a:pt x="180" y="98"/>
                    </a:lnTo>
                    <a:lnTo>
                      <a:pt x="180" y="98"/>
                    </a:lnTo>
                    <a:lnTo>
                      <a:pt x="194" y="98"/>
                    </a:lnTo>
                    <a:lnTo>
                      <a:pt x="206" y="100"/>
                    </a:lnTo>
                    <a:lnTo>
                      <a:pt x="216" y="104"/>
                    </a:lnTo>
                    <a:lnTo>
                      <a:pt x="226" y="108"/>
                    </a:lnTo>
                    <a:lnTo>
                      <a:pt x="236" y="114"/>
                    </a:lnTo>
                    <a:lnTo>
                      <a:pt x="244" y="120"/>
                    </a:lnTo>
                    <a:lnTo>
                      <a:pt x="250" y="128"/>
                    </a:lnTo>
                    <a:lnTo>
                      <a:pt x="258" y="136"/>
                    </a:lnTo>
                    <a:lnTo>
                      <a:pt x="266" y="156"/>
                    </a:lnTo>
                    <a:lnTo>
                      <a:pt x="274" y="176"/>
                    </a:lnTo>
                    <a:lnTo>
                      <a:pt x="276" y="198"/>
                    </a:lnTo>
                    <a:lnTo>
                      <a:pt x="276" y="220"/>
                    </a:lnTo>
                    <a:lnTo>
                      <a:pt x="276" y="220"/>
                    </a:lnTo>
                    <a:lnTo>
                      <a:pt x="274" y="242"/>
                    </a:lnTo>
                    <a:lnTo>
                      <a:pt x="268" y="264"/>
                    </a:lnTo>
                    <a:lnTo>
                      <a:pt x="260" y="284"/>
                    </a:lnTo>
                    <a:lnTo>
                      <a:pt x="248" y="304"/>
                    </a:lnTo>
                    <a:lnTo>
                      <a:pt x="240" y="312"/>
                    </a:lnTo>
                    <a:lnTo>
                      <a:pt x="232" y="320"/>
                    </a:lnTo>
                    <a:lnTo>
                      <a:pt x="222" y="328"/>
                    </a:lnTo>
                    <a:lnTo>
                      <a:pt x="212" y="334"/>
                    </a:lnTo>
                    <a:lnTo>
                      <a:pt x="202" y="338"/>
                    </a:lnTo>
                    <a:lnTo>
                      <a:pt x="188" y="342"/>
                    </a:lnTo>
                    <a:lnTo>
                      <a:pt x="176" y="344"/>
                    </a:lnTo>
                    <a:lnTo>
                      <a:pt x="160" y="344"/>
                    </a:lnTo>
                    <a:lnTo>
                      <a:pt x="160" y="344"/>
                    </a:lnTo>
                    <a:lnTo>
                      <a:pt x="150" y="344"/>
                    </a:lnTo>
                    <a:lnTo>
                      <a:pt x="140" y="342"/>
                    </a:lnTo>
                    <a:lnTo>
                      <a:pt x="122" y="336"/>
                    </a:lnTo>
                    <a:lnTo>
                      <a:pt x="106" y="324"/>
                    </a:lnTo>
                    <a:lnTo>
                      <a:pt x="94" y="312"/>
                    </a:lnTo>
                    <a:lnTo>
                      <a:pt x="92" y="312"/>
                    </a:lnTo>
                    <a:lnTo>
                      <a:pt x="88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  <a:moveTo>
                      <a:pt x="94" y="226"/>
                    </a:moveTo>
                    <a:lnTo>
                      <a:pt x="94" y="226"/>
                    </a:lnTo>
                    <a:lnTo>
                      <a:pt x="96" y="250"/>
                    </a:lnTo>
                    <a:lnTo>
                      <a:pt x="98" y="260"/>
                    </a:lnTo>
                    <a:lnTo>
                      <a:pt x="102" y="272"/>
                    </a:lnTo>
                    <a:lnTo>
                      <a:pt x="106" y="282"/>
                    </a:lnTo>
                    <a:lnTo>
                      <a:pt x="114" y="288"/>
                    </a:lnTo>
                    <a:lnTo>
                      <a:pt x="122" y="294"/>
                    </a:lnTo>
                    <a:lnTo>
                      <a:pt x="134" y="296"/>
                    </a:lnTo>
                    <a:lnTo>
                      <a:pt x="134" y="296"/>
                    </a:lnTo>
                    <a:lnTo>
                      <a:pt x="148" y="294"/>
                    </a:lnTo>
                    <a:lnTo>
                      <a:pt x="158" y="288"/>
                    </a:lnTo>
                    <a:lnTo>
                      <a:pt x="168" y="282"/>
                    </a:lnTo>
                    <a:lnTo>
                      <a:pt x="174" y="272"/>
                    </a:lnTo>
                    <a:lnTo>
                      <a:pt x="180" y="260"/>
                    </a:lnTo>
                    <a:lnTo>
                      <a:pt x="184" y="248"/>
                    </a:lnTo>
                    <a:lnTo>
                      <a:pt x="186" y="222"/>
                    </a:lnTo>
                    <a:lnTo>
                      <a:pt x="186" y="222"/>
                    </a:lnTo>
                    <a:lnTo>
                      <a:pt x="186" y="198"/>
                    </a:lnTo>
                    <a:lnTo>
                      <a:pt x="184" y="186"/>
                    </a:lnTo>
                    <a:lnTo>
                      <a:pt x="180" y="174"/>
                    </a:lnTo>
                    <a:lnTo>
                      <a:pt x="176" y="164"/>
                    </a:lnTo>
                    <a:lnTo>
                      <a:pt x="168" y="156"/>
                    </a:lnTo>
                    <a:lnTo>
                      <a:pt x="158" y="152"/>
                    </a:lnTo>
                    <a:lnTo>
                      <a:pt x="146" y="150"/>
                    </a:lnTo>
                    <a:lnTo>
                      <a:pt x="146" y="150"/>
                    </a:lnTo>
                    <a:lnTo>
                      <a:pt x="132" y="152"/>
                    </a:lnTo>
                    <a:lnTo>
                      <a:pt x="120" y="156"/>
                    </a:lnTo>
                    <a:lnTo>
                      <a:pt x="112" y="166"/>
                    </a:lnTo>
                    <a:lnTo>
                      <a:pt x="104" y="176"/>
                    </a:lnTo>
                    <a:lnTo>
                      <a:pt x="100" y="188"/>
                    </a:lnTo>
                    <a:lnTo>
                      <a:pt x="98" y="200"/>
                    </a:lnTo>
                    <a:lnTo>
                      <a:pt x="94" y="226"/>
                    </a:lnTo>
                    <a:lnTo>
                      <a:pt x="94" y="2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15"/>
              <p:cNvSpPr>
                <a:spLocks noEditPoints="1"/>
              </p:cNvSpPr>
              <p:nvPr/>
            </p:nvSpPr>
            <p:spPr bwMode="auto">
              <a:xfrm>
                <a:off x="3197225" y="504825"/>
                <a:ext cx="406400" cy="396875"/>
              </a:xfrm>
              <a:custGeom>
                <a:avLst/>
                <a:gdLst>
                  <a:gd name="T0" fmla="*/ 86 w 256"/>
                  <a:gd name="T1" fmla="*/ 142 h 250"/>
                  <a:gd name="T2" fmla="*/ 86 w 256"/>
                  <a:gd name="T3" fmla="*/ 166 h 250"/>
                  <a:gd name="T4" fmla="*/ 90 w 256"/>
                  <a:gd name="T5" fmla="*/ 184 h 250"/>
                  <a:gd name="T6" fmla="*/ 102 w 256"/>
                  <a:gd name="T7" fmla="*/ 196 h 250"/>
                  <a:gd name="T8" fmla="*/ 124 w 256"/>
                  <a:gd name="T9" fmla="*/ 202 h 250"/>
                  <a:gd name="T10" fmla="*/ 132 w 256"/>
                  <a:gd name="T11" fmla="*/ 200 h 250"/>
                  <a:gd name="T12" fmla="*/ 148 w 256"/>
                  <a:gd name="T13" fmla="*/ 196 h 250"/>
                  <a:gd name="T14" fmla="*/ 158 w 256"/>
                  <a:gd name="T15" fmla="*/ 186 h 250"/>
                  <a:gd name="T16" fmla="*/ 164 w 256"/>
                  <a:gd name="T17" fmla="*/ 174 h 250"/>
                  <a:gd name="T18" fmla="*/ 248 w 256"/>
                  <a:gd name="T19" fmla="*/ 170 h 250"/>
                  <a:gd name="T20" fmla="*/ 246 w 256"/>
                  <a:gd name="T21" fmla="*/ 180 h 250"/>
                  <a:gd name="T22" fmla="*/ 238 w 256"/>
                  <a:gd name="T23" fmla="*/ 198 h 250"/>
                  <a:gd name="T24" fmla="*/ 218 w 256"/>
                  <a:gd name="T25" fmla="*/ 222 h 250"/>
                  <a:gd name="T26" fmla="*/ 202 w 256"/>
                  <a:gd name="T27" fmla="*/ 234 h 250"/>
                  <a:gd name="T28" fmla="*/ 168 w 256"/>
                  <a:gd name="T29" fmla="*/ 246 h 250"/>
                  <a:gd name="T30" fmla="*/ 128 w 256"/>
                  <a:gd name="T31" fmla="*/ 250 h 250"/>
                  <a:gd name="T32" fmla="*/ 96 w 256"/>
                  <a:gd name="T33" fmla="*/ 248 h 250"/>
                  <a:gd name="T34" fmla="*/ 66 w 256"/>
                  <a:gd name="T35" fmla="*/ 242 h 250"/>
                  <a:gd name="T36" fmla="*/ 44 w 256"/>
                  <a:gd name="T37" fmla="*/ 232 h 250"/>
                  <a:gd name="T38" fmla="*/ 26 w 256"/>
                  <a:gd name="T39" fmla="*/ 218 h 250"/>
                  <a:gd name="T40" fmla="*/ 12 w 256"/>
                  <a:gd name="T41" fmla="*/ 200 h 250"/>
                  <a:gd name="T42" fmla="*/ 4 w 256"/>
                  <a:gd name="T43" fmla="*/ 178 h 250"/>
                  <a:gd name="T44" fmla="*/ 0 w 256"/>
                  <a:gd name="T45" fmla="*/ 150 h 250"/>
                  <a:gd name="T46" fmla="*/ 0 w 256"/>
                  <a:gd name="T47" fmla="*/ 118 h 250"/>
                  <a:gd name="T48" fmla="*/ 4 w 256"/>
                  <a:gd name="T49" fmla="*/ 92 h 250"/>
                  <a:gd name="T50" fmla="*/ 14 w 256"/>
                  <a:gd name="T51" fmla="*/ 68 h 250"/>
                  <a:gd name="T52" fmla="*/ 26 w 256"/>
                  <a:gd name="T53" fmla="*/ 48 h 250"/>
                  <a:gd name="T54" fmla="*/ 44 w 256"/>
                  <a:gd name="T55" fmla="*/ 32 h 250"/>
                  <a:gd name="T56" fmla="*/ 86 w 256"/>
                  <a:gd name="T57" fmla="*/ 8 h 250"/>
                  <a:gd name="T58" fmla="*/ 138 w 256"/>
                  <a:gd name="T59" fmla="*/ 0 h 250"/>
                  <a:gd name="T60" fmla="*/ 154 w 256"/>
                  <a:gd name="T61" fmla="*/ 2 h 250"/>
                  <a:gd name="T62" fmla="*/ 184 w 256"/>
                  <a:gd name="T63" fmla="*/ 6 h 250"/>
                  <a:gd name="T64" fmla="*/ 208 w 256"/>
                  <a:gd name="T65" fmla="*/ 18 h 250"/>
                  <a:gd name="T66" fmla="*/ 228 w 256"/>
                  <a:gd name="T67" fmla="*/ 32 h 250"/>
                  <a:gd name="T68" fmla="*/ 242 w 256"/>
                  <a:gd name="T69" fmla="*/ 50 h 250"/>
                  <a:gd name="T70" fmla="*/ 250 w 256"/>
                  <a:gd name="T71" fmla="*/ 72 h 250"/>
                  <a:gd name="T72" fmla="*/ 256 w 256"/>
                  <a:gd name="T73" fmla="*/ 112 h 250"/>
                  <a:gd name="T74" fmla="*/ 86 w 256"/>
                  <a:gd name="T75" fmla="*/ 142 h 250"/>
                  <a:gd name="T76" fmla="*/ 172 w 256"/>
                  <a:gd name="T77" fmla="*/ 98 h 250"/>
                  <a:gd name="T78" fmla="*/ 170 w 256"/>
                  <a:gd name="T79" fmla="*/ 78 h 250"/>
                  <a:gd name="T80" fmla="*/ 164 w 256"/>
                  <a:gd name="T81" fmla="*/ 62 h 250"/>
                  <a:gd name="T82" fmla="*/ 158 w 256"/>
                  <a:gd name="T83" fmla="*/ 56 h 250"/>
                  <a:gd name="T84" fmla="*/ 142 w 256"/>
                  <a:gd name="T85" fmla="*/ 48 h 250"/>
                  <a:gd name="T86" fmla="*/ 134 w 256"/>
                  <a:gd name="T87" fmla="*/ 46 h 250"/>
                  <a:gd name="T88" fmla="*/ 114 w 256"/>
                  <a:gd name="T89" fmla="*/ 52 h 250"/>
                  <a:gd name="T90" fmla="*/ 102 w 256"/>
                  <a:gd name="T91" fmla="*/ 62 h 250"/>
                  <a:gd name="T92" fmla="*/ 94 w 256"/>
                  <a:gd name="T93" fmla="*/ 78 h 250"/>
                  <a:gd name="T94" fmla="*/ 172 w 256"/>
                  <a:gd name="T95" fmla="*/ 98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6" h="250">
                    <a:moveTo>
                      <a:pt x="86" y="142"/>
                    </a:moveTo>
                    <a:lnTo>
                      <a:pt x="86" y="142"/>
                    </a:lnTo>
                    <a:lnTo>
                      <a:pt x="84" y="154"/>
                    </a:lnTo>
                    <a:lnTo>
                      <a:pt x="86" y="166"/>
                    </a:lnTo>
                    <a:lnTo>
                      <a:pt x="88" y="176"/>
                    </a:lnTo>
                    <a:lnTo>
                      <a:pt x="90" y="184"/>
                    </a:lnTo>
                    <a:lnTo>
                      <a:pt x="96" y="192"/>
                    </a:lnTo>
                    <a:lnTo>
                      <a:pt x="102" y="196"/>
                    </a:lnTo>
                    <a:lnTo>
                      <a:pt x="112" y="200"/>
                    </a:lnTo>
                    <a:lnTo>
                      <a:pt x="124" y="202"/>
                    </a:lnTo>
                    <a:lnTo>
                      <a:pt x="124" y="202"/>
                    </a:lnTo>
                    <a:lnTo>
                      <a:pt x="132" y="200"/>
                    </a:lnTo>
                    <a:lnTo>
                      <a:pt x="140" y="198"/>
                    </a:lnTo>
                    <a:lnTo>
                      <a:pt x="148" y="196"/>
                    </a:lnTo>
                    <a:lnTo>
                      <a:pt x="154" y="192"/>
                    </a:lnTo>
                    <a:lnTo>
                      <a:pt x="158" y="186"/>
                    </a:lnTo>
                    <a:lnTo>
                      <a:pt x="162" y="180"/>
                    </a:lnTo>
                    <a:lnTo>
                      <a:pt x="164" y="174"/>
                    </a:lnTo>
                    <a:lnTo>
                      <a:pt x="164" y="170"/>
                    </a:lnTo>
                    <a:lnTo>
                      <a:pt x="248" y="170"/>
                    </a:lnTo>
                    <a:lnTo>
                      <a:pt x="248" y="170"/>
                    </a:lnTo>
                    <a:lnTo>
                      <a:pt x="246" y="180"/>
                    </a:lnTo>
                    <a:lnTo>
                      <a:pt x="242" y="190"/>
                    </a:lnTo>
                    <a:lnTo>
                      <a:pt x="238" y="198"/>
                    </a:lnTo>
                    <a:lnTo>
                      <a:pt x="232" y="208"/>
                    </a:lnTo>
                    <a:lnTo>
                      <a:pt x="218" y="222"/>
                    </a:lnTo>
                    <a:lnTo>
                      <a:pt x="202" y="234"/>
                    </a:lnTo>
                    <a:lnTo>
                      <a:pt x="202" y="234"/>
                    </a:lnTo>
                    <a:lnTo>
                      <a:pt x="186" y="242"/>
                    </a:lnTo>
                    <a:lnTo>
                      <a:pt x="168" y="246"/>
                    </a:lnTo>
                    <a:lnTo>
                      <a:pt x="148" y="248"/>
                    </a:lnTo>
                    <a:lnTo>
                      <a:pt x="128" y="250"/>
                    </a:lnTo>
                    <a:lnTo>
                      <a:pt x="128" y="250"/>
                    </a:lnTo>
                    <a:lnTo>
                      <a:pt x="96" y="248"/>
                    </a:lnTo>
                    <a:lnTo>
                      <a:pt x="80" y="244"/>
                    </a:lnTo>
                    <a:lnTo>
                      <a:pt x="66" y="242"/>
                    </a:lnTo>
                    <a:lnTo>
                      <a:pt x="54" y="238"/>
                    </a:lnTo>
                    <a:lnTo>
                      <a:pt x="44" y="232"/>
                    </a:lnTo>
                    <a:lnTo>
                      <a:pt x="34" y="226"/>
                    </a:lnTo>
                    <a:lnTo>
                      <a:pt x="26" y="218"/>
                    </a:lnTo>
                    <a:lnTo>
                      <a:pt x="18" y="210"/>
                    </a:lnTo>
                    <a:lnTo>
                      <a:pt x="12" y="200"/>
                    </a:lnTo>
                    <a:lnTo>
                      <a:pt x="8" y="190"/>
                    </a:lnTo>
                    <a:lnTo>
                      <a:pt x="4" y="178"/>
                    </a:lnTo>
                    <a:lnTo>
                      <a:pt x="2" y="164"/>
                    </a:lnTo>
                    <a:lnTo>
                      <a:pt x="0" y="150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2" y="106"/>
                    </a:lnTo>
                    <a:lnTo>
                      <a:pt x="4" y="92"/>
                    </a:lnTo>
                    <a:lnTo>
                      <a:pt x="8" y="80"/>
                    </a:lnTo>
                    <a:lnTo>
                      <a:pt x="14" y="68"/>
                    </a:lnTo>
                    <a:lnTo>
                      <a:pt x="20" y="58"/>
                    </a:lnTo>
                    <a:lnTo>
                      <a:pt x="26" y="48"/>
                    </a:lnTo>
                    <a:lnTo>
                      <a:pt x="34" y="40"/>
                    </a:lnTo>
                    <a:lnTo>
                      <a:pt x="44" y="32"/>
                    </a:lnTo>
                    <a:lnTo>
                      <a:pt x="64" y="18"/>
                    </a:lnTo>
                    <a:lnTo>
                      <a:pt x="86" y="8"/>
                    </a:lnTo>
                    <a:lnTo>
                      <a:pt x="110" y="2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4" y="2"/>
                    </a:lnTo>
                    <a:lnTo>
                      <a:pt x="170" y="4"/>
                    </a:lnTo>
                    <a:lnTo>
                      <a:pt x="184" y="6"/>
                    </a:lnTo>
                    <a:lnTo>
                      <a:pt x="196" y="12"/>
                    </a:lnTo>
                    <a:lnTo>
                      <a:pt x="208" y="18"/>
                    </a:lnTo>
                    <a:lnTo>
                      <a:pt x="218" y="24"/>
                    </a:lnTo>
                    <a:lnTo>
                      <a:pt x="228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46" y="60"/>
                    </a:lnTo>
                    <a:lnTo>
                      <a:pt x="250" y="72"/>
                    </a:lnTo>
                    <a:lnTo>
                      <a:pt x="254" y="84"/>
                    </a:lnTo>
                    <a:lnTo>
                      <a:pt x="256" y="112"/>
                    </a:lnTo>
                    <a:lnTo>
                      <a:pt x="254" y="142"/>
                    </a:lnTo>
                    <a:lnTo>
                      <a:pt x="86" y="142"/>
                    </a:lnTo>
                    <a:close/>
                    <a:moveTo>
                      <a:pt x="172" y="98"/>
                    </a:moveTo>
                    <a:lnTo>
                      <a:pt x="172" y="98"/>
                    </a:lnTo>
                    <a:lnTo>
                      <a:pt x="172" y="88"/>
                    </a:lnTo>
                    <a:lnTo>
                      <a:pt x="170" y="78"/>
                    </a:lnTo>
                    <a:lnTo>
                      <a:pt x="168" y="70"/>
                    </a:lnTo>
                    <a:lnTo>
                      <a:pt x="164" y="62"/>
                    </a:lnTo>
                    <a:lnTo>
                      <a:pt x="164" y="62"/>
                    </a:lnTo>
                    <a:lnTo>
                      <a:pt x="158" y="56"/>
                    </a:lnTo>
                    <a:lnTo>
                      <a:pt x="150" y="50"/>
                    </a:lnTo>
                    <a:lnTo>
                      <a:pt x="142" y="48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22" y="48"/>
                    </a:lnTo>
                    <a:lnTo>
                      <a:pt x="114" y="52"/>
                    </a:lnTo>
                    <a:lnTo>
                      <a:pt x="106" y="56"/>
                    </a:lnTo>
                    <a:lnTo>
                      <a:pt x="102" y="62"/>
                    </a:lnTo>
                    <a:lnTo>
                      <a:pt x="96" y="70"/>
                    </a:lnTo>
                    <a:lnTo>
                      <a:pt x="94" y="78"/>
                    </a:lnTo>
                    <a:lnTo>
                      <a:pt x="90" y="98"/>
                    </a:lnTo>
                    <a:lnTo>
                      <a:pt x="172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16"/>
              <p:cNvSpPr>
                <a:spLocks/>
              </p:cNvSpPr>
              <p:nvPr/>
            </p:nvSpPr>
            <p:spPr bwMode="auto">
              <a:xfrm>
                <a:off x="1314450" y="352425"/>
                <a:ext cx="196850" cy="542925"/>
              </a:xfrm>
              <a:custGeom>
                <a:avLst/>
                <a:gdLst>
                  <a:gd name="T0" fmla="*/ 24 w 124"/>
                  <a:gd name="T1" fmla="*/ 0 h 342"/>
                  <a:gd name="T2" fmla="*/ 124 w 124"/>
                  <a:gd name="T3" fmla="*/ 0 h 342"/>
                  <a:gd name="T4" fmla="*/ 100 w 124"/>
                  <a:gd name="T5" fmla="*/ 342 h 342"/>
                  <a:gd name="T6" fmla="*/ 0 w 124"/>
                  <a:gd name="T7" fmla="*/ 342 h 342"/>
                  <a:gd name="T8" fmla="*/ 24 w 124"/>
                  <a:gd name="T9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342">
                    <a:moveTo>
                      <a:pt x="24" y="0"/>
                    </a:moveTo>
                    <a:lnTo>
                      <a:pt x="124" y="0"/>
                    </a:lnTo>
                    <a:lnTo>
                      <a:pt x="100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17"/>
              <p:cNvSpPr>
                <a:spLocks/>
              </p:cNvSpPr>
              <p:nvPr/>
            </p:nvSpPr>
            <p:spPr bwMode="auto">
              <a:xfrm>
                <a:off x="1498600" y="352425"/>
                <a:ext cx="368300" cy="542925"/>
              </a:xfrm>
              <a:custGeom>
                <a:avLst/>
                <a:gdLst>
                  <a:gd name="T0" fmla="*/ 120 w 232"/>
                  <a:gd name="T1" fmla="*/ 0 h 342"/>
                  <a:gd name="T2" fmla="*/ 0 w 232"/>
                  <a:gd name="T3" fmla="*/ 152 h 342"/>
                  <a:gd name="T4" fmla="*/ 106 w 232"/>
                  <a:gd name="T5" fmla="*/ 342 h 342"/>
                  <a:gd name="T6" fmla="*/ 226 w 232"/>
                  <a:gd name="T7" fmla="*/ 342 h 342"/>
                  <a:gd name="T8" fmla="*/ 106 w 232"/>
                  <a:gd name="T9" fmla="*/ 148 h 342"/>
                  <a:gd name="T10" fmla="*/ 232 w 232"/>
                  <a:gd name="T11" fmla="*/ 0 h 342"/>
                  <a:gd name="T12" fmla="*/ 120 w 232"/>
                  <a:gd name="T13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2" h="342">
                    <a:moveTo>
                      <a:pt x="120" y="0"/>
                    </a:moveTo>
                    <a:lnTo>
                      <a:pt x="0" y="152"/>
                    </a:lnTo>
                    <a:lnTo>
                      <a:pt x="106" y="342"/>
                    </a:lnTo>
                    <a:lnTo>
                      <a:pt x="226" y="342"/>
                    </a:lnTo>
                    <a:lnTo>
                      <a:pt x="106" y="148"/>
                    </a:lnTo>
                    <a:lnTo>
                      <a:pt x="232" y="0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18"/>
              <p:cNvSpPr>
                <a:spLocks/>
              </p:cNvSpPr>
              <p:nvPr/>
            </p:nvSpPr>
            <p:spPr bwMode="auto">
              <a:xfrm>
                <a:off x="1876425" y="517525"/>
                <a:ext cx="158750" cy="377825"/>
              </a:xfrm>
              <a:custGeom>
                <a:avLst/>
                <a:gdLst>
                  <a:gd name="T0" fmla="*/ 16 w 100"/>
                  <a:gd name="T1" fmla="*/ 0 h 238"/>
                  <a:gd name="T2" fmla="*/ 100 w 100"/>
                  <a:gd name="T3" fmla="*/ 0 h 238"/>
                  <a:gd name="T4" fmla="*/ 84 w 100"/>
                  <a:gd name="T5" fmla="*/ 238 h 238"/>
                  <a:gd name="T6" fmla="*/ 0 w 100"/>
                  <a:gd name="T7" fmla="*/ 238 h 238"/>
                  <a:gd name="T8" fmla="*/ 16 w 100"/>
                  <a:gd name="T9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238">
                    <a:moveTo>
                      <a:pt x="16" y="0"/>
                    </a:moveTo>
                    <a:lnTo>
                      <a:pt x="100" y="0"/>
                    </a:lnTo>
                    <a:lnTo>
                      <a:pt x="84" y="238"/>
                    </a:lnTo>
                    <a:lnTo>
                      <a:pt x="0" y="238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19"/>
              <p:cNvSpPr>
                <a:spLocks/>
              </p:cNvSpPr>
              <p:nvPr/>
            </p:nvSpPr>
            <p:spPr bwMode="auto">
              <a:xfrm>
                <a:off x="2038350" y="504825"/>
                <a:ext cx="692150" cy="390525"/>
              </a:xfrm>
              <a:custGeom>
                <a:avLst/>
                <a:gdLst>
                  <a:gd name="T0" fmla="*/ 106 w 436"/>
                  <a:gd name="T1" fmla="*/ 40 h 246"/>
                  <a:gd name="T2" fmla="*/ 106 w 436"/>
                  <a:gd name="T3" fmla="*/ 40 h 246"/>
                  <a:gd name="T4" fmla="*/ 128 w 436"/>
                  <a:gd name="T5" fmla="*/ 20 h 246"/>
                  <a:gd name="T6" fmla="*/ 150 w 436"/>
                  <a:gd name="T7" fmla="*/ 8 h 246"/>
                  <a:gd name="T8" fmla="*/ 172 w 436"/>
                  <a:gd name="T9" fmla="*/ 2 h 246"/>
                  <a:gd name="T10" fmla="*/ 192 w 436"/>
                  <a:gd name="T11" fmla="*/ 2 h 246"/>
                  <a:gd name="T12" fmla="*/ 216 w 436"/>
                  <a:gd name="T13" fmla="*/ 6 h 246"/>
                  <a:gd name="T14" fmla="*/ 238 w 436"/>
                  <a:gd name="T15" fmla="*/ 14 h 246"/>
                  <a:gd name="T16" fmla="*/ 254 w 436"/>
                  <a:gd name="T17" fmla="*/ 28 h 246"/>
                  <a:gd name="T18" fmla="*/ 264 w 436"/>
                  <a:gd name="T19" fmla="*/ 44 h 246"/>
                  <a:gd name="T20" fmla="*/ 272 w 436"/>
                  <a:gd name="T21" fmla="*/ 34 h 246"/>
                  <a:gd name="T22" fmla="*/ 290 w 436"/>
                  <a:gd name="T23" fmla="*/ 18 h 246"/>
                  <a:gd name="T24" fmla="*/ 312 w 436"/>
                  <a:gd name="T25" fmla="*/ 8 h 246"/>
                  <a:gd name="T26" fmla="*/ 338 w 436"/>
                  <a:gd name="T27" fmla="*/ 2 h 246"/>
                  <a:gd name="T28" fmla="*/ 352 w 436"/>
                  <a:gd name="T29" fmla="*/ 0 h 246"/>
                  <a:gd name="T30" fmla="*/ 386 w 436"/>
                  <a:gd name="T31" fmla="*/ 6 h 246"/>
                  <a:gd name="T32" fmla="*/ 414 w 436"/>
                  <a:gd name="T33" fmla="*/ 24 h 246"/>
                  <a:gd name="T34" fmla="*/ 432 w 436"/>
                  <a:gd name="T35" fmla="*/ 50 h 246"/>
                  <a:gd name="T36" fmla="*/ 436 w 436"/>
                  <a:gd name="T37" fmla="*/ 86 h 246"/>
                  <a:gd name="T38" fmla="*/ 332 w 436"/>
                  <a:gd name="T39" fmla="*/ 246 h 246"/>
                  <a:gd name="T40" fmla="*/ 342 w 436"/>
                  <a:gd name="T41" fmla="*/ 106 h 246"/>
                  <a:gd name="T42" fmla="*/ 342 w 436"/>
                  <a:gd name="T43" fmla="*/ 80 h 246"/>
                  <a:gd name="T44" fmla="*/ 336 w 436"/>
                  <a:gd name="T45" fmla="*/ 66 h 246"/>
                  <a:gd name="T46" fmla="*/ 322 w 436"/>
                  <a:gd name="T47" fmla="*/ 58 h 246"/>
                  <a:gd name="T48" fmla="*/ 312 w 436"/>
                  <a:gd name="T49" fmla="*/ 58 h 246"/>
                  <a:gd name="T50" fmla="*/ 288 w 436"/>
                  <a:gd name="T51" fmla="*/ 66 h 246"/>
                  <a:gd name="T52" fmla="*/ 276 w 436"/>
                  <a:gd name="T53" fmla="*/ 82 h 246"/>
                  <a:gd name="T54" fmla="*/ 270 w 436"/>
                  <a:gd name="T55" fmla="*/ 100 h 246"/>
                  <a:gd name="T56" fmla="*/ 260 w 436"/>
                  <a:gd name="T57" fmla="*/ 246 h 246"/>
                  <a:gd name="T58" fmla="*/ 180 w 436"/>
                  <a:gd name="T59" fmla="*/ 106 h 246"/>
                  <a:gd name="T60" fmla="*/ 178 w 436"/>
                  <a:gd name="T61" fmla="*/ 88 h 246"/>
                  <a:gd name="T62" fmla="*/ 174 w 436"/>
                  <a:gd name="T63" fmla="*/ 72 h 246"/>
                  <a:gd name="T64" fmla="*/ 164 w 436"/>
                  <a:gd name="T65" fmla="*/ 62 h 246"/>
                  <a:gd name="T66" fmla="*/ 148 w 436"/>
                  <a:gd name="T67" fmla="*/ 58 h 246"/>
                  <a:gd name="T68" fmla="*/ 132 w 436"/>
                  <a:gd name="T69" fmla="*/ 60 h 246"/>
                  <a:gd name="T70" fmla="*/ 114 w 436"/>
                  <a:gd name="T71" fmla="*/ 72 h 246"/>
                  <a:gd name="T72" fmla="*/ 104 w 436"/>
                  <a:gd name="T73" fmla="*/ 92 h 246"/>
                  <a:gd name="T74" fmla="*/ 102 w 436"/>
                  <a:gd name="T75" fmla="*/ 110 h 246"/>
                  <a:gd name="T76" fmla="*/ 0 w 436"/>
                  <a:gd name="T77" fmla="*/ 246 h 246"/>
                  <a:gd name="T78" fmla="*/ 106 w 436"/>
                  <a:gd name="T79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36" h="246">
                    <a:moveTo>
                      <a:pt x="106" y="8"/>
                    </a:moveTo>
                    <a:lnTo>
                      <a:pt x="106" y="40"/>
                    </a:lnTo>
                    <a:lnTo>
                      <a:pt x="106" y="40"/>
                    </a:lnTo>
                    <a:lnTo>
                      <a:pt x="106" y="40"/>
                    </a:lnTo>
                    <a:lnTo>
                      <a:pt x="118" y="28"/>
                    </a:lnTo>
                    <a:lnTo>
                      <a:pt x="128" y="20"/>
                    </a:lnTo>
                    <a:lnTo>
                      <a:pt x="140" y="12"/>
                    </a:lnTo>
                    <a:lnTo>
                      <a:pt x="150" y="8"/>
                    </a:lnTo>
                    <a:lnTo>
                      <a:pt x="162" y="4"/>
                    </a:lnTo>
                    <a:lnTo>
                      <a:pt x="172" y="2"/>
                    </a:lnTo>
                    <a:lnTo>
                      <a:pt x="192" y="2"/>
                    </a:lnTo>
                    <a:lnTo>
                      <a:pt x="192" y="2"/>
                    </a:lnTo>
                    <a:lnTo>
                      <a:pt x="204" y="2"/>
                    </a:lnTo>
                    <a:lnTo>
                      <a:pt x="216" y="6"/>
                    </a:lnTo>
                    <a:lnTo>
                      <a:pt x="228" y="8"/>
                    </a:lnTo>
                    <a:lnTo>
                      <a:pt x="238" y="14"/>
                    </a:lnTo>
                    <a:lnTo>
                      <a:pt x="246" y="20"/>
                    </a:lnTo>
                    <a:lnTo>
                      <a:pt x="254" y="28"/>
                    </a:lnTo>
                    <a:lnTo>
                      <a:pt x="260" y="36"/>
                    </a:lnTo>
                    <a:lnTo>
                      <a:pt x="264" y="44"/>
                    </a:lnTo>
                    <a:lnTo>
                      <a:pt x="264" y="44"/>
                    </a:lnTo>
                    <a:lnTo>
                      <a:pt x="272" y="34"/>
                    </a:lnTo>
                    <a:lnTo>
                      <a:pt x="280" y="26"/>
                    </a:lnTo>
                    <a:lnTo>
                      <a:pt x="290" y="18"/>
                    </a:lnTo>
                    <a:lnTo>
                      <a:pt x="302" y="12"/>
                    </a:lnTo>
                    <a:lnTo>
                      <a:pt x="312" y="8"/>
                    </a:lnTo>
                    <a:lnTo>
                      <a:pt x="326" y="4"/>
                    </a:lnTo>
                    <a:lnTo>
                      <a:pt x="338" y="2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70" y="2"/>
                    </a:lnTo>
                    <a:lnTo>
                      <a:pt x="386" y="6"/>
                    </a:lnTo>
                    <a:lnTo>
                      <a:pt x="402" y="14"/>
                    </a:lnTo>
                    <a:lnTo>
                      <a:pt x="414" y="24"/>
                    </a:lnTo>
                    <a:lnTo>
                      <a:pt x="424" y="36"/>
                    </a:lnTo>
                    <a:lnTo>
                      <a:pt x="432" y="50"/>
                    </a:lnTo>
                    <a:lnTo>
                      <a:pt x="436" y="68"/>
                    </a:lnTo>
                    <a:lnTo>
                      <a:pt x="436" y="86"/>
                    </a:lnTo>
                    <a:lnTo>
                      <a:pt x="424" y="246"/>
                    </a:lnTo>
                    <a:lnTo>
                      <a:pt x="332" y="246"/>
                    </a:lnTo>
                    <a:lnTo>
                      <a:pt x="342" y="106"/>
                    </a:lnTo>
                    <a:lnTo>
                      <a:pt x="342" y="106"/>
                    </a:lnTo>
                    <a:lnTo>
                      <a:pt x="342" y="88"/>
                    </a:lnTo>
                    <a:lnTo>
                      <a:pt x="342" y="80"/>
                    </a:lnTo>
                    <a:lnTo>
                      <a:pt x="340" y="74"/>
                    </a:lnTo>
                    <a:lnTo>
                      <a:pt x="336" y="66"/>
                    </a:lnTo>
                    <a:lnTo>
                      <a:pt x="330" y="62"/>
                    </a:lnTo>
                    <a:lnTo>
                      <a:pt x="322" y="58"/>
                    </a:lnTo>
                    <a:lnTo>
                      <a:pt x="312" y="58"/>
                    </a:lnTo>
                    <a:lnTo>
                      <a:pt x="312" y="58"/>
                    </a:lnTo>
                    <a:lnTo>
                      <a:pt x="298" y="60"/>
                    </a:lnTo>
                    <a:lnTo>
                      <a:pt x="288" y="66"/>
                    </a:lnTo>
                    <a:lnTo>
                      <a:pt x="280" y="72"/>
                    </a:lnTo>
                    <a:lnTo>
                      <a:pt x="276" y="82"/>
                    </a:lnTo>
                    <a:lnTo>
                      <a:pt x="272" y="92"/>
                    </a:lnTo>
                    <a:lnTo>
                      <a:pt x="270" y="100"/>
                    </a:lnTo>
                    <a:lnTo>
                      <a:pt x="270" y="110"/>
                    </a:lnTo>
                    <a:lnTo>
                      <a:pt x="260" y="246"/>
                    </a:lnTo>
                    <a:lnTo>
                      <a:pt x="170" y="246"/>
                    </a:lnTo>
                    <a:lnTo>
                      <a:pt x="180" y="106"/>
                    </a:lnTo>
                    <a:lnTo>
                      <a:pt x="180" y="106"/>
                    </a:lnTo>
                    <a:lnTo>
                      <a:pt x="178" y="88"/>
                    </a:lnTo>
                    <a:lnTo>
                      <a:pt x="178" y="80"/>
                    </a:lnTo>
                    <a:lnTo>
                      <a:pt x="174" y="72"/>
                    </a:lnTo>
                    <a:lnTo>
                      <a:pt x="170" y="66"/>
                    </a:lnTo>
                    <a:lnTo>
                      <a:pt x="164" y="62"/>
                    </a:lnTo>
                    <a:lnTo>
                      <a:pt x="15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32" y="60"/>
                    </a:lnTo>
                    <a:lnTo>
                      <a:pt x="122" y="66"/>
                    </a:lnTo>
                    <a:lnTo>
                      <a:pt x="114" y="72"/>
                    </a:lnTo>
                    <a:lnTo>
                      <a:pt x="108" y="82"/>
                    </a:lnTo>
                    <a:lnTo>
                      <a:pt x="104" y="92"/>
                    </a:lnTo>
                    <a:lnTo>
                      <a:pt x="104" y="100"/>
                    </a:lnTo>
                    <a:lnTo>
                      <a:pt x="102" y="110"/>
                    </a:lnTo>
                    <a:lnTo>
                      <a:pt x="94" y="246"/>
                    </a:lnTo>
                    <a:lnTo>
                      <a:pt x="0" y="246"/>
                    </a:lnTo>
                    <a:lnTo>
                      <a:pt x="16" y="8"/>
                    </a:lnTo>
                    <a:lnTo>
                      <a:pt x="106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20"/>
              <p:cNvSpPr>
                <a:spLocks/>
              </p:cNvSpPr>
              <p:nvPr/>
            </p:nvSpPr>
            <p:spPr bwMode="auto">
              <a:xfrm>
                <a:off x="4064000" y="517525"/>
                <a:ext cx="454025" cy="558800"/>
              </a:xfrm>
              <a:custGeom>
                <a:avLst/>
                <a:gdLst>
                  <a:gd name="T0" fmla="*/ 116 w 286"/>
                  <a:gd name="T1" fmla="*/ 352 h 352"/>
                  <a:gd name="T2" fmla="*/ 34 w 286"/>
                  <a:gd name="T3" fmla="*/ 352 h 352"/>
                  <a:gd name="T4" fmla="*/ 86 w 286"/>
                  <a:gd name="T5" fmla="*/ 242 h 352"/>
                  <a:gd name="T6" fmla="*/ 0 w 286"/>
                  <a:gd name="T7" fmla="*/ 0 h 352"/>
                  <a:gd name="T8" fmla="*/ 100 w 286"/>
                  <a:gd name="T9" fmla="*/ 0 h 352"/>
                  <a:gd name="T10" fmla="*/ 140 w 286"/>
                  <a:gd name="T11" fmla="*/ 148 h 352"/>
                  <a:gd name="T12" fmla="*/ 202 w 286"/>
                  <a:gd name="T13" fmla="*/ 0 h 352"/>
                  <a:gd name="T14" fmla="*/ 286 w 286"/>
                  <a:gd name="T15" fmla="*/ 0 h 352"/>
                  <a:gd name="T16" fmla="*/ 116 w 286"/>
                  <a:gd name="T17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6" h="352">
                    <a:moveTo>
                      <a:pt x="116" y="352"/>
                    </a:moveTo>
                    <a:lnTo>
                      <a:pt x="34" y="352"/>
                    </a:lnTo>
                    <a:lnTo>
                      <a:pt x="86" y="242"/>
                    </a:lnTo>
                    <a:lnTo>
                      <a:pt x="0" y="0"/>
                    </a:lnTo>
                    <a:lnTo>
                      <a:pt x="100" y="0"/>
                    </a:lnTo>
                    <a:lnTo>
                      <a:pt x="140" y="148"/>
                    </a:lnTo>
                    <a:lnTo>
                      <a:pt x="202" y="0"/>
                    </a:lnTo>
                    <a:lnTo>
                      <a:pt x="286" y="0"/>
                    </a:lnTo>
                    <a:lnTo>
                      <a:pt x="116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21"/>
              <p:cNvSpPr>
                <a:spLocks/>
              </p:cNvSpPr>
              <p:nvPr/>
            </p:nvSpPr>
            <p:spPr bwMode="auto">
              <a:xfrm>
                <a:off x="4473575" y="593725"/>
                <a:ext cx="241300" cy="117475"/>
              </a:xfrm>
              <a:custGeom>
                <a:avLst/>
                <a:gdLst>
                  <a:gd name="T0" fmla="*/ 36 w 152"/>
                  <a:gd name="T1" fmla="*/ 0 h 74"/>
                  <a:gd name="T2" fmla="*/ 152 w 152"/>
                  <a:gd name="T3" fmla="*/ 0 h 74"/>
                  <a:gd name="T4" fmla="*/ 114 w 152"/>
                  <a:gd name="T5" fmla="*/ 74 h 74"/>
                  <a:gd name="T6" fmla="*/ 0 w 152"/>
                  <a:gd name="T7" fmla="*/ 74 h 74"/>
                  <a:gd name="T8" fmla="*/ 36 w 152"/>
                  <a:gd name="T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74">
                    <a:moveTo>
                      <a:pt x="36" y="0"/>
                    </a:moveTo>
                    <a:lnTo>
                      <a:pt x="152" y="0"/>
                    </a:lnTo>
                    <a:lnTo>
                      <a:pt x="114" y="74"/>
                    </a:lnTo>
                    <a:lnTo>
                      <a:pt x="0" y="7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" name="Freeform 22"/>
              <p:cNvSpPr>
                <a:spLocks/>
              </p:cNvSpPr>
              <p:nvPr/>
            </p:nvSpPr>
            <p:spPr bwMode="auto">
              <a:xfrm>
                <a:off x="4721225" y="339725"/>
                <a:ext cx="504825" cy="558800"/>
              </a:xfrm>
              <a:custGeom>
                <a:avLst/>
                <a:gdLst>
                  <a:gd name="T0" fmla="*/ 180 w 318"/>
                  <a:gd name="T1" fmla="*/ 0 h 352"/>
                  <a:gd name="T2" fmla="*/ 232 w 318"/>
                  <a:gd name="T3" fmla="*/ 6 h 352"/>
                  <a:gd name="T4" fmla="*/ 266 w 318"/>
                  <a:gd name="T5" fmla="*/ 20 h 352"/>
                  <a:gd name="T6" fmla="*/ 286 w 318"/>
                  <a:gd name="T7" fmla="*/ 32 h 352"/>
                  <a:gd name="T8" fmla="*/ 302 w 318"/>
                  <a:gd name="T9" fmla="*/ 50 h 352"/>
                  <a:gd name="T10" fmla="*/ 312 w 318"/>
                  <a:gd name="T11" fmla="*/ 74 h 352"/>
                  <a:gd name="T12" fmla="*/ 318 w 318"/>
                  <a:gd name="T13" fmla="*/ 100 h 352"/>
                  <a:gd name="T14" fmla="*/ 222 w 318"/>
                  <a:gd name="T15" fmla="*/ 116 h 352"/>
                  <a:gd name="T16" fmla="*/ 222 w 318"/>
                  <a:gd name="T17" fmla="*/ 108 h 352"/>
                  <a:gd name="T18" fmla="*/ 216 w 318"/>
                  <a:gd name="T19" fmla="*/ 90 h 352"/>
                  <a:gd name="T20" fmla="*/ 204 w 318"/>
                  <a:gd name="T21" fmla="*/ 76 h 352"/>
                  <a:gd name="T22" fmla="*/ 188 w 318"/>
                  <a:gd name="T23" fmla="*/ 68 h 352"/>
                  <a:gd name="T24" fmla="*/ 176 w 318"/>
                  <a:gd name="T25" fmla="*/ 68 h 352"/>
                  <a:gd name="T26" fmla="*/ 150 w 318"/>
                  <a:gd name="T27" fmla="*/ 72 h 352"/>
                  <a:gd name="T28" fmla="*/ 128 w 318"/>
                  <a:gd name="T29" fmla="*/ 88 h 352"/>
                  <a:gd name="T30" fmla="*/ 108 w 318"/>
                  <a:gd name="T31" fmla="*/ 118 h 352"/>
                  <a:gd name="T32" fmla="*/ 98 w 318"/>
                  <a:gd name="T33" fmla="*/ 162 h 352"/>
                  <a:gd name="T34" fmla="*/ 96 w 318"/>
                  <a:gd name="T35" fmla="*/ 188 h 352"/>
                  <a:gd name="T36" fmla="*/ 98 w 318"/>
                  <a:gd name="T37" fmla="*/ 234 h 352"/>
                  <a:gd name="T38" fmla="*/ 112 w 318"/>
                  <a:gd name="T39" fmla="*/ 266 h 352"/>
                  <a:gd name="T40" fmla="*/ 122 w 318"/>
                  <a:gd name="T41" fmla="*/ 278 h 352"/>
                  <a:gd name="T42" fmla="*/ 138 w 318"/>
                  <a:gd name="T43" fmla="*/ 284 h 352"/>
                  <a:gd name="T44" fmla="*/ 158 w 318"/>
                  <a:gd name="T45" fmla="*/ 288 h 352"/>
                  <a:gd name="T46" fmla="*/ 174 w 318"/>
                  <a:gd name="T47" fmla="*/ 286 h 352"/>
                  <a:gd name="T48" fmla="*/ 198 w 318"/>
                  <a:gd name="T49" fmla="*/ 274 h 352"/>
                  <a:gd name="T50" fmla="*/ 212 w 318"/>
                  <a:gd name="T51" fmla="*/ 256 h 352"/>
                  <a:gd name="T52" fmla="*/ 218 w 318"/>
                  <a:gd name="T53" fmla="*/ 236 h 352"/>
                  <a:gd name="T54" fmla="*/ 314 w 318"/>
                  <a:gd name="T55" fmla="*/ 236 h 352"/>
                  <a:gd name="T56" fmla="*/ 306 w 318"/>
                  <a:gd name="T57" fmla="*/ 270 h 352"/>
                  <a:gd name="T58" fmla="*/ 290 w 318"/>
                  <a:gd name="T59" fmla="*/ 300 h 352"/>
                  <a:gd name="T60" fmla="*/ 272 w 318"/>
                  <a:gd name="T61" fmla="*/ 318 h 352"/>
                  <a:gd name="T62" fmla="*/ 248 w 318"/>
                  <a:gd name="T63" fmla="*/ 334 h 352"/>
                  <a:gd name="T64" fmla="*/ 216 w 318"/>
                  <a:gd name="T65" fmla="*/ 346 h 352"/>
                  <a:gd name="T66" fmla="*/ 176 w 318"/>
                  <a:gd name="T67" fmla="*/ 352 h 352"/>
                  <a:gd name="T68" fmla="*/ 152 w 318"/>
                  <a:gd name="T69" fmla="*/ 352 h 352"/>
                  <a:gd name="T70" fmla="*/ 106 w 318"/>
                  <a:gd name="T71" fmla="*/ 348 h 352"/>
                  <a:gd name="T72" fmla="*/ 70 w 318"/>
                  <a:gd name="T73" fmla="*/ 336 h 352"/>
                  <a:gd name="T74" fmla="*/ 42 w 318"/>
                  <a:gd name="T75" fmla="*/ 316 h 352"/>
                  <a:gd name="T76" fmla="*/ 22 w 318"/>
                  <a:gd name="T77" fmla="*/ 292 h 352"/>
                  <a:gd name="T78" fmla="*/ 8 w 318"/>
                  <a:gd name="T79" fmla="*/ 262 h 352"/>
                  <a:gd name="T80" fmla="*/ 2 w 318"/>
                  <a:gd name="T81" fmla="*/ 230 h 352"/>
                  <a:gd name="T82" fmla="*/ 0 w 318"/>
                  <a:gd name="T83" fmla="*/ 194 h 352"/>
                  <a:gd name="T84" fmla="*/ 2 w 318"/>
                  <a:gd name="T85" fmla="*/ 160 h 352"/>
                  <a:gd name="T86" fmla="*/ 18 w 318"/>
                  <a:gd name="T87" fmla="*/ 102 h 352"/>
                  <a:gd name="T88" fmla="*/ 32 w 318"/>
                  <a:gd name="T89" fmla="*/ 74 h 352"/>
                  <a:gd name="T90" fmla="*/ 52 w 318"/>
                  <a:gd name="T91" fmla="*/ 50 h 352"/>
                  <a:gd name="T92" fmla="*/ 76 w 318"/>
                  <a:gd name="T93" fmla="*/ 30 h 352"/>
                  <a:gd name="T94" fmla="*/ 106 w 318"/>
                  <a:gd name="T95" fmla="*/ 14 h 352"/>
                  <a:gd name="T96" fmla="*/ 140 w 318"/>
                  <a:gd name="T97" fmla="*/ 4 h 352"/>
                  <a:gd name="T98" fmla="*/ 180 w 318"/>
                  <a:gd name="T99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18" h="352">
                    <a:moveTo>
                      <a:pt x="180" y="0"/>
                    </a:moveTo>
                    <a:lnTo>
                      <a:pt x="180" y="0"/>
                    </a:lnTo>
                    <a:lnTo>
                      <a:pt x="206" y="0"/>
                    </a:lnTo>
                    <a:lnTo>
                      <a:pt x="232" y="6"/>
                    </a:lnTo>
                    <a:lnTo>
                      <a:pt x="256" y="14"/>
                    </a:lnTo>
                    <a:lnTo>
                      <a:pt x="266" y="20"/>
                    </a:lnTo>
                    <a:lnTo>
                      <a:pt x="276" y="26"/>
                    </a:lnTo>
                    <a:lnTo>
                      <a:pt x="286" y="32"/>
                    </a:lnTo>
                    <a:lnTo>
                      <a:pt x="294" y="42"/>
                    </a:lnTo>
                    <a:lnTo>
                      <a:pt x="302" y="50"/>
                    </a:lnTo>
                    <a:lnTo>
                      <a:pt x="308" y="62"/>
                    </a:lnTo>
                    <a:lnTo>
                      <a:pt x="312" y="74"/>
                    </a:lnTo>
                    <a:lnTo>
                      <a:pt x="316" y="86"/>
                    </a:lnTo>
                    <a:lnTo>
                      <a:pt x="318" y="100"/>
                    </a:lnTo>
                    <a:lnTo>
                      <a:pt x="318" y="116"/>
                    </a:lnTo>
                    <a:lnTo>
                      <a:pt x="222" y="116"/>
                    </a:lnTo>
                    <a:lnTo>
                      <a:pt x="222" y="116"/>
                    </a:lnTo>
                    <a:lnTo>
                      <a:pt x="222" y="108"/>
                    </a:lnTo>
                    <a:lnTo>
                      <a:pt x="220" y="98"/>
                    </a:lnTo>
                    <a:lnTo>
                      <a:pt x="216" y="90"/>
                    </a:lnTo>
                    <a:lnTo>
                      <a:pt x="212" y="84"/>
                    </a:lnTo>
                    <a:lnTo>
                      <a:pt x="204" y="76"/>
                    </a:lnTo>
                    <a:lnTo>
                      <a:pt x="198" y="72"/>
                    </a:lnTo>
                    <a:lnTo>
                      <a:pt x="188" y="68"/>
                    </a:lnTo>
                    <a:lnTo>
                      <a:pt x="176" y="68"/>
                    </a:lnTo>
                    <a:lnTo>
                      <a:pt x="176" y="68"/>
                    </a:lnTo>
                    <a:lnTo>
                      <a:pt x="164" y="68"/>
                    </a:lnTo>
                    <a:lnTo>
                      <a:pt x="150" y="72"/>
                    </a:lnTo>
                    <a:lnTo>
                      <a:pt x="138" y="80"/>
                    </a:lnTo>
                    <a:lnTo>
                      <a:pt x="128" y="88"/>
                    </a:lnTo>
                    <a:lnTo>
                      <a:pt x="118" y="102"/>
                    </a:lnTo>
                    <a:lnTo>
                      <a:pt x="108" y="118"/>
                    </a:lnTo>
                    <a:lnTo>
                      <a:pt x="102" y="138"/>
                    </a:lnTo>
                    <a:lnTo>
                      <a:pt x="98" y="162"/>
                    </a:lnTo>
                    <a:lnTo>
                      <a:pt x="98" y="162"/>
                    </a:lnTo>
                    <a:lnTo>
                      <a:pt x="96" y="188"/>
                    </a:lnTo>
                    <a:lnTo>
                      <a:pt x="96" y="212"/>
                    </a:lnTo>
                    <a:lnTo>
                      <a:pt x="98" y="234"/>
                    </a:lnTo>
                    <a:lnTo>
                      <a:pt x="104" y="252"/>
                    </a:lnTo>
                    <a:lnTo>
                      <a:pt x="112" y="266"/>
                    </a:lnTo>
                    <a:lnTo>
                      <a:pt x="116" y="272"/>
                    </a:lnTo>
                    <a:lnTo>
                      <a:pt x="122" y="278"/>
                    </a:lnTo>
                    <a:lnTo>
                      <a:pt x="130" y="282"/>
                    </a:lnTo>
                    <a:lnTo>
                      <a:pt x="138" y="284"/>
                    </a:lnTo>
                    <a:lnTo>
                      <a:pt x="148" y="286"/>
                    </a:lnTo>
                    <a:lnTo>
                      <a:pt x="158" y="288"/>
                    </a:lnTo>
                    <a:lnTo>
                      <a:pt x="158" y="288"/>
                    </a:lnTo>
                    <a:lnTo>
                      <a:pt x="174" y="286"/>
                    </a:lnTo>
                    <a:lnTo>
                      <a:pt x="188" y="280"/>
                    </a:lnTo>
                    <a:lnTo>
                      <a:pt x="198" y="274"/>
                    </a:lnTo>
                    <a:lnTo>
                      <a:pt x="206" y="264"/>
                    </a:lnTo>
                    <a:lnTo>
                      <a:pt x="212" y="256"/>
                    </a:lnTo>
                    <a:lnTo>
                      <a:pt x="214" y="248"/>
                    </a:lnTo>
                    <a:lnTo>
                      <a:pt x="218" y="236"/>
                    </a:lnTo>
                    <a:lnTo>
                      <a:pt x="314" y="236"/>
                    </a:lnTo>
                    <a:lnTo>
                      <a:pt x="314" y="236"/>
                    </a:lnTo>
                    <a:lnTo>
                      <a:pt x="312" y="252"/>
                    </a:lnTo>
                    <a:lnTo>
                      <a:pt x="306" y="270"/>
                    </a:lnTo>
                    <a:lnTo>
                      <a:pt x="296" y="290"/>
                    </a:lnTo>
                    <a:lnTo>
                      <a:pt x="290" y="300"/>
                    </a:lnTo>
                    <a:lnTo>
                      <a:pt x="282" y="308"/>
                    </a:lnTo>
                    <a:lnTo>
                      <a:pt x="272" y="318"/>
                    </a:lnTo>
                    <a:lnTo>
                      <a:pt x="260" y="326"/>
                    </a:lnTo>
                    <a:lnTo>
                      <a:pt x="248" y="334"/>
                    </a:lnTo>
                    <a:lnTo>
                      <a:pt x="232" y="340"/>
                    </a:lnTo>
                    <a:lnTo>
                      <a:pt x="216" y="346"/>
                    </a:lnTo>
                    <a:lnTo>
                      <a:pt x="196" y="350"/>
                    </a:lnTo>
                    <a:lnTo>
                      <a:pt x="176" y="352"/>
                    </a:lnTo>
                    <a:lnTo>
                      <a:pt x="152" y="352"/>
                    </a:lnTo>
                    <a:lnTo>
                      <a:pt x="152" y="352"/>
                    </a:lnTo>
                    <a:lnTo>
                      <a:pt x="128" y="352"/>
                    </a:lnTo>
                    <a:lnTo>
                      <a:pt x="106" y="348"/>
                    </a:lnTo>
                    <a:lnTo>
                      <a:pt x="86" y="342"/>
                    </a:lnTo>
                    <a:lnTo>
                      <a:pt x="70" y="336"/>
                    </a:lnTo>
                    <a:lnTo>
                      <a:pt x="54" y="326"/>
                    </a:lnTo>
                    <a:lnTo>
                      <a:pt x="42" y="316"/>
                    </a:lnTo>
                    <a:lnTo>
                      <a:pt x="30" y="304"/>
                    </a:lnTo>
                    <a:lnTo>
                      <a:pt x="22" y="292"/>
                    </a:lnTo>
                    <a:lnTo>
                      <a:pt x="14" y="276"/>
                    </a:lnTo>
                    <a:lnTo>
                      <a:pt x="8" y="262"/>
                    </a:lnTo>
                    <a:lnTo>
                      <a:pt x="4" y="246"/>
                    </a:lnTo>
                    <a:lnTo>
                      <a:pt x="2" y="230"/>
                    </a:lnTo>
                    <a:lnTo>
                      <a:pt x="0" y="212"/>
                    </a:lnTo>
                    <a:lnTo>
                      <a:pt x="0" y="194"/>
                    </a:lnTo>
                    <a:lnTo>
                      <a:pt x="2" y="160"/>
                    </a:lnTo>
                    <a:lnTo>
                      <a:pt x="2" y="160"/>
                    </a:lnTo>
                    <a:lnTo>
                      <a:pt x="8" y="130"/>
                    </a:lnTo>
                    <a:lnTo>
                      <a:pt x="18" y="102"/>
                    </a:lnTo>
                    <a:lnTo>
                      <a:pt x="24" y="88"/>
                    </a:lnTo>
                    <a:lnTo>
                      <a:pt x="32" y="74"/>
                    </a:lnTo>
                    <a:lnTo>
                      <a:pt x="42" y="62"/>
                    </a:lnTo>
                    <a:lnTo>
                      <a:pt x="52" y="50"/>
                    </a:lnTo>
                    <a:lnTo>
                      <a:pt x="64" y="40"/>
                    </a:lnTo>
                    <a:lnTo>
                      <a:pt x="76" y="30"/>
                    </a:lnTo>
                    <a:lnTo>
                      <a:pt x="90" y="20"/>
                    </a:lnTo>
                    <a:lnTo>
                      <a:pt x="106" y="14"/>
                    </a:lnTo>
                    <a:lnTo>
                      <a:pt x="122" y="8"/>
                    </a:lnTo>
                    <a:lnTo>
                      <a:pt x="140" y="4"/>
                    </a:lnTo>
                    <a:lnTo>
                      <a:pt x="160" y="0"/>
                    </a:lnTo>
                    <a:lnTo>
                      <a:pt x="180" y="0"/>
                    </a:lnTo>
                    <a:lnTo>
                      <a:pt x="18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23"/>
              <p:cNvSpPr>
                <a:spLocks/>
              </p:cNvSpPr>
              <p:nvPr/>
            </p:nvSpPr>
            <p:spPr bwMode="auto">
              <a:xfrm>
                <a:off x="5229225" y="352425"/>
                <a:ext cx="177800" cy="542925"/>
              </a:xfrm>
              <a:custGeom>
                <a:avLst/>
                <a:gdLst>
                  <a:gd name="T0" fmla="*/ 0 w 112"/>
                  <a:gd name="T1" fmla="*/ 342 h 342"/>
                  <a:gd name="T2" fmla="*/ 24 w 112"/>
                  <a:gd name="T3" fmla="*/ 0 h 342"/>
                  <a:gd name="T4" fmla="*/ 112 w 112"/>
                  <a:gd name="T5" fmla="*/ 0 h 342"/>
                  <a:gd name="T6" fmla="*/ 88 w 112"/>
                  <a:gd name="T7" fmla="*/ 342 h 342"/>
                  <a:gd name="T8" fmla="*/ 0 w 112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2" y="0"/>
                    </a:lnTo>
                    <a:lnTo>
                      <a:pt x="88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Freeform 24"/>
              <p:cNvSpPr>
                <a:spLocks/>
              </p:cNvSpPr>
              <p:nvPr/>
            </p:nvSpPr>
            <p:spPr bwMode="auto">
              <a:xfrm>
                <a:off x="5803900" y="517525"/>
                <a:ext cx="295275" cy="377825"/>
              </a:xfrm>
              <a:custGeom>
                <a:avLst/>
                <a:gdLst>
                  <a:gd name="T0" fmla="*/ 106 w 186"/>
                  <a:gd name="T1" fmla="*/ 34 h 238"/>
                  <a:gd name="T2" fmla="*/ 106 w 186"/>
                  <a:gd name="T3" fmla="*/ 34 h 238"/>
                  <a:gd name="T4" fmla="*/ 106 w 186"/>
                  <a:gd name="T5" fmla="*/ 34 h 238"/>
                  <a:gd name="T6" fmla="*/ 116 w 186"/>
                  <a:gd name="T7" fmla="*/ 24 h 238"/>
                  <a:gd name="T8" fmla="*/ 124 w 186"/>
                  <a:gd name="T9" fmla="*/ 16 h 238"/>
                  <a:gd name="T10" fmla="*/ 134 w 186"/>
                  <a:gd name="T11" fmla="*/ 10 h 238"/>
                  <a:gd name="T12" fmla="*/ 144 w 186"/>
                  <a:gd name="T13" fmla="*/ 6 h 238"/>
                  <a:gd name="T14" fmla="*/ 154 w 186"/>
                  <a:gd name="T15" fmla="*/ 4 h 238"/>
                  <a:gd name="T16" fmla="*/ 164 w 186"/>
                  <a:gd name="T17" fmla="*/ 2 h 238"/>
                  <a:gd name="T18" fmla="*/ 186 w 186"/>
                  <a:gd name="T19" fmla="*/ 0 h 238"/>
                  <a:gd name="T20" fmla="*/ 180 w 186"/>
                  <a:gd name="T21" fmla="*/ 76 h 238"/>
                  <a:gd name="T22" fmla="*/ 180 w 186"/>
                  <a:gd name="T23" fmla="*/ 76 h 238"/>
                  <a:gd name="T24" fmla="*/ 162 w 186"/>
                  <a:gd name="T25" fmla="*/ 76 h 238"/>
                  <a:gd name="T26" fmla="*/ 162 w 186"/>
                  <a:gd name="T27" fmla="*/ 76 h 238"/>
                  <a:gd name="T28" fmla="*/ 142 w 186"/>
                  <a:gd name="T29" fmla="*/ 78 h 238"/>
                  <a:gd name="T30" fmla="*/ 126 w 186"/>
                  <a:gd name="T31" fmla="*/ 82 h 238"/>
                  <a:gd name="T32" fmla="*/ 116 w 186"/>
                  <a:gd name="T33" fmla="*/ 88 h 238"/>
                  <a:gd name="T34" fmla="*/ 108 w 186"/>
                  <a:gd name="T35" fmla="*/ 98 h 238"/>
                  <a:gd name="T36" fmla="*/ 104 w 186"/>
                  <a:gd name="T37" fmla="*/ 108 h 238"/>
                  <a:gd name="T38" fmla="*/ 100 w 186"/>
                  <a:gd name="T39" fmla="*/ 120 h 238"/>
                  <a:gd name="T40" fmla="*/ 98 w 186"/>
                  <a:gd name="T41" fmla="*/ 148 h 238"/>
                  <a:gd name="T42" fmla="*/ 92 w 186"/>
                  <a:gd name="T43" fmla="*/ 238 h 238"/>
                  <a:gd name="T44" fmla="*/ 0 w 186"/>
                  <a:gd name="T45" fmla="*/ 238 h 238"/>
                  <a:gd name="T46" fmla="*/ 14 w 186"/>
                  <a:gd name="T47" fmla="*/ 62 h 238"/>
                  <a:gd name="T48" fmla="*/ 14 w 186"/>
                  <a:gd name="T49" fmla="*/ 62 h 238"/>
                  <a:gd name="T50" fmla="*/ 14 w 186"/>
                  <a:gd name="T51" fmla="*/ 32 h 238"/>
                  <a:gd name="T52" fmla="*/ 14 w 186"/>
                  <a:gd name="T53" fmla="*/ 0 h 238"/>
                  <a:gd name="T54" fmla="*/ 102 w 186"/>
                  <a:gd name="T55" fmla="*/ 0 h 238"/>
                  <a:gd name="T56" fmla="*/ 106 w 186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6" h="238">
                    <a:moveTo>
                      <a:pt x="106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6" y="24"/>
                    </a:lnTo>
                    <a:lnTo>
                      <a:pt x="124" y="16"/>
                    </a:lnTo>
                    <a:lnTo>
                      <a:pt x="134" y="10"/>
                    </a:lnTo>
                    <a:lnTo>
                      <a:pt x="144" y="6"/>
                    </a:lnTo>
                    <a:lnTo>
                      <a:pt x="154" y="4"/>
                    </a:lnTo>
                    <a:lnTo>
                      <a:pt x="164" y="2"/>
                    </a:lnTo>
                    <a:lnTo>
                      <a:pt x="186" y="0"/>
                    </a:lnTo>
                    <a:lnTo>
                      <a:pt x="180" y="76"/>
                    </a:lnTo>
                    <a:lnTo>
                      <a:pt x="180" y="76"/>
                    </a:lnTo>
                    <a:lnTo>
                      <a:pt x="162" y="76"/>
                    </a:lnTo>
                    <a:lnTo>
                      <a:pt x="162" y="76"/>
                    </a:lnTo>
                    <a:lnTo>
                      <a:pt x="142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4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6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31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53074" y="553073"/>
            <a:ext cx="3571665" cy="316888"/>
          </a:xfrm>
        </p:spPr>
        <p:txBody>
          <a:bodyPr>
            <a:noAutofit/>
          </a:bodyPr>
          <a:lstStyle>
            <a:lvl1pPr marL="0" indent="0">
              <a:buNone/>
              <a:defRPr sz="1400" b="0" u="none">
                <a:solidFill>
                  <a:schemeClr val="accent1"/>
                </a:solidFill>
              </a:defRPr>
            </a:lvl1pPr>
            <a:lvl2pPr marL="457200" indent="0">
              <a:buNone/>
              <a:defRPr b="0" u="none"/>
            </a:lvl2pPr>
            <a:lvl3pPr marL="914400" indent="0">
              <a:buNone/>
              <a:defRPr b="0" u="none"/>
            </a:lvl3pPr>
            <a:lvl4pPr marL="1371600" indent="0">
              <a:buNone/>
              <a:defRPr b="0" u="none"/>
            </a:lvl4pPr>
            <a:lvl5pPr marL="1828800" indent="0">
              <a:buNone/>
              <a:defRPr b="0" u="none"/>
            </a:lvl5pPr>
          </a:lstStyle>
          <a:p>
            <a:pPr lvl="0"/>
            <a:r>
              <a:rPr lang="en-US"/>
              <a:t>BU/Function/Region</a:t>
            </a:r>
          </a:p>
        </p:txBody>
      </p:sp>
    </p:spTree>
    <p:extLst>
      <p:ext uri="{BB962C8B-B14F-4D97-AF65-F5344CB8AC3E}">
        <p14:creationId xmlns:p14="http://schemas.microsoft.com/office/powerpoint/2010/main" val="2790590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259966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200553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622322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52844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312506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150247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06181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492181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01040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65303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2"/>
            <a:ext cx="12195050" cy="685628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2399" y="2336800"/>
            <a:ext cx="5788152" cy="2091087"/>
          </a:xfrm>
        </p:spPr>
        <p:txBody>
          <a:bodyPr anchor="ctr">
            <a:normAutofit/>
          </a:bodyPr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2399" y="4427887"/>
            <a:ext cx="5789202" cy="1285515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3E7FBFD-78E1-42FB-85FC-D9CE5E3DEFA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70622" y="276225"/>
            <a:ext cx="2165537" cy="271230"/>
            <a:chOff x="158750" y="276225"/>
            <a:chExt cx="6388100" cy="800100"/>
          </a:xfrm>
          <a:solidFill>
            <a:schemeClr val="accent1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158750" y="276225"/>
              <a:ext cx="857250" cy="736600"/>
            </a:xfrm>
            <a:custGeom>
              <a:avLst/>
              <a:gdLst>
                <a:gd name="T0" fmla="*/ 298 w 540"/>
                <a:gd name="T1" fmla="*/ 0 h 464"/>
                <a:gd name="T2" fmla="*/ 374 w 540"/>
                <a:gd name="T3" fmla="*/ 18 h 464"/>
                <a:gd name="T4" fmla="*/ 442 w 540"/>
                <a:gd name="T5" fmla="*/ 52 h 464"/>
                <a:gd name="T6" fmla="*/ 494 w 540"/>
                <a:gd name="T7" fmla="*/ 102 h 464"/>
                <a:gd name="T8" fmla="*/ 528 w 540"/>
                <a:gd name="T9" fmla="*/ 162 h 464"/>
                <a:gd name="T10" fmla="*/ 540 w 540"/>
                <a:gd name="T11" fmla="*/ 232 h 464"/>
                <a:gd name="T12" fmla="*/ 534 w 540"/>
                <a:gd name="T13" fmla="*/ 278 h 464"/>
                <a:gd name="T14" fmla="*/ 506 w 540"/>
                <a:gd name="T15" fmla="*/ 342 h 464"/>
                <a:gd name="T16" fmla="*/ 460 w 540"/>
                <a:gd name="T17" fmla="*/ 396 h 464"/>
                <a:gd name="T18" fmla="*/ 398 w 540"/>
                <a:gd name="T19" fmla="*/ 436 h 464"/>
                <a:gd name="T20" fmla="*/ 324 w 540"/>
                <a:gd name="T21" fmla="*/ 460 h 464"/>
                <a:gd name="T22" fmla="*/ 270 w 540"/>
                <a:gd name="T23" fmla="*/ 464 h 464"/>
                <a:gd name="T24" fmla="*/ 190 w 540"/>
                <a:gd name="T25" fmla="*/ 454 h 464"/>
                <a:gd name="T26" fmla="*/ 118 w 540"/>
                <a:gd name="T27" fmla="*/ 424 h 464"/>
                <a:gd name="T28" fmla="*/ 62 w 540"/>
                <a:gd name="T29" fmla="*/ 380 h 464"/>
                <a:gd name="T30" fmla="*/ 20 w 540"/>
                <a:gd name="T31" fmla="*/ 322 h 464"/>
                <a:gd name="T32" fmla="*/ 2 w 540"/>
                <a:gd name="T33" fmla="*/ 256 h 464"/>
                <a:gd name="T34" fmla="*/ 2 w 540"/>
                <a:gd name="T35" fmla="*/ 208 h 464"/>
                <a:gd name="T36" fmla="*/ 20 w 540"/>
                <a:gd name="T37" fmla="*/ 142 h 464"/>
                <a:gd name="T38" fmla="*/ 62 w 540"/>
                <a:gd name="T39" fmla="*/ 84 h 464"/>
                <a:gd name="T40" fmla="*/ 118 w 540"/>
                <a:gd name="T41" fmla="*/ 40 h 464"/>
                <a:gd name="T42" fmla="*/ 190 w 540"/>
                <a:gd name="T43" fmla="*/ 10 h 464"/>
                <a:gd name="T44" fmla="*/ 270 w 540"/>
                <a:gd name="T45" fmla="*/ 0 h 464"/>
                <a:gd name="T46" fmla="*/ 270 w 540"/>
                <a:gd name="T47" fmla="*/ 232 h 464"/>
                <a:gd name="T48" fmla="*/ 220 w 540"/>
                <a:gd name="T49" fmla="*/ 196 h 464"/>
                <a:gd name="T50" fmla="*/ 208 w 540"/>
                <a:gd name="T51" fmla="*/ 176 h 464"/>
                <a:gd name="T52" fmla="*/ 156 w 540"/>
                <a:gd name="T53" fmla="*/ 130 h 464"/>
                <a:gd name="T54" fmla="*/ 76 w 540"/>
                <a:gd name="T55" fmla="*/ 152 h 464"/>
                <a:gd name="T56" fmla="*/ 130 w 540"/>
                <a:gd name="T57" fmla="*/ 204 h 464"/>
                <a:gd name="T58" fmla="*/ 138 w 540"/>
                <a:gd name="T59" fmla="*/ 230 h 464"/>
                <a:gd name="T60" fmla="*/ 132 w 540"/>
                <a:gd name="T61" fmla="*/ 244 h 464"/>
                <a:gd name="T62" fmla="*/ 108 w 540"/>
                <a:gd name="T63" fmla="*/ 250 h 464"/>
                <a:gd name="T64" fmla="*/ 38 w 540"/>
                <a:gd name="T65" fmla="*/ 330 h 464"/>
                <a:gd name="T66" fmla="*/ 146 w 540"/>
                <a:gd name="T67" fmla="*/ 330 h 464"/>
                <a:gd name="T68" fmla="*/ 186 w 540"/>
                <a:gd name="T69" fmla="*/ 320 h 464"/>
                <a:gd name="T70" fmla="*/ 214 w 540"/>
                <a:gd name="T71" fmla="*/ 296 h 464"/>
                <a:gd name="T72" fmla="*/ 320 w 540"/>
                <a:gd name="T73" fmla="*/ 390 h 464"/>
                <a:gd name="T74" fmla="*/ 326 w 540"/>
                <a:gd name="T75" fmla="*/ 296 h 464"/>
                <a:gd name="T76" fmla="*/ 352 w 540"/>
                <a:gd name="T77" fmla="*/ 320 h 464"/>
                <a:gd name="T78" fmla="*/ 392 w 540"/>
                <a:gd name="T79" fmla="*/ 330 h 464"/>
                <a:gd name="T80" fmla="*/ 500 w 540"/>
                <a:gd name="T81" fmla="*/ 250 h 464"/>
                <a:gd name="T82" fmla="*/ 432 w 540"/>
                <a:gd name="T83" fmla="*/ 250 h 464"/>
                <a:gd name="T84" fmla="*/ 408 w 540"/>
                <a:gd name="T85" fmla="*/ 244 h 464"/>
                <a:gd name="T86" fmla="*/ 400 w 540"/>
                <a:gd name="T87" fmla="*/ 230 h 464"/>
                <a:gd name="T88" fmla="*/ 410 w 540"/>
                <a:gd name="T89" fmla="*/ 204 h 464"/>
                <a:gd name="T90" fmla="*/ 462 w 540"/>
                <a:gd name="T91" fmla="*/ 152 h 464"/>
                <a:gd name="T92" fmla="*/ 382 w 540"/>
                <a:gd name="T93" fmla="*/ 130 h 464"/>
                <a:gd name="T94" fmla="*/ 330 w 540"/>
                <a:gd name="T95" fmla="*/ 176 h 464"/>
                <a:gd name="T96" fmla="*/ 320 w 540"/>
                <a:gd name="T97" fmla="*/ 19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40" h="464">
                  <a:moveTo>
                    <a:pt x="270" y="0"/>
                  </a:moveTo>
                  <a:lnTo>
                    <a:pt x="270" y="0"/>
                  </a:lnTo>
                  <a:lnTo>
                    <a:pt x="298" y="0"/>
                  </a:lnTo>
                  <a:lnTo>
                    <a:pt x="324" y="4"/>
                  </a:lnTo>
                  <a:lnTo>
                    <a:pt x="350" y="10"/>
                  </a:lnTo>
                  <a:lnTo>
                    <a:pt x="374" y="18"/>
                  </a:lnTo>
                  <a:lnTo>
                    <a:pt x="398" y="28"/>
                  </a:lnTo>
                  <a:lnTo>
                    <a:pt x="420" y="40"/>
                  </a:lnTo>
                  <a:lnTo>
                    <a:pt x="442" y="52"/>
                  </a:lnTo>
                  <a:lnTo>
                    <a:pt x="460" y="68"/>
                  </a:lnTo>
                  <a:lnTo>
                    <a:pt x="478" y="84"/>
                  </a:lnTo>
                  <a:lnTo>
                    <a:pt x="494" y="102"/>
                  </a:lnTo>
                  <a:lnTo>
                    <a:pt x="506" y="122"/>
                  </a:lnTo>
                  <a:lnTo>
                    <a:pt x="518" y="142"/>
                  </a:lnTo>
                  <a:lnTo>
                    <a:pt x="528" y="162"/>
                  </a:lnTo>
                  <a:lnTo>
                    <a:pt x="534" y="184"/>
                  </a:lnTo>
                  <a:lnTo>
                    <a:pt x="538" y="208"/>
                  </a:lnTo>
                  <a:lnTo>
                    <a:pt x="540" y="232"/>
                  </a:lnTo>
                  <a:lnTo>
                    <a:pt x="540" y="232"/>
                  </a:lnTo>
                  <a:lnTo>
                    <a:pt x="538" y="256"/>
                  </a:lnTo>
                  <a:lnTo>
                    <a:pt x="534" y="278"/>
                  </a:lnTo>
                  <a:lnTo>
                    <a:pt x="528" y="300"/>
                  </a:lnTo>
                  <a:lnTo>
                    <a:pt x="518" y="322"/>
                  </a:lnTo>
                  <a:lnTo>
                    <a:pt x="506" y="342"/>
                  </a:lnTo>
                  <a:lnTo>
                    <a:pt x="494" y="362"/>
                  </a:lnTo>
                  <a:lnTo>
                    <a:pt x="478" y="380"/>
                  </a:lnTo>
                  <a:lnTo>
                    <a:pt x="460" y="396"/>
                  </a:lnTo>
                  <a:lnTo>
                    <a:pt x="442" y="410"/>
                  </a:lnTo>
                  <a:lnTo>
                    <a:pt x="420" y="424"/>
                  </a:lnTo>
                  <a:lnTo>
                    <a:pt x="398" y="436"/>
                  </a:lnTo>
                  <a:lnTo>
                    <a:pt x="374" y="446"/>
                  </a:lnTo>
                  <a:lnTo>
                    <a:pt x="350" y="454"/>
                  </a:lnTo>
                  <a:lnTo>
                    <a:pt x="324" y="460"/>
                  </a:lnTo>
                  <a:lnTo>
                    <a:pt x="298" y="462"/>
                  </a:lnTo>
                  <a:lnTo>
                    <a:pt x="270" y="464"/>
                  </a:lnTo>
                  <a:lnTo>
                    <a:pt x="270" y="464"/>
                  </a:lnTo>
                  <a:lnTo>
                    <a:pt x="242" y="462"/>
                  </a:lnTo>
                  <a:lnTo>
                    <a:pt x="216" y="458"/>
                  </a:lnTo>
                  <a:lnTo>
                    <a:pt x="190" y="454"/>
                  </a:lnTo>
                  <a:lnTo>
                    <a:pt x="164" y="446"/>
                  </a:lnTo>
                  <a:lnTo>
                    <a:pt x="140" y="436"/>
                  </a:lnTo>
                  <a:lnTo>
                    <a:pt x="118" y="424"/>
                  </a:lnTo>
                  <a:lnTo>
                    <a:pt x="98" y="410"/>
                  </a:lnTo>
                  <a:lnTo>
                    <a:pt x="78" y="396"/>
                  </a:lnTo>
                  <a:lnTo>
                    <a:pt x="62" y="380"/>
                  </a:lnTo>
                  <a:lnTo>
                    <a:pt x="46" y="362"/>
                  </a:lnTo>
                  <a:lnTo>
                    <a:pt x="32" y="342"/>
                  </a:lnTo>
                  <a:lnTo>
                    <a:pt x="20" y="322"/>
                  </a:lnTo>
                  <a:lnTo>
                    <a:pt x="12" y="300"/>
                  </a:lnTo>
                  <a:lnTo>
                    <a:pt x="6" y="278"/>
                  </a:lnTo>
                  <a:lnTo>
                    <a:pt x="2" y="256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08"/>
                  </a:lnTo>
                  <a:lnTo>
                    <a:pt x="6" y="184"/>
                  </a:lnTo>
                  <a:lnTo>
                    <a:pt x="12" y="162"/>
                  </a:lnTo>
                  <a:lnTo>
                    <a:pt x="20" y="142"/>
                  </a:lnTo>
                  <a:lnTo>
                    <a:pt x="32" y="120"/>
                  </a:lnTo>
                  <a:lnTo>
                    <a:pt x="46" y="102"/>
                  </a:lnTo>
                  <a:lnTo>
                    <a:pt x="62" y="84"/>
                  </a:lnTo>
                  <a:lnTo>
                    <a:pt x="78" y="68"/>
                  </a:lnTo>
                  <a:lnTo>
                    <a:pt x="98" y="52"/>
                  </a:lnTo>
                  <a:lnTo>
                    <a:pt x="118" y="40"/>
                  </a:lnTo>
                  <a:lnTo>
                    <a:pt x="140" y="28"/>
                  </a:lnTo>
                  <a:lnTo>
                    <a:pt x="164" y="18"/>
                  </a:lnTo>
                  <a:lnTo>
                    <a:pt x="190" y="10"/>
                  </a:lnTo>
                  <a:lnTo>
                    <a:pt x="216" y="4"/>
                  </a:lnTo>
                  <a:lnTo>
                    <a:pt x="242" y="0"/>
                  </a:lnTo>
                  <a:lnTo>
                    <a:pt x="270" y="0"/>
                  </a:lnTo>
                  <a:lnTo>
                    <a:pt x="270" y="0"/>
                  </a:lnTo>
                  <a:close/>
                  <a:moveTo>
                    <a:pt x="270" y="232"/>
                  </a:moveTo>
                  <a:lnTo>
                    <a:pt x="270" y="232"/>
                  </a:lnTo>
                  <a:close/>
                  <a:moveTo>
                    <a:pt x="220" y="50"/>
                  </a:moveTo>
                  <a:lnTo>
                    <a:pt x="220" y="50"/>
                  </a:lnTo>
                  <a:lnTo>
                    <a:pt x="220" y="196"/>
                  </a:lnTo>
                  <a:lnTo>
                    <a:pt x="220" y="196"/>
                  </a:lnTo>
                  <a:lnTo>
                    <a:pt x="214" y="186"/>
                  </a:lnTo>
                  <a:lnTo>
                    <a:pt x="208" y="176"/>
                  </a:lnTo>
                  <a:lnTo>
                    <a:pt x="194" y="160"/>
                  </a:lnTo>
                  <a:lnTo>
                    <a:pt x="176" y="144"/>
                  </a:lnTo>
                  <a:lnTo>
                    <a:pt x="156" y="130"/>
                  </a:lnTo>
                  <a:lnTo>
                    <a:pt x="48" y="130"/>
                  </a:lnTo>
                  <a:lnTo>
                    <a:pt x="48" y="130"/>
                  </a:lnTo>
                  <a:lnTo>
                    <a:pt x="76" y="152"/>
                  </a:lnTo>
                  <a:lnTo>
                    <a:pt x="106" y="178"/>
                  </a:lnTo>
                  <a:lnTo>
                    <a:pt x="120" y="192"/>
                  </a:lnTo>
                  <a:lnTo>
                    <a:pt x="130" y="204"/>
                  </a:lnTo>
                  <a:lnTo>
                    <a:pt x="136" y="218"/>
                  </a:lnTo>
                  <a:lnTo>
                    <a:pt x="138" y="230"/>
                  </a:lnTo>
                  <a:lnTo>
                    <a:pt x="138" y="230"/>
                  </a:lnTo>
                  <a:lnTo>
                    <a:pt x="138" y="236"/>
                  </a:lnTo>
                  <a:lnTo>
                    <a:pt x="136" y="240"/>
                  </a:lnTo>
                  <a:lnTo>
                    <a:pt x="132" y="244"/>
                  </a:lnTo>
                  <a:lnTo>
                    <a:pt x="128" y="246"/>
                  </a:lnTo>
                  <a:lnTo>
                    <a:pt x="11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38" y="25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146" y="330"/>
                  </a:lnTo>
                  <a:lnTo>
                    <a:pt x="146" y="330"/>
                  </a:lnTo>
                  <a:lnTo>
                    <a:pt x="166" y="328"/>
                  </a:lnTo>
                  <a:lnTo>
                    <a:pt x="176" y="324"/>
                  </a:lnTo>
                  <a:lnTo>
                    <a:pt x="186" y="320"/>
                  </a:lnTo>
                  <a:lnTo>
                    <a:pt x="196" y="314"/>
                  </a:lnTo>
                  <a:lnTo>
                    <a:pt x="206" y="306"/>
                  </a:lnTo>
                  <a:lnTo>
                    <a:pt x="214" y="296"/>
                  </a:lnTo>
                  <a:lnTo>
                    <a:pt x="220" y="284"/>
                  </a:lnTo>
                  <a:lnTo>
                    <a:pt x="220" y="390"/>
                  </a:lnTo>
                  <a:lnTo>
                    <a:pt x="320" y="390"/>
                  </a:lnTo>
                  <a:lnTo>
                    <a:pt x="320" y="284"/>
                  </a:lnTo>
                  <a:lnTo>
                    <a:pt x="320" y="284"/>
                  </a:lnTo>
                  <a:lnTo>
                    <a:pt x="326" y="296"/>
                  </a:lnTo>
                  <a:lnTo>
                    <a:pt x="334" y="306"/>
                  </a:lnTo>
                  <a:lnTo>
                    <a:pt x="342" y="314"/>
                  </a:lnTo>
                  <a:lnTo>
                    <a:pt x="352" y="320"/>
                  </a:lnTo>
                  <a:lnTo>
                    <a:pt x="362" y="324"/>
                  </a:lnTo>
                  <a:lnTo>
                    <a:pt x="372" y="328"/>
                  </a:lnTo>
                  <a:lnTo>
                    <a:pt x="392" y="330"/>
                  </a:lnTo>
                  <a:lnTo>
                    <a:pt x="392" y="330"/>
                  </a:lnTo>
                  <a:lnTo>
                    <a:pt x="500" y="330"/>
                  </a:lnTo>
                  <a:lnTo>
                    <a:pt x="500" y="250"/>
                  </a:lnTo>
                  <a:lnTo>
                    <a:pt x="500" y="250"/>
                  </a:lnTo>
                  <a:lnTo>
                    <a:pt x="432" y="250"/>
                  </a:lnTo>
                  <a:lnTo>
                    <a:pt x="432" y="250"/>
                  </a:lnTo>
                  <a:lnTo>
                    <a:pt x="422" y="250"/>
                  </a:lnTo>
                  <a:lnTo>
                    <a:pt x="412" y="246"/>
                  </a:lnTo>
                  <a:lnTo>
                    <a:pt x="408" y="244"/>
                  </a:lnTo>
                  <a:lnTo>
                    <a:pt x="404" y="240"/>
                  </a:lnTo>
                  <a:lnTo>
                    <a:pt x="402" y="236"/>
                  </a:lnTo>
                  <a:lnTo>
                    <a:pt x="400" y="230"/>
                  </a:lnTo>
                  <a:lnTo>
                    <a:pt x="400" y="230"/>
                  </a:lnTo>
                  <a:lnTo>
                    <a:pt x="402" y="218"/>
                  </a:lnTo>
                  <a:lnTo>
                    <a:pt x="410" y="204"/>
                  </a:lnTo>
                  <a:lnTo>
                    <a:pt x="420" y="192"/>
                  </a:lnTo>
                  <a:lnTo>
                    <a:pt x="432" y="178"/>
                  </a:lnTo>
                  <a:lnTo>
                    <a:pt x="462" y="152"/>
                  </a:lnTo>
                  <a:lnTo>
                    <a:pt x="492" y="130"/>
                  </a:lnTo>
                  <a:lnTo>
                    <a:pt x="382" y="130"/>
                  </a:lnTo>
                  <a:lnTo>
                    <a:pt x="382" y="130"/>
                  </a:lnTo>
                  <a:lnTo>
                    <a:pt x="364" y="144"/>
                  </a:lnTo>
                  <a:lnTo>
                    <a:pt x="346" y="160"/>
                  </a:lnTo>
                  <a:lnTo>
                    <a:pt x="330" y="176"/>
                  </a:lnTo>
                  <a:lnTo>
                    <a:pt x="324" y="186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20" y="50"/>
                  </a:lnTo>
                  <a:lnTo>
                    <a:pt x="22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1314450" y="339725"/>
              <a:ext cx="5232400" cy="736600"/>
              <a:chOff x="1314450" y="339725"/>
              <a:chExt cx="5232400" cy="736600"/>
            </a:xfrm>
            <a:grpFill/>
          </p:grpSpPr>
          <p:sp>
            <p:nvSpPr>
              <p:cNvPr id="11" name="Freeform 9"/>
              <p:cNvSpPr>
                <a:spLocks/>
              </p:cNvSpPr>
              <p:nvPr/>
            </p:nvSpPr>
            <p:spPr bwMode="auto">
              <a:xfrm>
                <a:off x="1908175" y="352425"/>
                <a:ext cx="139700" cy="98425"/>
              </a:xfrm>
              <a:custGeom>
                <a:avLst/>
                <a:gdLst>
                  <a:gd name="T0" fmla="*/ 4 w 88"/>
                  <a:gd name="T1" fmla="*/ 0 h 62"/>
                  <a:gd name="T2" fmla="*/ 88 w 88"/>
                  <a:gd name="T3" fmla="*/ 0 h 62"/>
                  <a:gd name="T4" fmla="*/ 84 w 88"/>
                  <a:gd name="T5" fmla="*/ 62 h 62"/>
                  <a:gd name="T6" fmla="*/ 0 w 88"/>
                  <a:gd name="T7" fmla="*/ 62 h 62"/>
                  <a:gd name="T8" fmla="*/ 4 w 88"/>
                  <a:gd name="T9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" h="62">
                    <a:moveTo>
                      <a:pt x="4" y="0"/>
                    </a:moveTo>
                    <a:lnTo>
                      <a:pt x="88" y="0"/>
                    </a:lnTo>
                    <a:lnTo>
                      <a:pt x="84" y="62"/>
                    </a:lnTo>
                    <a:lnTo>
                      <a:pt x="0" y="6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10"/>
              <p:cNvSpPr>
                <a:spLocks noEditPoints="1"/>
              </p:cNvSpPr>
              <p:nvPr/>
            </p:nvSpPr>
            <p:spPr bwMode="auto">
              <a:xfrm>
                <a:off x="5397500" y="504825"/>
                <a:ext cx="393700" cy="393700"/>
              </a:xfrm>
              <a:custGeom>
                <a:avLst/>
                <a:gdLst>
                  <a:gd name="T0" fmla="*/ 152 w 248"/>
                  <a:gd name="T1" fmla="*/ 216 h 248"/>
                  <a:gd name="T2" fmla="*/ 138 w 248"/>
                  <a:gd name="T3" fmla="*/ 228 h 248"/>
                  <a:gd name="T4" fmla="*/ 112 w 248"/>
                  <a:gd name="T5" fmla="*/ 242 h 248"/>
                  <a:gd name="T6" fmla="*/ 92 w 248"/>
                  <a:gd name="T7" fmla="*/ 246 h 248"/>
                  <a:gd name="T8" fmla="*/ 80 w 248"/>
                  <a:gd name="T9" fmla="*/ 248 h 248"/>
                  <a:gd name="T10" fmla="*/ 44 w 248"/>
                  <a:gd name="T11" fmla="*/ 242 h 248"/>
                  <a:gd name="T12" fmla="*/ 18 w 248"/>
                  <a:gd name="T13" fmla="*/ 226 h 248"/>
                  <a:gd name="T14" fmla="*/ 4 w 248"/>
                  <a:gd name="T15" fmla="*/ 202 h 248"/>
                  <a:gd name="T16" fmla="*/ 0 w 248"/>
                  <a:gd name="T17" fmla="*/ 174 h 248"/>
                  <a:gd name="T18" fmla="*/ 2 w 248"/>
                  <a:gd name="T19" fmla="*/ 156 h 248"/>
                  <a:gd name="T20" fmla="*/ 20 w 248"/>
                  <a:gd name="T21" fmla="*/ 128 h 248"/>
                  <a:gd name="T22" fmla="*/ 54 w 248"/>
                  <a:gd name="T23" fmla="*/ 108 h 248"/>
                  <a:gd name="T24" fmla="*/ 104 w 248"/>
                  <a:gd name="T25" fmla="*/ 98 h 248"/>
                  <a:gd name="T26" fmla="*/ 162 w 248"/>
                  <a:gd name="T27" fmla="*/ 96 h 248"/>
                  <a:gd name="T28" fmla="*/ 164 w 248"/>
                  <a:gd name="T29" fmla="*/ 78 h 248"/>
                  <a:gd name="T30" fmla="*/ 162 w 248"/>
                  <a:gd name="T31" fmla="*/ 60 h 248"/>
                  <a:gd name="T32" fmla="*/ 154 w 248"/>
                  <a:gd name="T33" fmla="*/ 46 h 248"/>
                  <a:gd name="T34" fmla="*/ 136 w 248"/>
                  <a:gd name="T35" fmla="*/ 40 h 248"/>
                  <a:gd name="T36" fmla="*/ 126 w 248"/>
                  <a:gd name="T37" fmla="*/ 42 h 248"/>
                  <a:gd name="T38" fmla="*/ 114 w 248"/>
                  <a:gd name="T39" fmla="*/ 48 h 248"/>
                  <a:gd name="T40" fmla="*/ 106 w 248"/>
                  <a:gd name="T41" fmla="*/ 66 h 248"/>
                  <a:gd name="T42" fmla="*/ 22 w 248"/>
                  <a:gd name="T43" fmla="*/ 76 h 248"/>
                  <a:gd name="T44" fmla="*/ 24 w 248"/>
                  <a:gd name="T45" fmla="*/ 66 h 248"/>
                  <a:gd name="T46" fmla="*/ 28 w 248"/>
                  <a:gd name="T47" fmla="*/ 46 h 248"/>
                  <a:gd name="T48" fmla="*/ 38 w 248"/>
                  <a:gd name="T49" fmla="*/ 30 h 248"/>
                  <a:gd name="T50" fmla="*/ 54 w 248"/>
                  <a:gd name="T51" fmla="*/ 18 h 248"/>
                  <a:gd name="T52" fmla="*/ 62 w 248"/>
                  <a:gd name="T53" fmla="*/ 14 h 248"/>
                  <a:gd name="T54" fmla="*/ 102 w 248"/>
                  <a:gd name="T55" fmla="*/ 2 h 248"/>
                  <a:gd name="T56" fmla="*/ 144 w 248"/>
                  <a:gd name="T57" fmla="*/ 0 h 248"/>
                  <a:gd name="T58" fmla="*/ 164 w 248"/>
                  <a:gd name="T59" fmla="*/ 0 h 248"/>
                  <a:gd name="T60" fmla="*/ 200 w 248"/>
                  <a:gd name="T61" fmla="*/ 10 h 248"/>
                  <a:gd name="T62" fmla="*/ 230 w 248"/>
                  <a:gd name="T63" fmla="*/ 30 h 248"/>
                  <a:gd name="T64" fmla="*/ 240 w 248"/>
                  <a:gd name="T65" fmla="*/ 44 h 248"/>
                  <a:gd name="T66" fmla="*/ 246 w 248"/>
                  <a:gd name="T67" fmla="*/ 62 h 248"/>
                  <a:gd name="T68" fmla="*/ 248 w 248"/>
                  <a:gd name="T69" fmla="*/ 82 h 248"/>
                  <a:gd name="T70" fmla="*/ 242 w 248"/>
                  <a:gd name="T71" fmla="*/ 196 h 248"/>
                  <a:gd name="T72" fmla="*/ 242 w 248"/>
                  <a:gd name="T73" fmla="*/ 246 h 248"/>
                  <a:gd name="T74" fmla="*/ 152 w 248"/>
                  <a:gd name="T75" fmla="*/ 216 h 248"/>
                  <a:gd name="T76" fmla="*/ 114 w 248"/>
                  <a:gd name="T77" fmla="*/ 200 h 248"/>
                  <a:gd name="T78" fmla="*/ 138 w 248"/>
                  <a:gd name="T79" fmla="*/ 194 h 248"/>
                  <a:gd name="T80" fmla="*/ 152 w 248"/>
                  <a:gd name="T81" fmla="*/ 176 h 248"/>
                  <a:gd name="T82" fmla="*/ 158 w 248"/>
                  <a:gd name="T83" fmla="*/ 154 h 248"/>
                  <a:gd name="T84" fmla="*/ 160 w 248"/>
                  <a:gd name="T85" fmla="*/ 130 h 248"/>
                  <a:gd name="T86" fmla="*/ 122 w 248"/>
                  <a:gd name="T87" fmla="*/ 132 h 248"/>
                  <a:gd name="T88" fmla="*/ 110 w 248"/>
                  <a:gd name="T89" fmla="*/ 134 h 248"/>
                  <a:gd name="T90" fmla="*/ 94 w 248"/>
                  <a:gd name="T91" fmla="*/ 148 h 248"/>
                  <a:gd name="T92" fmla="*/ 86 w 248"/>
                  <a:gd name="T93" fmla="*/ 170 h 248"/>
                  <a:gd name="T94" fmla="*/ 86 w 248"/>
                  <a:gd name="T95" fmla="*/ 176 h 248"/>
                  <a:gd name="T96" fmla="*/ 92 w 248"/>
                  <a:gd name="T97" fmla="*/ 192 h 248"/>
                  <a:gd name="T98" fmla="*/ 102 w 248"/>
                  <a:gd name="T99" fmla="*/ 198 h 248"/>
                  <a:gd name="T100" fmla="*/ 114 w 248"/>
                  <a:gd name="T101" fmla="*/ 20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8" h="248">
                    <a:moveTo>
                      <a:pt x="152" y="216"/>
                    </a:moveTo>
                    <a:lnTo>
                      <a:pt x="152" y="216"/>
                    </a:lnTo>
                    <a:lnTo>
                      <a:pt x="152" y="216"/>
                    </a:lnTo>
                    <a:lnTo>
                      <a:pt x="138" y="228"/>
                    </a:lnTo>
                    <a:lnTo>
                      <a:pt x="122" y="238"/>
                    </a:lnTo>
                    <a:lnTo>
                      <a:pt x="112" y="242"/>
                    </a:lnTo>
                    <a:lnTo>
                      <a:pt x="102" y="246"/>
                    </a:lnTo>
                    <a:lnTo>
                      <a:pt x="92" y="246"/>
                    </a:lnTo>
                    <a:lnTo>
                      <a:pt x="80" y="248"/>
                    </a:lnTo>
                    <a:lnTo>
                      <a:pt x="80" y="248"/>
                    </a:lnTo>
                    <a:lnTo>
                      <a:pt x="60" y="246"/>
                    </a:lnTo>
                    <a:lnTo>
                      <a:pt x="44" y="242"/>
                    </a:lnTo>
                    <a:lnTo>
                      <a:pt x="30" y="234"/>
                    </a:lnTo>
                    <a:lnTo>
                      <a:pt x="18" y="226"/>
                    </a:lnTo>
                    <a:lnTo>
                      <a:pt x="10" y="216"/>
                    </a:lnTo>
                    <a:lnTo>
                      <a:pt x="4" y="202"/>
                    </a:lnTo>
                    <a:lnTo>
                      <a:pt x="0" y="188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2" y="156"/>
                    </a:lnTo>
                    <a:lnTo>
                      <a:pt x="8" y="142"/>
                    </a:lnTo>
                    <a:lnTo>
                      <a:pt x="20" y="128"/>
                    </a:lnTo>
                    <a:lnTo>
                      <a:pt x="34" y="116"/>
                    </a:lnTo>
                    <a:lnTo>
                      <a:pt x="54" y="108"/>
                    </a:lnTo>
                    <a:lnTo>
                      <a:pt x="76" y="102"/>
                    </a:lnTo>
                    <a:lnTo>
                      <a:pt x="104" y="98"/>
                    </a:lnTo>
                    <a:lnTo>
                      <a:pt x="134" y="96"/>
                    </a:lnTo>
                    <a:lnTo>
                      <a:pt x="162" y="96"/>
                    </a:lnTo>
                    <a:lnTo>
                      <a:pt x="162" y="96"/>
                    </a:lnTo>
                    <a:lnTo>
                      <a:pt x="164" y="78"/>
                    </a:lnTo>
                    <a:lnTo>
                      <a:pt x="164" y="70"/>
                    </a:lnTo>
                    <a:lnTo>
                      <a:pt x="162" y="60"/>
                    </a:lnTo>
                    <a:lnTo>
                      <a:pt x="160" y="52"/>
                    </a:lnTo>
                    <a:lnTo>
                      <a:pt x="154" y="46"/>
                    </a:lnTo>
                    <a:lnTo>
                      <a:pt x="146" y="42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26" y="42"/>
                    </a:lnTo>
                    <a:lnTo>
                      <a:pt x="120" y="44"/>
                    </a:lnTo>
                    <a:lnTo>
                      <a:pt x="114" y="48"/>
                    </a:lnTo>
                    <a:lnTo>
                      <a:pt x="110" y="54"/>
                    </a:lnTo>
                    <a:lnTo>
                      <a:pt x="106" y="66"/>
                    </a:lnTo>
                    <a:lnTo>
                      <a:pt x="104" y="76"/>
                    </a:lnTo>
                    <a:lnTo>
                      <a:pt x="22" y="76"/>
                    </a:lnTo>
                    <a:lnTo>
                      <a:pt x="22" y="76"/>
                    </a:lnTo>
                    <a:lnTo>
                      <a:pt x="24" y="66"/>
                    </a:lnTo>
                    <a:lnTo>
                      <a:pt x="26" y="54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38" y="30"/>
                    </a:lnTo>
                    <a:lnTo>
                      <a:pt x="46" y="24"/>
                    </a:lnTo>
                    <a:lnTo>
                      <a:pt x="54" y="18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2" y="6"/>
                    </a:lnTo>
                    <a:lnTo>
                      <a:pt x="102" y="2"/>
                    </a:lnTo>
                    <a:lnTo>
                      <a:pt x="124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64" y="0"/>
                    </a:lnTo>
                    <a:lnTo>
                      <a:pt x="182" y="4"/>
                    </a:lnTo>
                    <a:lnTo>
                      <a:pt x="200" y="10"/>
                    </a:lnTo>
                    <a:lnTo>
                      <a:pt x="216" y="18"/>
                    </a:lnTo>
                    <a:lnTo>
                      <a:pt x="230" y="30"/>
                    </a:lnTo>
                    <a:lnTo>
                      <a:pt x="236" y="38"/>
                    </a:lnTo>
                    <a:lnTo>
                      <a:pt x="240" y="44"/>
                    </a:lnTo>
                    <a:lnTo>
                      <a:pt x="244" y="52"/>
                    </a:lnTo>
                    <a:lnTo>
                      <a:pt x="246" y="62"/>
                    </a:lnTo>
                    <a:lnTo>
                      <a:pt x="248" y="72"/>
                    </a:lnTo>
                    <a:lnTo>
                      <a:pt x="248" y="82"/>
                    </a:lnTo>
                    <a:lnTo>
                      <a:pt x="242" y="196"/>
                    </a:lnTo>
                    <a:lnTo>
                      <a:pt x="242" y="196"/>
                    </a:lnTo>
                    <a:lnTo>
                      <a:pt x="240" y="214"/>
                    </a:lnTo>
                    <a:lnTo>
                      <a:pt x="242" y="246"/>
                    </a:lnTo>
                    <a:lnTo>
                      <a:pt x="158" y="246"/>
                    </a:lnTo>
                    <a:lnTo>
                      <a:pt x="152" y="216"/>
                    </a:lnTo>
                    <a:close/>
                    <a:moveTo>
                      <a:pt x="114" y="200"/>
                    </a:moveTo>
                    <a:lnTo>
                      <a:pt x="114" y="200"/>
                    </a:lnTo>
                    <a:lnTo>
                      <a:pt x="128" y="198"/>
                    </a:lnTo>
                    <a:lnTo>
                      <a:pt x="138" y="194"/>
                    </a:lnTo>
                    <a:lnTo>
                      <a:pt x="146" y="186"/>
                    </a:lnTo>
                    <a:lnTo>
                      <a:pt x="152" y="176"/>
                    </a:lnTo>
                    <a:lnTo>
                      <a:pt x="156" y="166"/>
                    </a:lnTo>
                    <a:lnTo>
                      <a:pt x="158" y="154"/>
                    </a:lnTo>
                    <a:lnTo>
                      <a:pt x="160" y="130"/>
                    </a:lnTo>
                    <a:lnTo>
                      <a:pt x="160" y="130"/>
                    </a:lnTo>
                    <a:lnTo>
                      <a:pt x="134" y="130"/>
                    </a:lnTo>
                    <a:lnTo>
                      <a:pt x="122" y="132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2" y="140"/>
                    </a:lnTo>
                    <a:lnTo>
                      <a:pt x="94" y="148"/>
                    </a:lnTo>
                    <a:lnTo>
                      <a:pt x="88" y="158"/>
                    </a:lnTo>
                    <a:lnTo>
                      <a:pt x="86" y="170"/>
                    </a:lnTo>
                    <a:lnTo>
                      <a:pt x="86" y="170"/>
                    </a:lnTo>
                    <a:lnTo>
                      <a:pt x="86" y="176"/>
                    </a:lnTo>
                    <a:lnTo>
                      <a:pt x="88" y="182"/>
                    </a:lnTo>
                    <a:lnTo>
                      <a:pt x="92" y="192"/>
                    </a:lnTo>
                    <a:lnTo>
                      <a:pt x="96" y="194"/>
                    </a:lnTo>
                    <a:lnTo>
                      <a:pt x="102" y="198"/>
                    </a:lnTo>
                    <a:lnTo>
                      <a:pt x="108" y="200"/>
                    </a:lnTo>
                    <a:lnTo>
                      <a:pt x="114" y="200"/>
                    </a:lnTo>
                    <a:lnTo>
                      <a:pt x="114" y="2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11"/>
              <p:cNvSpPr>
                <a:spLocks noEditPoints="1"/>
              </p:cNvSpPr>
              <p:nvPr/>
            </p:nvSpPr>
            <p:spPr bwMode="auto">
              <a:xfrm>
                <a:off x="6092825" y="352425"/>
                <a:ext cx="454025" cy="542925"/>
              </a:xfrm>
              <a:custGeom>
                <a:avLst/>
                <a:gdLst>
                  <a:gd name="T0" fmla="*/ 0 w 286"/>
                  <a:gd name="T1" fmla="*/ 342 h 342"/>
                  <a:gd name="T2" fmla="*/ 24 w 286"/>
                  <a:gd name="T3" fmla="*/ 0 h 342"/>
                  <a:gd name="T4" fmla="*/ 114 w 286"/>
                  <a:gd name="T5" fmla="*/ 0 h 342"/>
                  <a:gd name="T6" fmla="*/ 90 w 286"/>
                  <a:gd name="T7" fmla="*/ 342 h 342"/>
                  <a:gd name="T8" fmla="*/ 0 w 286"/>
                  <a:gd name="T9" fmla="*/ 342 h 342"/>
                  <a:gd name="T10" fmla="*/ 100 w 286"/>
                  <a:gd name="T11" fmla="*/ 210 h 342"/>
                  <a:gd name="T12" fmla="*/ 184 w 286"/>
                  <a:gd name="T13" fmla="*/ 104 h 342"/>
                  <a:gd name="T14" fmla="*/ 286 w 286"/>
                  <a:gd name="T15" fmla="*/ 104 h 342"/>
                  <a:gd name="T16" fmla="*/ 194 w 286"/>
                  <a:gd name="T17" fmla="*/ 204 h 342"/>
                  <a:gd name="T18" fmla="*/ 282 w 286"/>
                  <a:gd name="T19" fmla="*/ 342 h 342"/>
                  <a:gd name="T20" fmla="*/ 170 w 286"/>
                  <a:gd name="T21" fmla="*/ 342 h 342"/>
                  <a:gd name="T22" fmla="*/ 100 w 286"/>
                  <a:gd name="T23" fmla="*/ 21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6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4" y="0"/>
                    </a:lnTo>
                    <a:lnTo>
                      <a:pt x="90" y="342"/>
                    </a:lnTo>
                    <a:lnTo>
                      <a:pt x="0" y="342"/>
                    </a:lnTo>
                    <a:close/>
                    <a:moveTo>
                      <a:pt x="100" y="210"/>
                    </a:moveTo>
                    <a:lnTo>
                      <a:pt x="184" y="104"/>
                    </a:lnTo>
                    <a:lnTo>
                      <a:pt x="286" y="104"/>
                    </a:lnTo>
                    <a:lnTo>
                      <a:pt x="194" y="204"/>
                    </a:lnTo>
                    <a:lnTo>
                      <a:pt x="282" y="342"/>
                    </a:lnTo>
                    <a:lnTo>
                      <a:pt x="170" y="342"/>
                    </a:lnTo>
                    <a:lnTo>
                      <a:pt x="10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12"/>
              <p:cNvSpPr>
                <a:spLocks/>
              </p:cNvSpPr>
              <p:nvPr/>
            </p:nvSpPr>
            <p:spPr bwMode="auto">
              <a:xfrm>
                <a:off x="3606800" y="517525"/>
                <a:ext cx="292100" cy="377825"/>
              </a:xfrm>
              <a:custGeom>
                <a:avLst/>
                <a:gdLst>
                  <a:gd name="T0" fmla="*/ 104 w 184"/>
                  <a:gd name="T1" fmla="*/ 34 h 238"/>
                  <a:gd name="T2" fmla="*/ 106 w 184"/>
                  <a:gd name="T3" fmla="*/ 34 h 238"/>
                  <a:gd name="T4" fmla="*/ 106 w 184"/>
                  <a:gd name="T5" fmla="*/ 34 h 238"/>
                  <a:gd name="T6" fmla="*/ 114 w 184"/>
                  <a:gd name="T7" fmla="*/ 24 h 238"/>
                  <a:gd name="T8" fmla="*/ 124 w 184"/>
                  <a:gd name="T9" fmla="*/ 16 h 238"/>
                  <a:gd name="T10" fmla="*/ 132 w 184"/>
                  <a:gd name="T11" fmla="*/ 10 h 238"/>
                  <a:gd name="T12" fmla="*/ 142 w 184"/>
                  <a:gd name="T13" fmla="*/ 6 h 238"/>
                  <a:gd name="T14" fmla="*/ 152 w 184"/>
                  <a:gd name="T15" fmla="*/ 4 h 238"/>
                  <a:gd name="T16" fmla="*/ 162 w 184"/>
                  <a:gd name="T17" fmla="*/ 2 h 238"/>
                  <a:gd name="T18" fmla="*/ 184 w 184"/>
                  <a:gd name="T19" fmla="*/ 0 h 238"/>
                  <a:gd name="T20" fmla="*/ 178 w 184"/>
                  <a:gd name="T21" fmla="*/ 76 h 238"/>
                  <a:gd name="T22" fmla="*/ 178 w 184"/>
                  <a:gd name="T23" fmla="*/ 76 h 238"/>
                  <a:gd name="T24" fmla="*/ 160 w 184"/>
                  <a:gd name="T25" fmla="*/ 76 h 238"/>
                  <a:gd name="T26" fmla="*/ 160 w 184"/>
                  <a:gd name="T27" fmla="*/ 76 h 238"/>
                  <a:gd name="T28" fmla="*/ 140 w 184"/>
                  <a:gd name="T29" fmla="*/ 78 h 238"/>
                  <a:gd name="T30" fmla="*/ 126 w 184"/>
                  <a:gd name="T31" fmla="*/ 82 h 238"/>
                  <a:gd name="T32" fmla="*/ 116 w 184"/>
                  <a:gd name="T33" fmla="*/ 88 h 238"/>
                  <a:gd name="T34" fmla="*/ 108 w 184"/>
                  <a:gd name="T35" fmla="*/ 98 h 238"/>
                  <a:gd name="T36" fmla="*/ 102 w 184"/>
                  <a:gd name="T37" fmla="*/ 108 h 238"/>
                  <a:gd name="T38" fmla="*/ 100 w 184"/>
                  <a:gd name="T39" fmla="*/ 120 h 238"/>
                  <a:gd name="T40" fmla="*/ 98 w 184"/>
                  <a:gd name="T41" fmla="*/ 148 h 238"/>
                  <a:gd name="T42" fmla="*/ 92 w 184"/>
                  <a:gd name="T43" fmla="*/ 238 h 238"/>
                  <a:gd name="T44" fmla="*/ 0 w 184"/>
                  <a:gd name="T45" fmla="*/ 238 h 238"/>
                  <a:gd name="T46" fmla="*/ 12 w 184"/>
                  <a:gd name="T47" fmla="*/ 62 h 238"/>
                  <a:gd name="T48" fmla="*/ 12 w 184"/>
                  <a:gd name="T49" fmla="*/ 62 h 238"/>
                  <a:gd name="T50" fmla="*/ 14 w 184"/>
                  <a:gd name="T51" fmla="*/ 32 h 238"/>
                  <a:gd name="T52" fmla="*/ 14 w 184"/>
                  <a:gd name="T53" fmla="*/ 0 h 238"/>
                  <a:gd name="T54" fmla="*/ 102 w 184"/>
                  <a:gd name="T55" fmla="*/ 0 h 238"/>
                  <a:gd name="T56" fmla="*/ 104 w 184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4" h="238">
                    <a:moveTo>
                      <a:pt x="104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4" y="24"/>
                    </a:lnTo>
                    <a:lnTo>
                      <a:pt x="124" y="16"/>
                    </a:lnTo>
                    <a:lnTo>
                      <a:pt x="132" y="10"/>
                    </a:lnTo>
                    <a:lnTo>
                      <a:pt x="142" y="6"/>
                    </a:lnTo>
                    <a:lnTo>
                      <a:pt x="152" y="4"/>
                    </a:lnTo>
                    <a:lnTo>
                      <a:pt x="162" y="2"/>
                    </a:lnTo>
                    <a:lnTo>
                      <a:pt x="184" y="0"/>
                    </a:lnTo>
                    <a:lnTo>
                      <a:pt x="178" y="76"/>
                    </a:lnTo>
                    <a:lnTo>
                      <a:pt x="178" y="76"/>
                    </a:lnTo>
                    <a:lnTo>
                      <a:pt x="160" y="76"/>
                    </a:lnTo>
                    <a:lnTo>
                      <a:pt x="160" y="76"/>
                    </a:lnTo>
                    <a:lnTo>
                      <a:pt x="140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2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4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13"/>
              <p:cNvSpPr>
                <a:spLocks/>
              </p:cNvSpPr>
              <p:nvPr/>
            </p:nvSpPr>
            <p:spPr bwMode="auto">
              <a:xfrm>
                <a:off x="3889375" y="352425"/>
                <a:ext cx="174625" cy="542925"/>
              </a:xfrm>
              <a:custGeom>
                <a:avLst/>
                <a:gdLst>
                  <a:gd name="T0" fmla="*/ 0 w 110"/>
                  <a:gd name="T1" fmla="*/ 342 h 342"/>
                  <a:gd name="T2" fmla="*/ 24 w 110"/>
                  <a:gd name="T3" fmla="*/ 0 h 342"/>
                  <a:gd name="T4" fmla="*/ 110 w 110"/>
                  <a:gd name="T5" fmla="*/ 0 h 342"/>
                  <a:gd name="T6" fmla="*/ 86 w 110"/>
                  <a:gd name="T7" fmla="*/ 342 h 342"/>
                  <a:gd name="T8" fmla="*/ 0 w 110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0" y="0"/>
                    </a:lnTo>
                    <a:lnTo>
                      <a:pt x="86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14"/>
              <p:cNvSpPr>
                <a:spLocks noEditPoints="1"/>
              </p:cNvSpPr>
              <p:nvPr/>
            </p:nvSpPr>
            <p:spPr bwMode="auto">
              <a:xfrm>
                <a:off x="2740025" y="352425"/>
                <a:ext cx="438150" cy="546100"/>
              </a:xfrm>
              <a:custGeom>
                <a:avLst/>
                <a:gdLst>
                  <a:gd name="T0" fmla="*/ 112 w 276"/>
                  <a:gd name="T1" fmla="*/ 0 h 344"/>
                  <a:gd name="T2" fmla="*/ 104 w 276"/>
                  <a:gd name="T3" fmla="*/ 136 h 344"/>
                  <a:gd name="T4" fmla="*/ 120 w 276"/>
                  <a:gd name="T5" fmla="*/ 122 h 344"/>
                  <a:gd name="T6" fmla="*/ 146 w 276"/>
                  <a:gd name="T7" fmla="*/ 104 h 344"/>
                  <a:gd name="T8" fmla="*/ 168 w 276"/>
                  <a:gd name="T9" fmla="*/ 98 h 344"/>
                  <a:gd name="T10" fmla="*/ 180 w 276"/>
                  <a:gd name="T11" fmla="*/ 98 h 344"/>
                  <a:gd name="T12" fmla="*/ 206 w 276"/>
                  <a:gd name="T13" fmla="*/ 100 h 344"/>
                  <a:gd name="T14" fmla="*/ 226 w 276"/>
                  <a:gd name="T15" fmla="*/ 108 h 344"/>
                  <a:gd name="T16" fmla="*/ 244 w 276"/>
                  <a:gd name="T17" fmla="*/ 120 h 344"/>
                  <a:gd name="T18" fmla="*/ 258 w 276"/>
                  <a:gd name="T19" fmla="*/ 136 h 344"/>
                  <a:gd name="T20" fmla="*/ 274 w 276"/>
                  <a:gd name="T21" fmla="*/ 176 h 344"/>
                  <a:gd name="T22" fmla="*/ 276 w 276"/>
                  <a:gd name="T23" fmla="*/ 220 h 344"/>
                  <a:gd name="T24" fmla="*/ 274 w 276"/>
                  <a:gd name="T25" fmla="*/ 242 h 344"/>
                  <a:gd name="T26" fmla="*/ 260 w 276"/>
                  <a:gd name="T27" fmla="*/ 284 h 344"/>
                  <a:gd name="T28" fmla="*/ 240 w 276"/>
                  <a:gd name="T29" fmla="*/ 312 h 344"/>
                  <a:gd name="T30" fmla="*/ 222 w 276"/>
                  <a:gd name="T31" fmla="*/ 328 h 344"/>
                  <a:gd name="T32" fmla="*/ 202 w 276"/>
                  <a:gd name="T33" fmla="*/ 338 h 344"/>
                  <a:gd name="T34" fmla="*/ 176 w 276"/>
                  <a:gd name="T35" fmla="*/ 344 h 344"/>
                  <a:gd name="T36" fmla="*/ 160 w 276"/>
                  <a:gd name="T37" fmla="*/ 344 h 344"/>
                  <a:gd name="T38" fmla="*/ 140 w 276"/>
                  <a:gd name="T39" fmla="*/ 342 h 344"/>
                  <a:gd name="T40" fmla="*/ 106 w 276"/>
                  <a:gd name="T41" fmla="*/ 324 h 344"/>
                  <a:gd name="T42" fmla="*/ 92 w 276"/>
                  <a:gd name="T43" fmla="*/ 312 h 344"/>
                  <a:gd name="T44" fmla="*/ 0 w 276"/>
                  <a:gd name="T45" fmla="*/ 342 h 344"/>
                  <a:gd name="T46" fmla="*/ 94 w 276"/>
                  <a:gd name="T47" fmla="*/ 226 h 344"/>
                  <a:gd name="T48" fmla="*/ 96 w 276"/>
                  <a:gd name="T49" fmla="*/ 250 h 344"/>
                  <a:gd name="T50" fmla="*/ 102 w 276"/>
                  <a:gd name="T51" fmla="*/ 272 h 344"/>
                  <a:gd name="T52" fmla="*/ 114 w 276"/>
                  <a:gd name="T53" fmla="*/ 288 h 344"/>
                  <a:gd name="T54" fmla="*/ 134 w 276"/>
                  <a:gd name="T55" fmla="*/ 296 h 344"/>
                  <a:gd name="T56" fmla="*/ 148 w 276"/>
                  <a:gd name="T57" fmla="*/ 294 h 344"/>
                  <a:gd name="T58" fmla="*/ 168 w 276"/>
                  <a:gd name="T59" fmla="*/ 282 h 344"/>
                  <a:gd name="T60" fmla="*/ 180 w 276"/>
                  <a:gd name="T61" fmla="*/ 260 h 344"/>
                  <a:gd name="T62" fmla="*/ 186 w 276"/>
                  <a:gd name="T63" fmla="*/ 222 h 344"/>
                  <a:gd name="T64" fmla="*/ 186 w 276"/>
                  <a:gd name="T65" fmla="*/ 198 h 344"/>
                  <a:gd name="T66" fmla="*/ 180 w 276"/>
                  <a:gd name="T67" fmla="*/ 174 h 344"/>
                  <a:gd name="T68" fmla="*/ 168 w 276"/>
                  <a:gd name="T69" fmla="*/ 156 h 344"/>
                  <a:gd name="T70" fmla="*/ 146 w 276"/>
                  <a:gd name="T71" fmla="*/ 150 h 344"/>
                  <a:gd name="T72" fmla="*/ 132 w 276"/>
                  <a:gd name="T73" fmla="*/ 152 h 344"/>
                  <a:gd name="T74" fmla="*/ 112 w 276"/>
                  <a:gd name="T75" fmla="*/ 166 h 344"/>
                  <a:gd name="T76" fmla="*/ 100 w 276"/>
                  <a:gd name="T77" fmla="*/ 188 h 344"/>
                  <a:gd name="T78" fmla="*/ 94 w 276"/>
                  <a:gd name="T79" fmla="*/ 226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6" h="344">
                    <a:moveTo>
                      <a:pt x="24" y="0"/>
                    </a:moveTo>
                    <a:lnTo>
                      <a:pt x="112" y="0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20" y="122"/>
                    </a:lnTo>
                    <a:lnTo>
                      <a:pt x="138" y="108"/>
                    </a:lnTo>
                    <a:lnTo>
                      <a:pt x="146" y="104"/>
                    </a:lnTo>
                    <a:lnTo>
                      <a:pt x="158" y="100"/>
                    </a:lnTo>
                    <a:lnTo>
                      <a:pt x="168" y="98"/>
                    </a:lnTo>
                    <a:lnTo>
                      <a:pt x="180" y="98"/>
                    </a:lnTo>
                    <a:lnTo>
                      <a:pt x="180" y="98"/>
                    </a:lnTo>
                    <a:lnTo>
                      <a:pt x="194" y="98"/>
                    </a:lnTo>
                    <a:lnTo>
                      <a:pt x="206" y="100"/>
                    </a:lnTo>
                    <a:lnTo>
                      <a:pt x="216" y="104"/>
                    </a:lnTo>
                    <a:lnTo>
                      <a:pt x="226" y="108"/>
                    </a:lnTo>
                    <a:lnTo>
                      <a:pt x="236" y="114"/>
                    </a:lnTo>
                    <a:lnTo>
                      <a:pt x="244" y="120"/>
                    </a:lnTo>
                    <a:lnTo>
                      <a:pt x="250" y="128"/>
                    </a:lnTo>
                    <a:lnTo>
                      <a:pt x="258" y="136"/>
                    </a:lnTo>
                    <a:lnTo>
                      <a:pt x="266" y="156"/>
                    </a:lnTo>
                    <a:lnTo>
                      <a:pt x="274" y="176"/>
                    </a:lnTo>
                    <a:lnTo>
                      <a:pt x="276" y="198"/>
                    </a:lnTo>
                    <a:lnTo>
                      <a:pt x="276" y="220"/>
                    </a:lnTo>
                    <a:lnTo>
                      <a:pt x="276" y="220"/>
                    </a:lnTo>
                    <a:lnTo>
                      <a:pt x="274" y="242"/>
                    </a:lnTo>
                    <a:lnTo>
                      <a:pt x="268" y="264"/>
                    </a:lnTo>
                    <a:lnTo>
                      <a:pt x="260" y="284"/>
                    </a:lnTo>
                    <a:lnTo>
                      <a:pt x="248" y="304"/>
                    </a:lnTo>
                    <a:lnTo>
                      <a:pt x="240" y="312"/>
                    </a:lnTo>
                    <a:lnTo>
                      <a:pt x="232" y="320"/>
                    </a:lnTo>
                    <a:lnTo>
                      <a:pt x="222" y="328"/>
                    </a:lnTo>
                    <a:lnTo>
                      <a:pt x="212" y="334"/>
                    </a:lnTo>
                    <a:lnTo>
                      <a:pt x="202" y="338"/>
                    </a:lnTo>
                    <a:lnTo>
                      <a:pt x="188" y="342"/>
                    </a:lnTo>
                    <a:lnTo>
                      <a:pt x="176" y="344"/>
                    </a:lnTo>
                    <a:lnTo>
                      <a:pt x="160" y="344"/>
                    </a:lnTo>
                    <a:lnTo>
                      <a:pt x="160" y="344"/>
                    </a:lnTo>
                    <a:lnTo>
                      <a:pt x="150" y="344"/>
                    </a:lnTo>
                    <a:lnTo>
                      <a:pt x="140" y="342"/>
                    </a:lnTo>
                    <a:lnTo>
                      <a:pt x="122" y="336"/>
                    </a:lnTo>
                    <a:lnTo>
                      <a:pt x="106" y="324"/>
                    </a:lnTo>
                    <a:lnTo>
                      <a:pt x="94" y="312"/>
                    </a:lnTo>
                    <a:lnTo>
                      <a:pt x="92" y="312"/>
                    </a:lnTo>
                    <a:lnTo>
                      <a:pt x="88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  <a:moveTo>
                      <a:pt x="94" y="226"/>
                    </a:moveTo>
                    <a:lnTo>
                      <a:pt x="94" y="226"/>
                    </a:lnTo>
                    <a:lnTo>
                      <a:pt x="96" y="250"/>
                    </a:lnTo>
                    <a:lnTo>
                      <a:pt x="98" y="260"/>
                    </a:lnTo>
                    <a:lnTo>
                      <a:pt x="102" y="272"/>
                    </a:lnTo>
                    <a:lnTo>
                      <a:pt x="106" y="282"/>
                    </a:lnTo>
                    <a:lnTo>
                      <a:pt x="114" y="288"/>
                    </a:lnTo>
                    <a:lnTo>
                      <a:pt x="122" y="294"/>
                    </a:lnTo>
                    <a:lnTo>
                      <a:pt x="134" y="296"/>
                    </a:lnTo>
                    <a:lnTo>
                      <a:pt x="134" y="296"/>
                    </a:lnTo>
                    <a:lnTo>
                      <a:pt x="148" y="294"/>
                    </a:lnTo>
                    <a:lnTo>
                      <a:pt x="158" y="288"/>
                    </a:lnTo>
                    <a:lnTo>
                      <a:pt x="168" y="282"/>
                    </a:lnTo>
                    <a:lnTo>
                      <a:pt x="174" y="272"/>
                    </a:lnTo>
                    <a:lnTo>
                      <a:pt x="180" y="260"/>
                    </a:lnTo>
                    <a:lnTo>
                      <a:pt x="184" y="248"/>
                    </a:lnTo>
                    <a:lnTo>
                      <a:pt x="186" y="222"/>
                    </a:lnTo>
                    <a:lnTo>
                      <a:pt x="186" y="222"/>
                    </a:lnTo>
                    <a:lnTo>
                      <a:pt x="186" y="198"/>
                    </a:lnTo>
                    <a:lnTo>
                      <a:pt x="184" y="186"/>
                    </a:lnTo>
                    <a:lnTo>
                      <a:pt x="180" y="174"/>
                    </a:lnTo>
                    <a:lnTo>
                      <a:pt x="176" y="164"/>
                    </a:lnTo>
                    <a:lnTo>
                      <a:pt x="168" y="156"/>
                    </a:lnTo>
                    <a:lnTo>
                      <a:pt x="158" y="152"/>
                    </a:lnTo>
                    <a:lnTo>
                      <a:pt x="146" y="150"/>
                    </a:lnTo>
                    <a:lnTo>
                      <a:pt x="146" y="150"/>
                    </a:lnTo>
                    <a:lnTo>
                      <a:pt x="132" y="152"/>
                    </a:lnTo>
                    <a:lnTo>
                      <a:pt x="120" y="156"/>
                    </a:lnTo>
                    <a:lnTo>
                      <a:pt x="112" y="166"/>
                    </a:lnTo>
                    <a:lnTo>
                      <a:pt x="104" y="176"/>
                    </a:lnTo>
                    <a:lnTo>
                      <a:pt x="100" y="188"/>
                    </a:lnTo>
                    <a:lnTo>
                      <a:pt x="98" y="200"/>
                    </a:lnTo>
                    <a:lnTo>
                      <a:pt x="94" y="226"/>
                    </a:lnTo>
                    <a:lnTo>
                      <a:pt x="94" y="2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15"/>
              <p:cNvSpPr>
                <a:spLocks noEditPoints="1"/>
              </p:cNvSpPr>
              <p:nvPr/>
            </p:nvSpPr>
            <p:spPr bwMode="auto">
              <a:xfrm>
                <a:off x="3197225" y="504825"/>
                <a:ext cx="406400" cy="396875"/>
              </a:xfrm>
              <a:custGeom>
                <a:avLst/>
                <a:gdLst>
                  <a:gd name="T0" fmla="*/ 86 w 256"/>
                  <a:gd name="T1" fmla="*/ 142 h 250"/>
                  <a:gd name="T2" fmla="*/ 86 w 256"/>
                  <a:gd name="T3" fmla="*/ 166 h 250"/>
                  <a:gd name="T4" fmla="*/ 90 w 256"/>
                  <a:gd name="T5" fmla="*/ 184 h 250"/>
                  <a:gd name="T6" fmla="*/ 102 w 256"/>
                  <a:gd name="T7" fmla="*/ 196 h 250"/>
                  <a:gd name="T8" fmla="*/ 124 w 256"/>
                  <a:gd name="T9" fmla="*/ 202 h 250"/>
                  <a:gd name="T10" fmla="*/ 132 w 256"/>
                  <a:gd name="T11" fmla="*/ 200 h 250"/>
                  <a:gd name="T12" fmla="*/ 148 w 256"/>
                  <a:gd name="T13" fmla="*/ 196 h 250"/>
                  <a:gd name="T14" fmla="*/ 158 w 256"/>
                  <a:gd name="T15" fmla="*/ 186 h 250"/>
                  <a:gd name="T16" fmla="*/ 164 w 256"/>
                  <a:gd name="T17" fmla="*/ 174 h 250"/>
                  <a:gd name="T18" fmla="*/ 248 w 256"/>
                  <a:gd name="T19" fmla="*/ 170 h 250"/>
                  <a:gd name="T20" fmla="*/ 246 w 256"/>
                  <a:gd name="T21" fmla="*/ 180 h 250"/>
                  <a:gd name="T22" fmla="*/ 238 w 256"/>
                  <a:gd name="T23" fmla="*/ 198 h 250"/>
                  <a:gd name="T24" fmla="*/ 218 w 256"/>
                  <a:gd name="T25" fmla="*/ 222 h 250"/>
                  <a:gd name="T26" fmla="*/ 202 w 256"/>
                  <a:gd name="T27" fmla="*/ 234 h 250"/>
                  <a:gd name="T28" fmla="*/ 168 w 256"/>
                  <a:gd name="T29" fmla="*/ 246 h 250"/>
                  <a:gd name="T30" fmla="*/ 128 w 256"/>
                  <a:gd name="T31" fmla="*/ 250 h 250"/>
                  <a:gd name="T32" fmla="*/ 96 w 256"/>
                  <a:gd name="T33" fmla="*/ 248 h 250"/>
                  <a:gd name="T34" fmla="*/ 66 w 256"/>
                  <a:gd name="T35" fmla="*/ 242 h 250"/>
                  <a:gd name="T36" fmla="*/ 44 w 256"/>
                  <a:gd name="T37" fmla="*/ 232 h 250"/>
                  <a:gd name="T38" fmla="*/ 26 w 256"/>
                  <a:gd name="T39" fmla="*/ 218 h 250"/>
                  <a:gd name="T40" fmla="*/ 12 w 256"/>
                  <a:gd name="T41" fmla="*/ 200 h 250"/>
                  <a:gd name="T42" fmla="*/ 4 w 256"/>
                  <a:gd name="T43" fmla="*/ 178 h 250"/>
                  <a:gd name="T44" fmla="*/ 0 w 256"/>
                  <a:gd name="T45" fmla="*/ 150 h 250"/>
                  <a:gd name="T46" fmla="*/ 0 w 256"/>
                  <a:gd name="T47" fmla="*/ 118 h 250"/>
                  <a:gd name="T48" fmla="*/ 4 w 256"/>
                  <a:gd name="T49" fmla="*/ 92 h 250"/>
                  <a:gd name="T50" fmla="*/ 14 w 256"/>
                  <a:gd name="T51" fmla="*/ 68 h 250"/>
                  <a:gd name="T52" fmla="*/ 26 w 256"/>
                  <a:gd name="T53" fmla="*/ 48 h 250"/>
                  <a:gd name="T54" fmla="*/ 44 w 256"/>
                  <a:gd name="T55" fmla="*/ 32 h 250"/>
                  <a:gd name="T56" fmla="*/ 86 w 256"/>
                  <a:gd name="T57" fmla="*/ 8 h 250"/>
                  <a:gd name="T58" fmla="*/ 138 w 256"/>
                  <a:gd name="T59" fmla="*/ 0 h 250"/>
                  <a:gd name="T60" fmla="*/ 154 w 256"/>
                  <a:gd name="T61" fmla="*/ 2 h 250"/>
                  <a:gd name="T62" fmla="*/ 184 w 256"/>
                  <a:gd name="T63" fmla="*/ 6 h 250"/>
                  <a:gd name="T64" fmla="*/ 208 w 256"/>
                  <a:gd name="T65" fmla="*/ 18 h 250"/>
                  <a:gd name="T66" fmla="*/ 228 w 256"/>
                  <a:gd name="T67" fmla="*/ 32 h 250"/>
                  <a:gd name="T68" fmla="*/ 242 w 256"/>
                  <a:gd name="T69" fmla="*/ 50 h 250"/>
                  <a:gd name="T70" fmla="*/ 250 w 256"/>
                  <a:gd name="T71" fmla="*/ 72 h 250"/>
                  <a:gd name="T72" fmla="*/ 256 w 256"/>
                  <a:gd name="T73" fmla="*/ 112 h 250"/>
                  <a:gd name="T74" fmla="*/ 86 w 256"/>
                  <a:gd name="T75" fmla="*/ 142 h 250"/>
                  <a:gd name="T76" fmla="*/ 172 w 256"/>
                  <a:gd name="T77" fmla="*/ 98 h 250"/>
                  <a:gd name="T78" fmla="*/ 170 w 256"/>
                  <a:gd name="T79" fmla="*/ 78 h 250"/>
                  <a:gd name="T80" fmla="*/ 164 w 256"/>
                  <a:gd name="T81" fmla="*/ 62 h 250"/>
                  <a:gd name="T82" fmla="*/ 158 w 256"/>
                  <a:gd name="T83" fmla="*/ 56 h 250"/>
                  <a:gd name="T84" fmla="*/ 142 w 256"/>
                  <a:gd name="T85" fmla="*/ 48 h 250"/>
                  <a:gd name="T86" fmla="*/ 134 w 256"/>
                  <a:gd name="T87" fmla="*/ 46 h 250"/>
                  <a:gd name="T88" fmla="*/ 114 w 256"/>
                  <a:gd name="T89" fmla="*/ 52 h 250"/>
                  <a:gd name="T90" fmla="*/ 102 w 256"/>
                  <a:gd name="T91" fmla="*/ 62 h 250"/>
                  <a:gd name="T92" fmla="*/ 94 w 256"/>
                  <a:gd name="T93" fmla="*/ 78 h 250"/>
                  <a:gd name="T94" fmla="*/ 172 w 256"/>
                  <a:gd name="T95" fmla="*/ 98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6" h="250">
                    <a:moveTo>
                      <a:pt x="86" y="142"/>
                    </a:moveTo>
                    <a:lnTo>
                      <a:pt x="86" y="142"/>
                    </a:lnTo>
                    <a:lnTo>
                      <a:pt x="84" y="154"/>
                    </a:lnTo>
                    <a:lnTo>
                      <a:pt x="86" y="166"/>
                    </a:lnTo>
                    <a:lnTo>
                      <a:pt x="88" y="176"/>
                    </a:lnTo>
                    <a:lnTo>
                      <a:pt x="90" y="184"/>
                    </a:lnTo>
                    <a:lnTo>
                      <a:pt x="96" y="192"/>
                    </a:lnTo>
                    <a:lnTo>
                      <a:pt x="102" y="196"/>
                    </a:lnTo>
                    <a:lnTo>
                      <a:pt x="112" y="200"/>
                    </a:lnTo>
                    <a:lnTo>
                      <a:pt x="124" y="202"/>
                    </a:lnTo>
                    <a:lnTo>
                      <a:pt x="124" y="202"/>
                    </a:lnTo>
                    <a:lnTo>
                      <a:pt x="132" y="200"/>
                    </a:lnTo>
                    <a:lnTo>
                      <a:pt x="140" y="198"/>
                    </a:lnTo>
                    <a:lnTo>
                      <a:pt x="148" y="196"/>
                    </a:lnTo>
                    <a:lnTo>
                      <a:pt x="154" y="192"/>
                    </a:lnTo>
                    <a:lnTo>
                      <a:pt x="158" y="186"/>
                    </a:lnTo>
                    <a:lnTo>
                      <a:pt x="162" y="180"/>
                    </a:lnTo>
                    <a:lnTo>
                      <a:pt x="164" y="174"/>
                    </a:lnTo>
                    <a:lnTo>
                      <a:pt x="164" y="170"/>
                    </a:lnTo>
                    <a:lnTo>
                      <a:pt x="248" y="170"/>
                    </a:lnTo>
                    <a:lnTo>
                      <a:pt x="248" y="170"/>
                    </a:lnTo>
                    <a:lnTo>
                      <a:pt x="246" y="180"/>
                    </a:lnTo>
                    <a:lnTo>
                      <a:pt x="242" y="190"/>
                    </a:lnTo>
                    <a:lnTo>
                      <a:pt x="238" y="198"/>
                    </a:lnTo>
                    <a:lnTo>
                      <a:pt x="232" y="208"/>
                    </a:lnTo>
                    <a:lnTo>
                      <a:pt x="218" y="222"/>
                    </a:lnTo>
                    <a:lnTo>
                      <a:pt x="202" y="234"/>
                    </a:lnTo>
                    <a:lnTo>
                      <a:pt x="202" y="234"/>
                    </a:lnTo>
                    <a:lnTo>
                      <a:pt x="186" y="242"/>
                    </a:lnTo>
                    <a:lnTo>
                      <a:pt x="168" y="246"/>
                    </a:lnTo>
                    <a:lnTo>
                      <a:pt x="148" y="248"/>
                    </a:lnTo>
                    <a:lnTo>
                      <a:pt x="128" y="250"/>
                    </a:lnTo>
                    <a:lnTo>
                      <a:pt x="128" y="250"/>
                    </a:lnTo>
                    <a:lnTo>
                      <a:pt x="96" y="248"/>
                    </a:lnTo>
                    <a:lnTo>
                      <a:pt x="80" y="244"/>
                    </a:lnTo>
                    <a:lnTo>
                      <a:pt x="66" y="242"/>
                    </a:lnTo>
                    <a:lnTo>
                      <a:pt x="54" y="238"/>
                    </a:lnTo>
                    <a:lnTo>
                      <a:pt x="44" y="232"/>
                    </a:lnTo>
                    <a:lnTo>
                      <a:pt x="34" y="226"/>
                    </a:lnTo>
                    <a:lnTo>
                      <a:pt x="26" y="218"/>
                    </a:lnTo>
                    <a:lnTo>
                      <a:pt x="18" y="210"/>
                    </a:lnTo>
                    <a:lnTo>
                      <a:pt x="12" y="200"/>
                    </a:lnTo>
                    <a:lnTo>
                      <a:pt x="8" y="190"/>
                    </a:lnTo>
                    <a:lnTo>
                      <a:pt x="4" y="178"/>
                    </a:lnTo>
                    <a:lnTo>
                      <a:pt x="2" y="164"/>
                    </a:lnTo>
                    <a:lnTo>
                      <a:pt x="0" y="150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2" y="106"/>
                    </a:lnTo>
                    <a:lnTo>
                      <a:pt x="4" y="92"/>
                    </a:lnTo>
                    <a:lnTo>
                      <a:pt x="8" y="80"/>
                    </a:lnTo>
                    <a:lnTo>
                      <a:pt x="14" y="68"/>
                    </a:lnTo>
                    <a:lnTo>
                      <a:pt x="20" y="58"/>
                    </a:lnTo>
                    <a:lnTo>
                      <a:pt x="26" y="48"/>
                    </a:lnTo>
                    <a:lnTo>
                      <a:pt x="34" y="40"/>
                    </a:lnTo>
                    <a:lnTo>
                      <a:pt x="44" y="32"/>
                    </a:lnTo>
                    <a:lnTo>
                      <a:pt x="64" y="18"/>
                    </a:lnTo>
                    <a:lnTo>
                      <a:pt x="86" y="8"/>
                    </a:lnTo>
                    <a:lnTo>
                      <a:pt x="110" y="2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4" y="2"/>
                    </a:lnTo>
                    <a:lnTo>
                      <a:pt x="170" y="4"/>
                    </a:lnTo>
                    <a:lnTo>
                      <a:pt x="184" y="6"/>
                    </a:lnTo>
                    <a:lnTo>
                      <a:pt x="196" y="12"/>
                    </a:lnTo>
                    <a:lnTo>
                      <a:pt x="208" y="18"/>
                    </a:lnTo>
                    <a:lnTo>
                      <a:pt x="218" y="24"/>
                    </a:lnTo>
                    <a:lnTo>
                      <a:pt x="228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46" y="60"/>
                    </a:lnTo>
                    <a:lnTo>
                      <a:pt x="250" y="72"/>
                    </a:lnTo>
                    <a:lnTo>
                      <a:pt x="254" y="84"/>
                    </a:lnTo>
                    <a:lnTo>
                      <a:pt x="256" y="112"/>
                    </a:lnTo>
                    <a:lnTo>
                      <a:pt x="254" y="142"/>
                    </a:lnTo>
                    <a:lnTo>
                      <a:pt x="86" y="142"/>
                    </a:lnTo>
                    <a:close/>
                    <a:moveTo>
                      <a:pt x="172" y="98"/>
                    </a:moveTo>
                    <a:lnTo>
                      <a:pt x="172" y="98"/>
                    </a:lnTo>
                    <a:lnTo>
                      <a:pt x="172" y="88"/>
                    </a:lnTo>
                    <a:lnTo>
                      <a:pt x="170" y="78"/>
                    </a:lnTo>
                    <a:lnTo>
                      <a:pt x="168" y="70"/>
                    </a:lnTo>
                    <a:lnTo>
                      <a:pt x="164" y="62"/>
                    </a:lnTo>
                    <a:lnTo>
                      <a:pt x="164" y="62"/>
                    </a:lnTo>
                    <a:lnTo>
                      <a:pt x="158" y="56"/>
                    </a:lnTo>
                    <a:lnTo>
                      <a:pt x="150" y="50"/>
                    </a:lnTo>
                    <a:lnTo>
                      <a:pt x="142" y="48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22" y="48"/>
                    </a:lnTo>
                    <a:lnTo>
                      <a:pt x="114" y="52"/>
                    </a:lnTo>
                    <a:lnTo>
                      <a:pt x="106" y="56"/>
                    </a:lnTo>
                    <a:lnTo>
                      <a:pt x="102" y="62"/>
                    </a:lnTo>
                    <a:lnTo>
                      <a:pt x="96" y="70"/>
                    </a:lnTo>
                    <a:lnTo>
                      <a:pt x="94" y="78"/>
                    </a:lnTo>
                    <a:lnTo>
                      <a:pt x="90" y="98"/>
                    </a:lnTo>
                    <a:lnTo>
                      <a:pt x="172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16"/>
              <p:cNvSpPr>
                <a:spLocks/>
              </p:cNvSpPr>
              <p:nvPr/>
            </p:nvSpPr>
            <p:spPr bwMode="auto">
              <a:xfrm>
                <a:off x="1314450" y="352425"/>
                <a:ext cx="196850" cy="542925"/>
              </a:xfrm>
              <a:custGeom>
                <a:avLst/>
                <a:gdLst>
                  <a:gd name="T0" fmla="*/ 24 w 124"/>
                  <a:gd name="T1" fmla="*/ 0 h 342"/>
                  <a:gd name="T2" fmla="*/ 124 w 124"/>
                  <a:gd name="T3" fmla="*/ 0 h 342"/>
                  <a:gd name="T4" fmla="*/ 100 w 124"/>
                  <a:gd name="T5" fmla="*/ 342 h 342"/>
                  <a:gd name="T6" fmla="*/ 0 w 124"/>
                  <a:gd name="T7" fmla="*/ 342 h 342"/>
                  <a:gd name="T8" fmla="*/ 24 w 124"/>
                  <a:gd name="T9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342">
                    <a:moveTo>
                      <a:pt x="24" y="0"/>
                    </a:moveTo>
                    <a:lnTo>
                      <a:pt x="124" y="0"/>
                    </a:lnTo>
                    <a:lnTo>
                      <a:pt x="100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17"/>
              <p:cNvSpPr>
                <a:spLocks/>
              </p:cNvSpPr>
              <p:nvPr/>
            </p:nvSpPr>
            <p:spPr bwMode="auto">
              <a:xfrm>
                <a:off x="1498600" y="352425"/>
                <a:ext cx="368300" cy="542925"/>
              </a:xfrm>
              <a:custGeom>
                <a:avLst/>
                <a:gdLst>
                  <a:gd name="T0" fmla="*/ 120 w 232"/>
                  <a:gd name="T1" fmla="*/ 0 h 342"/>
                  <a:gd name="T2" fmla="*/ 0 w 232"/>
                  <a:gd name="T3" fmla="*/ 152 h 342"/>
                  <a:gd name="T4" fmla="*/ 106 w 232"/>
                  <a:gd name="T5" fmla="*/ 342 h 342"/>
                  <a:gd name="T6" fmla="*/ 226 w 232"/>
                  <a:gd name="T7" fmla="*/ 342 h 342"/>
                  <a:gd name="T8" fmla="*/ 106 w 232"/>
                  <a:gd name="T9" fmla="*/ 148 h 342"/>
                  <a:gd name="T10" fmla="*/ 232 w 232"/>
                  <a:gd name="T11" fmla="*/ 0 h 342"/>
                  <a:gd name="T12" fmla="*/ 120 w 232"/>
                  <a:gd name="T13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2" h="342">
                    <a:moveTo>
                      <a:pt x="120" y="0"/>
                    </a:moveTo>
                    <a:lnTo>
                      <a:pt x="0" y="152"/>
                    </a:lnTo>
                    <a:lnTo>
                      <a:pt x="106" y="342"/>
                    </a:lnTo>
                    <a:lnTo>
                      <a:pt x="226" y="342"/>
                    </a:lnTo>
                    <a:lnTo>
                      <a:pt x="106" y="148"/>
                    </a:lnTo>
                    <a:lnTo>
                      <a:pt x="232" y="0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18"/>
              <p:cNvSpPr>
                <a:spLocks/>
              </p:cNvSpPr>
              <p:nvPr/>
            </p:nvSpPr>
            <p:spPr bwMode="auto">
              <a:xfrm>
                <a:off x="1876425" y="517525"/>
                <a:ext cx="158750" cy="377825"/>
              </a:xfrm>
              <a:custGeom>
                <a:avLst/>
                <a:gdLst>
                  <a:gd name="T0" fmla="*/ 16 w 100"/>
                  <a:gd name="T1" fmla="*/ 0 h 238"/>
                  <a:gd name="T2" fmla="*/ 100 w 100"/>
                  <a:gd name="T3" fmla="*/ 0 h 238"/>
                  <a:gd name="T4" fmla="*/ 84 w 100"/>
                  <a:gd name="T5" fmla="*/ 238 h 238"/>
                  <a:gd name="T6" fmla="*/ 0 w 100"/>
                  <a:gd name="T7" fmla="*/ 238 h 238"/>
                  <a:gd name="T8" fmla="*/ 16 w 100"/>
                  <a:gd name="T9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238">
                    <a:moveTo>
                      <a:pt x="16" y="0"/>
                    </a:moveTo>
                    <a:lnTo>
                      <a:pt x="100" y="0"/>
                    </a:lnTo>
                    <a:lnTo>
                      <a:pt x="84" y="238"/>
                    </a:lnTo>
                    <a:lnTo>
                      <a:pt x="0" y="238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19"/>
              <p:cNvSpPr>
                <a:spLocks/>
              </p:cNvSpPr>
              <p:nvPr/>
            </p:nvSpPr>
            <p:spPr bwMode="auto">
              <a:xfrm>
                <a:off x="2038350" y="504825"/>
                <a:ext cx="692150" cy="390525"/>
              </a:xfrm>
              <a:custGeom>
                <a:avLst/>
                <a:gdLst>
                  <a:gd name="T0" fmla="*/ 106 w 436"/>
                  <a:gd name="T1" fmla="*/ 40 h 246"/>
                  <a:gd name="T2" fmla="*/ 106 w 436"/>
                  <a:gd name="T3" fmla="*/ 40 h 246"/>
                  <a:gd name="T4" fmla="*/ 128 w 436"/>
                  <a:gd name="T5" fmla="*/ 20 h 246"/>
                  <a:gd name="T6" fmla="*/ 150 w 436"/>
                  <a:gd name="T7" fmla="*/ 8 h 246"/>
                  <a:gd name="T8" fmla="*/ 172 w 436"/>
                  <a:gd name="T9" fmla="*/ 2 h 246"/>
                  <a:gd name="T10" fmla="*/ 192 w 436"/>
                  <a:gd name="T11" fmla="*/ 2 h 246"/>
                  <a:gd name="T12" fmla="*/ 216 w 436"/>
                  <a:gd name="T13" fmla="*/ 6 h 246"/>
                  <a:gd name="T14" fmla="*/ 238 w 436"/>
                  <a:gd name="T15" fmla="*/ 14 h 246"/>
                  <a:gd name="T16" fmla="*/ 254 w 436"/>
                  <a:gd name="T17" fmla="*/ 28 h 246"/>
                  <a:gd name="T18" fmla="*/ 264 w 436"/>
                  <a:gd name="T19" fmla="*/ 44 h 246"/>
                  <a:gd name="T20" fmla="*/ 272 w 436"/>
                  <a:gd name="T21" fmla="*/ 34 h 246"/>
                  <a:gd name="T22" fmla="*/ 290 w 436"/>
                  <a:gd name="T23" fmla="*/ 18 h 246"/>
                  <a:gd name="T24" fmla="*/ 312 w 436"/>
                  <a:gd name="T25" fmla="*/ 8 h 246"/>
                  <a:gd name="T26" fmla="*/ 338 w 436"/>
                  <a:gd name="T27" fmla="*/ 2 h 246"/>
                  <a:gd name="T28" fmla="*/ 352 w 436"/>
                  <a:gd name="T29" fmla="*/ 0 h 246"/>
                  <a:gd name="T30" fmla="*/ 386 w 436"/>
                  <a:gd name="T31" fmla="*/ 6 h 246"/>
                  <a:gd name="T32" fmla="*/ 414 w 436"/>
                  <a:gd name="T33" fmla="*/ 24 h 246"/>
                  <a:gd name="T34" fmla="*/ 432 w 436"/>
                  <a:gd name="T35" fmla="*/ 50 h 246"/>
                  <a:gd name="T36" fmla="*/ 436 w 436"/>
                  <a:gd name="T37" fmla="*/ 86 h 246"/>
                  <a:gd name="T38" fmla="*/ 332 w 436"/>
                  <a:gd name="T39" fmla="*/ 246 h 246"/>
                  <a:gd name="T40" fmla="*/ 342 w 436"/>
                  <a:gd name="T41" fmla="*/ 106 h 246"/>
                  <a:gd name="T42" fmla="*/ 342 w 436"/>
                  <a:gd name="T43" fmla="*/ 80 h 246"/>
                  <a:gd name="T44" fmla="*/ 336 w 436"/>
                  <a:gd name="T45" fmla="*/ 66 h 246"/>
                  <a:gd name="T46" fmla="*/ 322 w 436"/>
                  <a:gd name="T47" fmla="*/ 58 h 246"/>
                  <a:gd name="T48" fmla="*/ 312 w 436"/>
                  <a:gd name="T49" fmla="*/ 58 h 246"/>
                  <a:gd name="T50" fmla="*/ 288 w 436"/>
                  <a:gd name="T51" fmla="*/ 66 h 246"/>
                  <a:gd name="T52" fmla="*/ 276 w 436"/>
                  <a:gd name="T53" fmla="*/ 82 h 246"/>
                  <a:gd name="T54" fmla="*/ 270 w 436"/>
                  <a:gd name="T55" fmla="*/ 100 h 246"/>
                  <a:gd name="T56" fmla="*/ 260 w 436"/>
                  <a:gd name="T57" fmla="*/ 246 h 246"/>
                  <a:gd name="T58" fmla="*/ 180 w 436"/>
                  <a:gd name="T59" fmla="*/ 106 h 246"/>
                  <a:gd name="T60" fmla="*/ 178 w 436"/>
                  <a:gd name="T61" fmla="*/ 88 h 246"/>
                  <a:gd name="T62" fmla="*/ 174 w 436"/>
                  <a:gd name="T63" fmla="*/ 72 h 246"/>
                  <a:gd name="T64" fmla="*/ 164 w 436"/>
                  <a:gd name="T65" fmla="*/ 62 h 246"/>
                  <a:gd name="T66" fmla="*/ 148 w 436"/>
                  <a:gd name="T67" fmla="*/ 58 h 246"/>
                  <a:gd name="T68" fmla="*/ 132 w 436"/>
                  <a:gd name="T69" fmla="*/ 60 h 246"/>
                  <a:gd name="T70" fmla="*/ 114 w 436"/>
                  <a:gd name="T71" fmla="*/ 72 h 246"/>
                  <a:gd name="T72" fmla="*/ 104 w 436"/>
                  <a:gd name="T73" fmla="*/ 92 h 246"/>
                  <a:gd name="T74" fmla="*/ 102 w 436"/>
                  <a:gd name="T75" fmla="*/ 110 h 246"/>
                  <a:gd name="T76" fmla="*/ 0 w 436"/>
                  <a:gd name="T77" fmla="*/ 246 h 246"/>
                  <a:gd name="T78" fmla="*/ 106 w 436"/>
                  <a:gd name="T79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36" h="246">
                    <a:moveTo>
                      <a:pt x="106" y="8"/>
                    </a:moveTo>
                    <a:lnTo>
                      <a:pt x="106" y="40"/>
                    </a:lnTo>
                    <a:lnTo>
                      <a:pt x="106" y="40"/>
                    </a:lnTo>
                    <a:lnTo>
                      <a:pt x="106" y="40"/>
                    </a:lnTo>
                    <a:lnTo>
                      <a:pt x="118" y="28"/>
                    </a:lnTo>
                    <a:lnTo>
                      <a:pt x="128" y="20"/>
                    </a:lnTo>
                    <a:lnTo>
                      <a:pt x="140" y="12"/>
                    </a:lnTo>
                    <a:lnTo>
                      <a:pt x="150" y="8"/>
                    </a:lnTo>
                    <a:lnTo>
                      <a:pt x="162" y="4"/>
                    </a:lnTo>
                    <a:lnTo>
                      <a:pt x="172" y="2"/>
                    </a:lnTo>
                    <a:lnTo>
                      <a:pt x="192" y="2"/>
                    </a:lnTo>
                    <a:lnTo>
                      <a:pt x="192" y="2"/>
                    </a:lnTo>
                    <a:lnTo>
                      <a:pt x="204" y="2"/>
                    </a:lnTo>
                    <a:lnTo>
                      <a:pt x="216" y="6"/>
                    </a:lnTo>
                    <a:lnTo>
                      <a:pt x="228" y="8"/>
                    </a:lnTo>
                    <a:lnTo>
                      <a:pt x="238" y="14"/>
                    </a:lnTo>
                    <a:lnTo>
                      <a:pt x="246" y="20"/>
                    </a:lnTo>
                    <a:lnTo>
                      <a:pt x="254" y="28"/>
                    </a:lnTo>
                    <a:lnTo>
                      <a:pt x="260" y="36"/>
                    </a:lnTo>
                    <a:lnTo>
                      <a:pt x="264" y="44"/>
                    </a:lnTo>
                    <a:lnTo>
                      <a:pt x="264" y="44"/>
                    </a:lnTo>
                    <a:lnTo>
                      <a:pt x="272" y="34"/>
                    </a:lnTo>
                    <a:lnTo>
                      <a:pt x="280" y="26"/>
                    </a:lnTo>
                    <a:lnTo>
                      <a:pt x="290" y="18"/>
                    </a:lnTo>
                    <a:lnTo>
                      <a:pt x="302" y="12"/>
                    </a:lnTo>
                    <a:lnTo>
                      <a:pt x="312" y="8"/>
                    </a:lnTo>
                    <a:lnTo>
                      <a:pt x="326" y="4"/>
                    </a:lnTo>
                    <a:lnTo>
                      <a:pt x="338" y="2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70" y="2"/>
                    </a:lnTo>
                    <a:lnTo>
                      <a:pt x="386" y="6"/>
                    </a:lnTo>
                    <a:lnTo>
                      <a:pt x="402" y="14"/>
                    </a:lnTo>
                    <a:lnTo>
                      <a:pt x="414" y="24"/>
                    </a:lnTo>
                    <a:lnTo>
                      <a:pt x="424" y="36"/>
                    </a:lnTo>
                    <a:lnTo>
                      <a:pt x="432" y="50"/>
                    </a:lnTo>
                    <a:lnTo>
                      <a:pt x="436" y="68"/>
                    </a:lnTo>
                    <a:lnTo>
                      <a:pt x="436" y="86"/>
                    </a:lnTo>
                    <a:lnTo>
                      <a:pt x="424" y="246"/>
                    </a:lnTo>
                    <a:lnTo>
                      <a:pt x="332" y="246"/>
                    </a:lnTo>
                    <a:lnTo>
                      <a:pt x="342" y="106"/>
                    </a:lnTo>
                    <a:lnTo>
                      <a:pt x="342" y="106"/>
                    </a:lnTo>
                    <a:lnTo>
                      <a:pt x="342" y="88"/>
                    </a:lnTo>
                    <a:lnTo>
                      <a:pt x="342" y="80"/>
                    </a:lnTo>
                    <a:lnTo>
                      <a:pt x="340" y="74"/>
                    </a:lnTo>
                    <a:lnTo>
                      <a:pt x="336" y="66"/>
                    </a:lnTo>
                    <a:lnTo>
                      <a:pt x="330" y="62"/>
                    </a:lnTo>
                    <a:lnTo>
                      <a:pt x="322" y="58"/>
                    </a:lnTo>
                    <a:lnTo>
                      <a:pt x="312" y="58"/>
                    </a:lnTo>
                    <a:lnTo>
                      <a:pt x="312" y="58"/>
                    </a:lnTo>
                    <a:lnTo>
                      <a:pt x="298" y="60"/>
                    </a:lnTo>
                    <a:lnTo>
                      <a:pt x="288" y="66"/>
                    </a:lnTo>
                    <a:lnTo>
                      <a:pt x="280" y="72"/>
                    </a:lnTo>
                    <a:lnTo>
                      <a:pt x="276" y="82"/>
                    </a:lnTo>
                    <a:lnTo>
                      <a:pt x="272" y="92"/>
                    </a:lnTo>
                    <a:lnTo>
                      <a:pt x="270" y="100"/>
                    </a:lnTo>
                    <a:lnTo>
                      <a:pt x="270" y="110"/>
                    </a:lnTo>
                    <a:lnTo>
                      <a:pt x="260" y="246"/>
                    </a:lnTo>
                    <a:lnTo>
                      <a:pt x="170" y="246"/>
                    </a:lnTo>
                    <a:lnTo>
                      <a:pt x="180" y="106"/>
                    </a:lnTo>
                    <a:lnTo>
                      <a:pt x="180" y="106"/>
                    </a:lnTo>
                    <a:lnTo>
                      <a:pt x="178" y="88"/>
                    </a:lnTo>
                    <a:lnTo>
                      <a:pt x="178" y="80"/>
                    </a:lnTo>
                    <a:lnTo>
                      <a:pt x="174" y="72"/>
                    </a:lnTo>
                    <a:lnTo>
                      <a:pt x="170" y="66"/>
                    </a:lnTo>
                    <a:lnTo>
                      <a:pt x="164" y="62"/>
                    </a:lnTo>
                    <a:lnTo>
                      <a:pt x="15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32" y="60"/>
                    </a:lnTo>
                    <a:lnTo>
                      <a:pt x="122" y="66"/>
                    </a:lnTo>
                    <a:lnTo>
                      <a:pt x="114" y="72"/>
                    </a:lnTo>
                    <a:lnTo>
                      <a:pt x="108" y="82"/>
                    </a:lnTo>
                    <a:lnTo>
                      <a:pt x="104" y="92"/>
                    </a:lnTo>
                    <a:lnTo>
                      <a:pt x="104" y="100"/>
                    </a:lnTo>
                    <a:lnTo>
                      <a:pt x="102" y="110"/>
                    </a:lnTo>
                    <a:lnTo>
                      <a:pt x="94" y="246"/>
                    </a:lnTo>
                    <a:lnTo>
                      <a:pt x="0" y="246"/>
                    </a:lnTo>
                    <a:lnTo>
                      <a:pt x="16" y="8"/>
                    </a:lnTo>
                    <a:lnTo>
                      <a:pt x="106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20"/>
              <p:cNvSpPr>
                <a:spLocks/>
              </p:cNvSpPr>
              <p:nvPr/>
            </p:nvSpPr>
            <p:spPr bwMode="auto">
              <a:xfrm>
                <a:off x="4064000" y="517525"/>
                <a:ext cx="454025" cy="558800"/>
              </a:xfrm>
              <a:custGeom>
                <a:avLst/>
                <a:gdLst>
                  <a:gd name="T0" fmla="*/ 116 w 286"/>
                  <a:gd name="T1" fmla="*/ 352 h 352"/>
                  <a:gd name="T2" fmla="*/ 34 w 286"/>
                  <a:gd name="T3" fmla="*/ 352 h 352"/>
                  <a:gd name="T4" fmla="*/ 86 w 286"/>
                  <a:gd name="T5" fmla="*/ 242 h 352"/>
                  <a:gd name="T6" fmla="*/ 0 w 286"/>
                  <a:gd name="T7" fmla="*/ 0 h 352"/>
                  <a:gd name="T8" fmla="*/ 100 w 286"/>
                  <a:gd name="T9" fmla="*/ 0 h 352"/>
                  <a:gd name="T10" fmla="*/ 140 w 286"/>
                  <a:gd name="T11" fmla="*/ 148 h 352"/>
                  <a:gd name="T12" fmla="*/ 202 w 286"/>
                  <a:gd name="T13" fmla="*/ 0 h 352"/>
                  <a:gd name="T14" fmla="*/ 286 w 286"/>
                  <a:gd name="T15" fmla="*/ 0 h 352"/>
                  <a:gd name="T16" fmla="*/ 116 w 286"/>
                  <a:gd name="T17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6" h="352">
                    <a:moveTo>
                      <a:pt x="116" y="352"/>
                    </a:moveTo>
                    <a:lnTo>
                      <a:pt x="34" y="352"/>
                    </a:lnTo>
                    <a:lnTo>
                      <a:pt x="86" y="242"/>
                    </a:lnTo>
                    <a:lnTo>
                      <a:pt x="0" y="0"/>
                    </a:lnTo>
                    <a:lnTo>
                      <a:pt x="100" y="0"/>
                    </a:lnTo>
                    <a:lnTo>
                      <a:pt x="140" y="148"/>
                    </a:lnTo>
                    <a:lnTo>
                      <a:pt x="202" y="0"/>
                    </a:lnTo>
                    <a:lnTo>
                      <a:pt x="286" y="0"/>
                    </a:lnTo>
                    <a:lnTo>
                      <a:pt x="116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21"/>
              <p:cNvSpPr>
                <a:spLocks/>
              </p:cNvSpPr>
              <p:nvPr/>
            </p:nvSpPr>
            <p:spPr bwMode="auto">
              <a:xfrm>
                <a:off x="4473575" y="593725"/>
                <a:ext cx="241300" cy="117475"/>
              </a:xfrm>
              <a:custGeom>
                <a:avLst/>
                <a:gdLst>
                  <a:gd name="T0" fmla="*/ 36 w 152"/>
                  <a:gd name="T1" fmla="*/ 0 h 74"/>
                  <a:gd name="T2" fmla="*/ 152 w 152"/>
                  <a:gd name="T3" fmla="*/ 0 h 74"/>
                  <a:gd name="T4" fmla="*/ 114 w 152"/>
                  <a:gd name="T5" fmla="*/ 74 h 74"/>
                  <a:gd name="T6" fmla="*/ 0 w 152"/>
                  <a:gd name="T7" fmla="*/ 74 h 74"/>
                  <a:gd name="T8" fmla="*/ 36 w 152"/>
                  <a:gd name="T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74">
                    <a:moveTo>
                      <a:pt x="36" y="0"/>
                    </a:moveTo>
                    <a:lnTo>
                      <a:pt x="152" y="0"/>
                    </a:lnTo>
                    <a:lnTo>
                      <a:pt x="114" y="74"/>
                    </a:lnTo>
                    <a:lnTo>
                      <a:pt x="0" y="7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" name="Freeform 22"/>
              <p:cNvSpPr>
                <a:spLocks/>
              </p:cNvSpPr>
              <p:nvPr/>
            </p:nvSpPr>
            <p:spPr bwMode="auto">
              <a:xfrm>
                <a:off x="4721225" y="339725"/>
                <a:ext cx="504825" cy="558800"/>
              </a:xfrm>
              <a:custGeom>
                <a:avLst/>
                <a:gdLst>
                  <a:gd name="T0" fmla="*/ 180 w 318"/>
                  <a:gd name="T1" fmla="*/ 0 h 352"/>
                  <a:gd name="T2" fmla="*/ 232 w 318"/>
                  <a:gd name="T3" fmla="*/ 6 h 352"/>
                  <a:gd name="T4" fmla="*/ 266 w 318"/>
                  <a:gd name="T5" fmla="*/ 20 h 352"/>
                  <a:gd name="T6" fmla="*/ 286 w 318"/>
                  <a:gd name="T7" fmla="*/ 32 h 352"/>
                  <a:gd name="T8" fmla="*/ 302 w 318"/>
                  <a:gd name="T9" fmla="*/ 50 h 352"/>
                  <a:gd name="T10" fmla="*/ 312 w 318"/>
                  <a:gd name="T11" fmla="*/ 74 h 352"/>
                  <a:gd name="T12" fmla="*/ 318 w 318"/>
                  <a:gd name="T13" fmla="*/ 100 h 352"/>
                  <a:gd name="T14" fmla="*/ 222 w 318"/>
                  <a:gd name="T15" fmla="*/ 116 h 352"/>
                  <a:gd name="T16" fmla="*/ 222 w 318"/>
                  <a:gd name="T17" fmla="*/ 108 h 352"/>
                  <a:gd name="T18" fmla="*/ 216 w 318"/>
                  <a:gd name="T19" fmla="*/ 90 h 352"/>
                  <a:gd name="T20" fmla="*/ 204 w 318"/>
                  <a:gd name="T21" fmla="*/ 76 h 352"/>
                  <a:gd name="T22" fmla="*/ 188 w 318"/>
                  <a:gd name="T23" fmla="*/ 68 h 352"/>
                  <a:gd name="T24" fmla="*/ 176 w 318"/>
                  <a:gd name="T25" fmla="*/ 68 h 352"/>
                  <a:gd name="T26" fmla="*/ 150 w 318"/>
                  <a:gd name="T27" fmla="*/ 72 h 352"/>
                  <a:gd name="T28" fmla="*/ 128 w 318"/>
                  <a:gd name="T29" fmla="*/ 88 h 352"/>
                  <a:gd name="T30" fmla="*/ 108 w 318"/>
                  <a:gd name="T31" fmla="*/ 118 h 352"/>
                  <a:gd name="T32" fmla="*/ 98 w 318"/>
                  <a:gd name="T33" fmla="*/ 162 h 352"/>
                  <a:gd name="T34" fmla="*/ 96 w 318"/>
                  <a:gd name="T35" fmla="*/ 188 h 352"/>
                  <a:gd name="T36" fmla="*/ 98 w 318"/>
                  <a:gd name="T37" fmla="*/ 234 h 352"/>
                  <a:gd name="T38" fmla="*/ 112 w 318"/>
                  <a:gd name="T39" fmla="*/ 266 h 352"/>
                  <a:gd name="T40" fmla="*/ 122 w 318"/>
                  <a:gd name="T41" fmla="*/ 278 h 352"/>
                  <a:gd name="T42" fmla="*/ 138 w 318"/>
                  <a:gd name="T43" fmla="*/ 284 h 352"/>
                  <a:gd name="T44" fmla="*/ 158 w 318"/>
                  <a:gd name="T45" fmla="*/ 288 h 352"/>
                  <a:gd name="T46" fmla="*/ 174 w 318"/>
                  <a:gd name="T47" fmla="*/ 286 h 352"/>
                  <a:gd name="T48" fmla="*/ 198 w 318"/>
                  <a:gd name="T49" fmla="*/ 274 h 352"/>
                  <a:gd name="T50" fmla="*/ 212 w 318"/>
                  <a:gd name="T51" fmla="*/ 256 h 352"/>
                  <a:gd name="T52" fmla="*/ 218 w 318"/>
                  <a:gd name="T53" fmla="*/ 236 h 352"/>
                  <a:gd name="T54" fmla="*/ 314 w 318"/>
                  <a:gd name="T55" fmla="*/ 236 h 352"/>
                  <a:gd name="T56" fmla="*/ 306 w 318"/>
                  <a:gd name="T57" fmla="*/ 270 h 352"/>
                  <a:gd name="T58" fmla="*/ 290 w 318"/>
                  <a:gd name="T59" fmla="*/ 300 h 352"/>
                  <a:gd name="T60" fmla="*/ 272 w 318"/>
                  <a:gd name="T61" fmla="*/ 318 h 352"/>
                  <a:gd name="T62" fmla="*/ 248 w 318"/>
                  <a:gd name="T63" fmla="*/ 334 h 352"/>
                  <a:gd name="T64" fmla="*/ 216 w 318"/>
                  <a:gd name="T65" fmla="*/ 346 h 352"/>
                  <a:gd name="T66" fmla="*/ 176 w 318"/>
                  <a:gd name="T67" fmla="*/ 352 h 352"/>
                  <a:gd name="T68" fmla="*/ 152 w 318"/>
                  <a:gd name="T69" fmla="*/ 352 h 352"/>
                  <a:gd name="T70" fmla="*/ 106 w 318"/>
                  <a:gd name="T71" fmla="*/ 348 h 352"/>
                  <a:gd name="T72" fmla="*/ 70 w 318"/>
                  <a:gd name="T73" fmla="*/ 336 h 352"/>
                  <a:gd name="T74" fmla="*/ 42 w 318"/>
                  <a:gd name="T75" fmla="*/ 316 h 352"/>
                  <a:gd name="T76" fmla="*/ 22 w 318"/>
                  <a:gd name="T77" fmla="*/ 292 h 352"/>
                  <a:gd name="T78" fmla="*/ 8 w 318"/>
                  <a:gd name="T79" fmla="*/ 262 h 352"/>
                  <a:gd name="T80" fmla="*/ 2 w 318"/>
                  <a:gd name="T81" fmla="*/ 230 h 352"/>
                  <a:gd name="T82" fmla="*/ 0 w 318"/>
                  <a:gd name="T83" fmla="*/ 194 h 352"/>
                  <a:gd name="T84" fmla="*/ 2 w 318"/>
                  <a:gd name="T85" fmla="*/ 160 h 352"/>
                  <a:gd name="T86" fmla="*/ 18 w 318"/>
                  <a:gd name="T87" fmla="*/ 102 h 352"/>
                  <a:gd name="T88" fmla="*/ 32 w 318"/>
                  <a:gd name="T89" fmla="*/ 74 h 352"/>
                  <a:gd name="T90" fmla="*/ 52 w 318"/>
                  <a:gd name="T91" fmla="*/ 50 h 352"/>
                  <a:gd name="T92" fmla="*/ 76 w 318"/>
                  <a:gd name="T93" fmla="*/ 30 h 352"/>
                  <a:gd name="T94" fmla="*/ 106 w 318"/>
                  <a:gd name="T95" fmla="*/ 14 h 352"/>
                  <a:gd name="T96" fmla="*/ 140 w 318"/>
                  <a:gd name="T97" fmla="*/ 4 h 352"/>
                  <a:gd name="T98" fmla="*/ 180 w 318"/>
                  <a:gd name="T99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18" h="352">
                    <a:moveTo>
                      <a:pt x="180" y="0"/>
                    </a:moveTo>
                    <a:lnTo>
                      <a:pt x="180" y="0"/>
                    </a:lnTo>
                    <a:lnTo>
                      <a:pt x="206" y="0"/>
                    </a:lnTo>
                    <a:lnTo>
                      <a:pt x="232" y="6"/>
                    </a:lnTo>
                    <a:lnTo>
                      <a:pt x="256" y="14"/>
                    </a:lnTo>
                    <a:lnTo>
                      <a:pt x="266" y="20"/>
                    </a:lnTo>
                    <a:lnTo>
                      <a:pt x="276" y="26"/>
                    </a:lnTo>
                    <a:lnTo>
                      <a:pt x="286" y="32"/>
                    </a:lnTo>
                    <a:lnTo>
                      <a:pt x="294" y="42"/>
                    </a:lnTo>
                    <a:lnTo>
                      <a:pt x="302" y="50"/>
                    </a:lnTo>
                    <a:lnTo>
                      <a:pt x="308" y="62"/>
                    </a:lnTo>
                    <a:lnTo>
                      <a:pt x="312" y="74"/>
                    </a:lnTo>
                    <a:lnTo>
                      <a:pt x="316" y="86"/>
                    </a:lnTo>
                    <a:lnTo>
                      <a:pt x="318" y="100"/>
                    </a:lnTo>
                    <a:lnTo>
                      <a:pt x="318" y="116"/>
                    </a:lnTo>
                    <a:lnTo>
                      <a:pt x="222" y="116"/>
                    </a:lnTo>
                    <a:lnTo>
                      <a:pt x="222" y="116"/>
                    </a:lnTo>
                    <a:lnTo>
                      <a:pt x="222" y="108"/>
                    </a:lnTo>
                    <a:lnTo>
                      <a:pt x="220" y="98"/>
                    </a:lnTo>
                    <a:lnTo>
                      <a:pt x="216" y="90"/>
                    </a:lnTo>
                    <a:lnTo>
                      <a:pt x="212" y="84"/>
                    </a:lnTo>
                    <a:lnTo>
                      <a:pt x="204" y="76"/>
                    </a:lnTo>
                    <a:lnTo>
                      <a:pt x="198" y="72"/>
                    </a:lnTo>
                    <a:lnTo>
                      <a:pt x="188" y="68"/>
                    </a:lnTo>
                    <a:lnTo>
                      <a:pt x="176" y="68"/>
                    </a:lnTo>
                    <a:lnTo>
                      <a:pt x="176" y="68"/>
                    </a:lnTo>
                    <a:lnTo>
                      <a:pt x="164" y="68"/>
                    </a:lnTo>
                    <a:lnTo>
                      <a:pt x="150" y="72"/>
                    </a:lnTo>
                    <a:lnTo>
                      <a:pt x="138" y="80"/>
                    </a:lnTo>
                    <a:lnTo>
                      <a:pt x="128" y="88"/>
                    </a:lnTo>
                    <a:lnTo>
                      <a:pt x="118" y="102"/>
                    </a:lnTo>
                    <a:lnTo>
                      <a:pt x="108" y="118"/>
                    </a:lnTo>
                    <a:lnTo>
                      <a:pt x="102" y="138"/>
                    </a:lnTo>
                    <a:lnTo>
                      <a:pt x="98" y="162"/>
                    </a:lnTo>
                    <a:lnTo>
                      <a:pt x="98" y="162"/>
                    </a:lnTo>
                    <a:lnTo>
                      <a:pt x="96" y="188"/>
                    </a:lnTo>
                    <a:lnTo>
                      <a:pt x="96" y="212"/>
                    </a:lnTo>
                    <a:lnTo>
                      <a:pt x="98" y="234"/>
                    </a:lnTo>
                    <a:lnTo>
                      <a:pt x="104" y="252"/>
                    </a:lnTo>
                    <a:lnTo>
                      <a:pt x="112" y="266"/>
                    </a:lnTo>
                    <a:lnTo>
                      <a:pt x="116" y="272"/>
                    </a:lnTo>
                    <a:lnTo>
                      <a:pt x="122" y="278"/>
                    </a:lnTo>
                    <a:lnTo>
                      <a:pt x="130" y="282"/>
                    </a:lnTo>
                    <a:lnTo>
                      <a:pt x="138" y="284"/>
                    </a:lnTo>
                    <a:lnTo>
                      <a:pt x="148" y="286"/>
                    </a:lnTo>
                    <a:lnTo>
                      <a:pt x="158" y="288"/>
                    </a:lnTo>
                    <a:lnTo>
                      <a:pt x="158" y="288"/>
                    </a:lnTo>
                    <a:lnTo>
                      <a:pt x="174" y="286"/>
                    </a:lnTo>
                    <a:lnTo>
                      <a:pt x="188" y="280"/>
                    </a:lnTo>
                    <a:lnTo>
                      <a:pt x="198" y="274"/>
                    </a:lnTo>
                    <a:lnTo>
                      <a:pt x="206" y="264"/>
                    </a:lnTo>
                    <a:lnTo>
                      <a:pt x="212" y="256"/>
                    </a:lnTo>
                    <a:lnTo>
                      <a:pt x="214" y="248"/>
                    </a:lnTo>
                    <a:lnTo>
                      <a:pt x="218" y="236"/>
                    </a:lnTo>
                    <a:lnTo>
                      <a:pt x="314" y="236"/>
                    </a:lnTo>
                    <a:lnTo>
                      <a:pt x="314" y="236"/>
                    </a:lnTo>
                    <a:lnTo>
                      <a:pt x="312" y="252"/>
                    </a:lnTo>
                    <a:lnTo>
                      <a:pt x="306" y="270"/>
                    </a:lnTo>
                    <a:lnTo>
                      <a:pt x="296" y="290"/>
                    </a:lnTo>
                    <a:lnTo>
                      <a:pt x="290" y="300"/>
                    </a:lnTo>
                    <a:lnTo>
                      <a:pt x="282" y="308"/>
                    </a:lnTo>
                    <a:lnTo>
                      <a:pt x="272" y="318"/>
                    </a:lnTo>
                    <a:lnTo>
                      <a:pt x="260" y="326"/>
                    </a:lnTo>
                    <a:lnTo>
                      <a:pt x="248" y="334"/>
                    </a:lnTo>
                    <a:lnTo>
                      <a:pt x="232" y="340"/>
                    </a:lnTo>
                    <a:lnTo>
                      <a:pt x="216" y="346"/>
                    </a:lnTo>
                    <a:lnTo>
                      <a:pt x="196" y="350"/>
                    </a:lnTo>
                    <a:lnTo>
                      <a:pt x="176" y="352"/>
                    </a:lnTo>
                    <a:lnTo>
                      <a:pt x="152" y="352"/>
                    </a:lnTo>
                    <a:lnTo>
                      <a:pt x="152" y="352"/>
                    </a:lnTo>
                    <a:lnTo>
                      <a:pt x="128" y="352"/>
                    </a:lnTo>
                    <a:lnTo>
                      <a:pt x="106" y="348"/>
                    </a:lnTo>
                    <a:lnTo>
                      <a:pt x="86" y="342"/>
                    </a:lnTo>
                    <a:lnTo>
                      <a:pt x="70" y="336"/>
                    </a:lnTo>
                    <a:lnTo>
                      <a:pt x="54" y="326"/>
                    </a:lnTo>
                    <a:lnTo>
                      <a:pt x="42" y="316"/>
                    </a:lnTo>
                    <a:lnTo>
                      <a:pt x="30" y="304"/>
                    </a:lnTo>
                    <a:lnTo>
                      <a:pt x="22" y="292"/>
                    </a:lnTo>
                    <a:lnTo>
                      <a:pt x="14" y="276"/>
                    </a:lnTo>
                    <a:lnTo>
                      <a:pt x="8" y="262"/>
                    </a:lnTo>
                    <a:lnTo>
                      <a:pt x="4" y="246"/>
                    </a:lnTo>
                    <a:lnTo>
                      <a:pt x="2" y="230"/>
                    </a:lnTo>
                    <a:lnTo>
                      <a:pt x="0" y="212"/>
                    </a:lnTo>
                    <a:lnTo>
                      <a:pt x="0" y="194"/>
                    </a:lnTo>
                    <a:lnTo>
                      <a:pt x="2" y="160"/>
                    </a:lnTo>
                    <a:lnTo>
                      <a:pt x="2" y="160"/>
                    </a:lnTo>
                    <a:lnTo>
                      <a:pt x="8" y="130"/>
                    </a:lnTo>
                    <a:lnTo>
                      <a:pt x="18" y="102"/>
                    </a:lnTo>
                    <a:lnTo>
                      <a:pt x="24" y="88"/>
                    </a:lnTo>
                    <a:lnTo>
                      <a:pt x="32" y="74"/>
                    </a:lnTo>
                    <a:lnTo>
                      <a:pt x="42" y="62"/>
                    </a:lnTo>
                    <a:lnTo>
                      <a:pt x="52" y="50"/>
                    </a:lnTo>
                    <a:lnTo>
                      <a:pt x="64" y="40"/>
                    </a:lnTo>
                    <a:lnTo>
                      <a:pt x="76" y="30"/>
                    </a:lnTo>
                    <a:lnTo>
                      <a:pt x="90" y="20"/>
                    </a:lnTo>
                    <a:lnTo>
                      <a:pt x="106" y="14"/>
                    </a:lnTo>
                    <a:lnTo>
                      <a:pt x="122" y="8"/>
                    </a:lnTo>
                    <a:lnTo>
                      <a:pt x="140" y="4"/>
                    </a:lnTo>
                    <a:lnTo>
                      <a:pt x="160" y="0"/>
                    </a:lnTo>
                    <a:lnTo>
                      <a:pt x="180" y="0"/>
                    </a:lnTo>
                    <a:lnTo>
                      <a:pt x="18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23"/>
              <p:cNvSpPr>
                <a:spLocks/>
              </p:cNvSpPr>
              <p:nvPr/>
            </p:nvSpPr>
            <p:spPr bwMode="auto">
              <a:xfrm>
                <a:off x="5229225" y="352425"/>
                <a:ext cx="177800" cy="542925"/>
              </a:xfrm>
              <a:custGeom>
                <a:avLst/>
                <a:gdLst>
                  <a:gd name="T0" fmla="*/ 0 w 112"/>
                  <a:gd name="T1" fmla="*/ 342 h 342"/>
                  <a:gd name="T2" fmla="*/ 24 w 112"/>
                  <a:gd name="T3" fmla="*/ 0 h 342"/>
                  <a:gd name="T4" fmla="*/ 112 w 112"/>
                  <a:gd name="T5" fmla="*/ 0 h 342"/>
                  <a:gd name="T6" fmla="*/ 88 w 112"/>
                  <a:gd name="T7" fmla="*/ 342 h 342"/>
                  <a:gd name="T8" fmla="*/ 0 w 112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2" y="0"/>
                    </a:lnTo>
                    <a:lnTo>
                      <a:pt x="88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Freeform 24"/>
              <p:cNvSpPr>
                <a:spLocks/>
              </p:cNvSpPr>
              <p:nvPr/>
            </p:nvSpPr>
            <p:spPr bwMode="auto">
              <a:xfrm>
                <a:off x="5803900" y="517525"/>
                <a:ext cx="295275" cy="377825"/>
              </a:xfrm>
              <a:custGeom>
                <a:avLst/>
                <a:gdLst>
                  <a:gd name="T0" fmla="*/ 106 w 186"/>
                  <a:gd name="T1" fmla="*/ 34 h 238"/>
                  <a:gd name="T2" fmla="*/ 106 w 186"/>
                  <a:gd name="T3" fmla="*/ 34 h 238"/>
                  <a:gd name="T4" fmla="*/ 106 w 186"/>
                  <a:gd name="T5" fmla="*/ 34 h 238"/>
                  <a:gd name="T6" fmla="*/ 116 w 186"/>
                  <a:gd name="T7" fmla="*/ 24 h 238"/>
                  <a:gd name="T8" fmla="*/ 124 w 186"/>
                  <a:gd name="T9" fmla="*/ 16 h 238"/>
                  <a:gd name="T10" fmla="*/ 134 w 186"/>
                  <a:gd name="T11" fmla="*/ 10 h 238"/>
                  <a:gd name="T12" fmla="*/ 144 w 186"/>
                  <a:gd name="T13" fmla="*/ 6 h 238"/>
                  <a:gd name="T14" fmla="*/ 154 w 186"/>
                  <a:gd name="T15" fmla="*/ 4 h 238"/>
                  <a:gd name="T16" fmla="*/ 164 w 186"/>
                  <a:gd name="T17" fmla="*/ 2 h 238"/>
                  <a:gd name="T18" fmla="*/ 186 w 186"/>
                  <a:gd name="T19" fmla="*/ 0 h 238"/>
                  <a:gd name="T20" fmla="*/ 180 w 186"/>
                  <a:gd name="T21" fmla="*/ 76 h 238"/>
                  <a:gd name="T22" fmla="*/ 180 w 186"/>
                  <a:gd name="T23" fmla="*/ 76 h 238"/>
                  <a:gd name="T24" fmla="*/ 162 w 186"/>
                  <a:gd name="T25" fmla="*/ 76 h 238"/>
                  <a:gd name="T26" fmla="*/ 162 w 186"/>
                  <a:gd name="T27" fmla="*/ 76 h 238"/>
                  <a:gd name="T28" fmla="*/ 142 w 186"/>
                  <a:gd name="T29" fmla="*/ 78 h 238"/>
                  <a:gd name="T30" fmla="*/ 126 w 186"/>
                  <a:gd name="T31" fmla="*/ 82 h 238"/>
                  <a:gd name="T32" fmla="*/ 116 w 186"/>
                  <a:gd name="T33" fmla="*/ 88 h 238"/>
                  <a:gd name="T34" fmla="*/ 108 w 186"/>
                  <a:gd name="T35" fmla="*/ 98 h 238"/>
                  <a:gd name="T36" fmla="*/ 104 w 186"/>
                  <a:gd name="T37" fmla="*/ 108 h 238"/>
                  <a:gd name="T38" fmla="*/ 100 w 186"/>
                  <a:gd name="T39" fmla="*/ 120 h 238"/>
                  <a:gd name="T40" fmla="*/ 98 w 186"/>
                  <a:gd name="T41" fmla="*/ 148 h 238"/>
                  <a:gd name="T42" fmla="*/ 92 w 186"/>
                  <a:gd name="T43" fmla="*/ 238 h 238"/>
                  <a:gd name="T44" fmla="*/ 0 w 186"/>
                  <a:gd name="T45" fmla="*/ 238 h 238"/>
                  <a:gd name="T46" fmla="*/ 14 w 186"/>
                  <a:gd name="T47" fmla="*/ 62 h 238"/>
                  <a:gd name="T48" fmla="*/ 14 w 186"/>
                  <a:gd name="T49" fmla="*/ 62 h 238"/>
                  <a:gd name="T50" fmla="*/ 14 w 186"/>
                  <a:gd name="T51" fmla="*/ 32 h 238"/>
                  <a:gd name="T52" fmla="*/ 14 w 186"/>
                  <a:gd name="T53" fmla="*/ 0 h 238"/>
                  <a:gd name="T54" fmla="*/ 102 w 186"/>
                  <a:gd name="T55" fmla="*/ 0 h 238"/>
                  <a:gd name="T56" fmla="*/ 106 w 186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6" h="238">
                    <a:moveTo>
                      <a:pt x="106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6" y="24"/>
                    </a:lnTo>
                    <a:lnTo>
                      <a:pt x="124" y="16"/>
                    </a:lnTo>
                    <a:lnTo>
                      <a:pt x="134" y="10"/>
                    </a:lnTo>
                    <a:lnTo>
                      <a:pt x="144" y="6"/>
                    </a:lnTo>
                    <a:lnTo>
                      <a:pt x="154" y="4"/>
                    </a:lnTo>
                    <a:lnTo>
                      <a:pt x="164" y="2"/>
                    </a:lnTo>
                    <a:lnTo>
                      <a:pt x="186" y="0"/>
                    </a:lnTo>
                    <a:lnTo>
                      <a:pt x="180" y="76"/>
                    </a:lnTo>
                    <a:lnTo>
                      <a:pt x="180" y="76"/>
                    </a:lnTo>
                    <a:lnTo>
                      <a:pt x="162" y="76"/>
                    </a:lnTo>
                    <a:lnTo>
                      <a:pt x="162" y="76"/>
                    </a:lnTo>
                    <a:lnTo>
                      <a:pt x="142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4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6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31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53074" y="553073"/>
            <a:ext cx="3571665" cy="316888"/>
          </a:xfrm>
        </p:spPr>
        <p:txBody>
          <a:bodyPr>
            <a:noAutofit/>
          </a:bodyPr>
          <a:lstStyle>
            <a:lvl1pPr marL="0" indent="0">
              <a:buNone/>
              <a:defRPr sz="1400" b="0" u="none">
                <a:solidFill>
                  <a:schemeClr val="accent1"/>
                </a:solidFill>
              </a:defRPr>
            </a:lvl1pPr>
            <a:lvl2pPr marL="457200" indent="0">
              <a:buNone/>
              <a:defRPr b="0" u="none"/>
            </a:lvl2pPr>
            <a:lvl3pPr marL="914400" indent="0">
              <a:buNone/>
              <a:defRPr b="0" u="none"/>
            </a:lvl3pPr>
            <a:lvl4pPr marL="1371600" indent="0">
              <a:buNone/>
              <a:defRPr b="0" u="none"/>
            </a:lvl4pPr>
            <a:lvl5pPr marL="1828800" indent="0">
              <a:buNone/>
              <a:defRPr b="0" u="none"/>
            </a:lvl5pPr>
          </a:lstStyle>
          <a:p>
            <a:pPr lvl="0"/>
            <a:r>
              <a:rPr lang="en-US"/>
              <a:t>BU/Function/Region</a:t>
            </a:r>
          </a:p>
        </p:txBody>
      </p:sp>
    </p:spTree>
    <p:extLst>
      <p:ext uri="{BB962C8B-B14F-4D97-AF65-F5344CB8AC3E}">
        <p14:creationId xmlns:p14="http://schemas.microsoft.com/office/powerpoint/2010/main" val="32628053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5988" y="2374112"/>
            <a:ext cx="9144000" cy="1708150"/>
          </a:xfrm>
        </p:spPr>
        <p:txBody>
          <a:bodyPr anchor="ctr">
            <a:normAutofit/>
          </a:bodyPr>
          <a:lstStyle>
            <a:lvl1pPr algn="l"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5988" y="4174338"/>
            <a:ext cx="9144000" cy="7413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3E7FBFD-78E1-42FB-85FC-D9CE5E3DEFA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70622" y="276225"/>
            <a:ext cx="2165537" cy="271230"/>
            <a:chOff x="158750" y="276225"/>
            <a:chExt cx="6388100" cy="800100"/>
          </a:xfrm>
          <a:solidFill>
            <a:schemeClr val="accent1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158750" y="276225"/>
              <a:ext cx="857250" cy="736600"/>
            </a:xfrm>
            <a:custGeom>
              <a:avLst/>
              <a:gdLst>
                <a:gd name="T0" fmla="*/ 298 w 540"/>
                <a:gd name="T1" fmla="*/ 0 h 464"/>
                <a:gd name="T2" fmla="*/ 374 w 540"/>
                <a:gd name="T3" fmla="*/ 18 h 464"/>
                <a:gd name="T4" fmla="*/ 442 w 540"/>
                <a:gd name="T5" fmla="*/ 52 h 464"/>
                <a:gd name="T6" fmla="*/ 494 w 540"/>
                <a:gd name="T7" fmla="*/ 102 h 464"/>
                <a:gd name="T8" fmla="*/ 528 w 540"/>
                <a:gd name="T9" fmla="*/ 162 h 464"/>
                <a:gd name="T10" fmla="*/ 540 w 540"/>
                <a:gd name="T11" fmla="*/ 232 h 464"/>
                <a:gd name="T12" fmla="*/ 534 w 540"/>
                <a:gd name="T13" fmla="*/ 278 h 464"/>
                <a:gd name="T14" fmla="*/ 506 w 540"/>
                <a:gd name="T15" fmla="*/ 342 h 464"/>
                <a:gd name="T16" fmla="*/ 460 w 540"/>
                <a:gd name="T17" fmla="*/ 396 h 464"/>
                <a:gd name="T18" fmla="*/ 398 w 540"/>
                <a:gd name="T19" fmla="*/ 436 h 464"/>
                <a:gd name="T20" fmla="*/ 324 w 540"/>
                <a:gd name="T21" fmla="*/ 460 h 464"/>
                <a:gd name="T22" fmla="*/ 270 w 540"/>
                <a:gd name="T23" fmla="*/ 464 h 464"/>
                <a:gd name="T24" fmla="*/ 190 w 540"/>
                <a:gd name="T25" fmla="*/ 454 h 464"/>
                <a:gd name="T26" fmla="*/ 118 w 540"/>
                <a:gd name="T27" fmla="*/ 424 h 464"/>
                <a:gd name="T28" fmla="*/ 62 w 540"/>
                <a:gd name="T29" fmla="*/ 380 h 464"/>
                <a:gd name="T30" fmla="*/ 20 w 540"/>
                <a:gd name="T31" fmla="*/ 322 h 464"/>
                <a:gd name="T32" fmla="*/ 2 w 540"/>
                <a:gd name="T33" fmla="*/ 256 h 464"/>
                <a:gd name="T34" fmla="*/ 2 w 540"/>
                <a:gd name="T35" fmla="*/ 208 h 464"/>
                <a:gd name="T36" fmla="*/ 20 w 540"/>
                <a:gd name="T37" fmla="*/ 142 h 464"/>
                <a:gd name="T38" fmla="*/ 62 w 540"/>
                <a:gd name="T39" fmla="*/ 84 h 464"/>
                <a:gd name="T40" fmla="*/ 118 w 540"/>
                <a:gd name="T41" fmla="*/ 40 h 464"/>
                <a:gd name="T42" fmla="*/ 190 w 540"/>
                <a:gd name="T43" fmla="*/ 10 h 464"/>
                <a:gd name="T44" fmla="*/ 270 w 540"/>
                <a:gd name="T45" fmla="*/ 0 h 464"/>
                <a:gd name="T46" fmla="*/ 270 w 540"/>
                <a:gd name="T47" fmla="*/ 232 h 464"/>
                <a:gd name="T48" fmla="*/ 220 w 540"/>
                <a:gd name="T49" fmla="*/ 196 h 464"/>
                <a:gd name="T50" fmla="*/ 208 w 540"/>
                <a:gd name="T51" fmla="*/ 176 h 464"/>
                <a:gd name="T52" fmla="*/ 156 w 540"/>
                <a:gd name="T53" fmla="*/ 130 h 464"/>
                <a:gd name="T54" fmla="*/ 76 w 540"/>
                <a:gd name="T55" fmla="*/ 152 h 464"/>
                <a:gd name="T56" fmla="*/ 130 w 540"/>
                <a:gd name="T57" fmla="*/ 204 h 464"/>
                <a:gd name="T58" fmla="*/ 138 w 540"/>
                <a:gd name="T59" fmla="*/ 230 h 464"/>
                <a:gd name="T60" fmla="*/ 132 w 540"/>
                <a:gd name="T61" fmla="*/ 244 h 464"/>
                <a:gd name="T62" fmla="*/ 108 w 540"/>
                <a:gd name="T63" fmla="*/ 250 h 464"/>
                <a:gd name="T64" fmla="*/ 38 w 540"/>
                <a:gd name="T65" fmla="*/ 330 h 464"/>
                <a:gd name="T66" fmla="*/ 146 w 540"/>
                <a:gd name="T67" fmla="*/ 330 h 464"/>
                <a:gd name="T68" fmla="*/ 186 w 540"/>
                <a:gd name="T69" fmla="*/ 320 h 464"/>
                <a:gd name="T70" fmla="*/ 214 w 540"/>
                <a:gd name="T71" fmla="*/ 296 h 464"/>
                <a:gd name="T72" fmla="*/ 320 w 540"/>
                <a:gd name="T73" fmla="*/ 390 h 464"/>
                <a:gd name="T74" fmla="*/ 326 w 540"/>
                <a:gd name="T75" fmla="*/ 296 h 464"/>
                <a:gd name="T76" fmla="*/ 352 w 540"/>
                <a:gd name="T77" fmla="*/ 320 h 464"/>
                <a:gd name="T78" fmla="*/ 392 w 540"/>
                <a:gd name="T79" fmla="*/ 330 h 464"/>
                <a:gd name="T80" fmla="*/ 500 w 540"/>
                <a:gd name="T81" fmla="*/ 250 h 464"/>
                <a:gd name="T82" fmla="*/ 432 w 540"/>
                <a:gd name="T83" fmla="*/ 250 h 464"/>
                <a:gd name="T84" fmla="*/ 408 w 540"/>
                <a:gd name="T85" fmla="*/ 244 h 464"/>
                <a:gd name="T86" fmla="*/ 400 w 540"/>
                <a:gd name="T87" fmla="*/ 230 h 464"/>
                <a:gd name="T88" fmla="*/ 410 w 540"/>
                <a:gd name="T89" fmla="*/ 204 h 464"/>
                <a:gd name="T90" fmla="*/ 462 w 540"/>
                <a:gd name="T91" fmla="*/ 152 h 464"/>
                <a:gd name="T92" fmla="*/ 382 w 540"/>
                <a:gd name="T93" fmla="*/ 130 h 464"/>
                <a:gd name="T94" fmla="*/ 330 w 540"/>
                <a:gd name="T95" fmla="*/ 176 h 464"/>
                <a:gd name="T96" fmla="*/ 320 w 540"/>
                <a:gd name="T97" fmla="*/ 19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40" h="464">
                  <a:moveTo>
                    <a:pt x="270" y="0"/>
                  </a:moveTo>
                  <a:lnTo>
                    <a:pt x="270" y="0"/>
                  </a:lnTo>
                  <a:lnTo>
                    <a:pt x="298" y="0"/>
                  </a:lnTo>
                  <a:lnTo>
                    <a:pt x="324" y="4"/>
                  </a:lnTo>
                  <a:lnTo>
                    <a:pt x="350" y="10"/>
                  </a:lnTo>
                  <a:lnTo>
                    <a:pt x="374" y="18"/>
                  </a:lnTo>
                  <a:lnTo>
                    <a:pt x="398" y="28"/>
                  </a:lnTo>
                  <a:lnTo>
                    <a:pt x="420" y="40"/>
                  </a:lnTo>
                  <a:lnTo>
                    <a:pt x="442" y="52"/>
                  </a:lnTo>
                  <a:lnTo>
                    <a:pt x="460" y="68"/>
                  </a:lnTo>
                  <a:lnTo>
                    <a:pt x="478" y="84"/>
                  </a:lnTo>
                  <a:lnTo>
                    <a:pt x="494" y="102"/>
                  </a:lnTo>
                  <a:lnTo>
                    <a:pt x="506" y="122"/>
                  </a:lnTo>
                  <a:lnTo>
                    <a:pt x="518" y="142"/>
                  </a:lnTo>
                  <a:lnTo>
                    <a:pt x="528" y="162"/>
                  </a:lnTo>
                  <a:lnTo>
                    <a:pt x="534" y="184"/>
                  </a:lnTo>
                  <a:lnTo>
                    <a:pt x="538" y="208"/>
                  </a:lnTo>
                  <a:lnTo>
                    <a:pt x="540" y="232"/>
                  </a:lnTo>
                  <a:lnTo>
                    <a:pt x="540" y="232"/>
                  </a:lnTo>
                  <a:lnTo>
                    <a:pt x="538" y="256"/>
                  </a:lnTo>
                  <a:lnTo>
                    <a:pt x="534" y="278"/>
                  </a:lnTo>
                  <a:lnTo>
                    <a:pt x="528" y="300"/>
                  </a:lnTo>
                  <a:lnTo>
                    <a:pt x="518" y="322"/>
                  </a:lnTo>
                  <a:lnTo>
                    <a:pt x="506" y="342"/>
                  </a:lnTo>
                  <a:lnTo>
                    <a:pt x="494" y="362"/>
                  </a:lnTo>
                  <a:lnTo>
                    <a:pt x="478" y="380"/>
                  </a:lnTo>
                  <a:lnTo>
                    <a:pt x="460" y="396"/>
                  </a:lnTo>
                  <a:lnTo>
                    <a:pt x="442" y="410"/>
                  </a:lnTo>
                  <a:lnTo>
                    <a:pt x="420" y="424"/>
                  </a:lnTo>
                  <a:lnTo>
                    <a:pt x="398" y="436"/>
                  </a:lnTo>
                  <a:lnTo>
                    <a:pt x="374" y="446"/>
                  </a:lnTo>
                  <a:lnTo>
                    <a:pt x="350" y="454"/>
                  </a:lnTo>
                  <a:lnTo>
                    <a:pt x="324" y="460"/>
                  </a:lnTo>
                  <a:lnTo>
                    <a:pt x="298" y="462"/>
                  </a:lnTo>
                  <a:lnTo>
                    <a:pt x="270" y="464"/>
                  </a:lnTo>
                  <a:lnTo>
                    <a:pt x="270" y="464"/>
                  </a:lnTo>
                  <a:lnTo>
                    <a:pt x="242" y="462"/>
                  </a:lnTo>
                  <a:lnTo>
                    <a:pt x="216" y="458"/>
                  </a:lnTo>
                  <a:lnTo>
                    <a:pt x="190" y="454"/>
                  </a:lnTo>
                  <a:lnTo>
                    <a:pt x="164" y="446"/>
                  </a:lnTo>
                  <a:lnTo>
                    <a:pt x="140" y="436"/>
                  </a:lnTo>
                  <a:lnTo>
                    <a:pt x="118" y="424"/>
                  </a:lnTo>
                  <a:lnTo>
                    <a:pt x="98" y="410"/>
                  </a:lnTo>
                  <a:lnTo>
                    <a:pt x="78" y="396"/>
                  </a:lnTo>
                  <a:lnTo>
                    <a:pt x="62" y="380"/>
                  </a:lnTo>
                  <a:lnTo>
                    <a:pt x="46" y="362"/>
                  </a:lnTo>
                  <a:lnTo>
                    <a:pt x="32" y="342"/>
                  </a:lnTo>
                  <a:lnTo>
                    <a:pt x="20" y="322"/>
                  </a:lnTo>
                  <a:lnTo>
                    <a:pt x="12" y="300"/>
                  </a:lnTo>
                  <a:lnTo>
                    <a:pt x="6" y="278"/>
                  </a:lnTo>
                  <a:lnTo>
                    <a:pt x="2" y="256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08"/>
                  </a:lnTo>
                  <a:lnTo>
                    <a:pt x="6" y="184"/>
                  </a:lnTo>
                  <a:lnTo>
                    <a:pt x="12" y="162"/>
                  </a:lnTo>
                  <a:lnTo>
                    <a:pt x="20" y="142"/>
                  </a:lnTo>
                  <a:lnTo>
                    <a:pt x="32" y="120"/>
                  </a:lnTo>
                  <a:lnTo>
                    <a:pt x="46" y="102"/>
                  </a:lnTo>
                  <a:lnTo>
                    <a:pt x="62" y="84"/>
                  </a:lnTo>
                  <a:lnTo>
                    <a:pt x="78" y="68"/>
                  </a:lnTo>
                  <a:lnTo>
                    <a:pt x="98" y="52"/>
                  </a:lnTo>
                  <a:lnTo>
                    <a:pt x="118" y="40"/>
                  </a:lnTo>
                  <a:lnTo>
                    <a:pt x="140" y="28"/>
                  </a:lnTo>
                  <a:lnTo>
                    <a:pt x="164" y="18"/>
                  </a:lnTo>
                  <a:lnTo>
                    <a:pt x="190" y="10"/>
                  </a:lnTo>
                  <a:lnTo>
                    <a:pt x="216" y="4"/>
                  </a:lnTo>
                  <a:lnTo>
                    <a:pt x="242" y="0"/>
                  </a:lnTo>
                  <a:lnTo>
                    <a:pt x="270" y="0"/>
                  </a:lnTo>
                  <a:lnTo>
                    <a:pt x="270" y="0"/>
                  </a:lnTo>
                  <a:close/>
                  <a:moveTo>
                    <a:pt x="270" y="232"/>
                  </a:moveTo>
                  <a:lnTo>
                    <a:pt x="270" y="232"/>
                  </a:lnTo>
                  <a:close/>
                  <a:moveTo>
                    <a:pt x="220" y="50"/>
                  </a:moveTo>
                  <a:lnTo>
                    <a:pt x="220" y="50"/>
                  </a:lnTo>
                  <a:lnTo>
                    <a:pt x="220" y="196"/>
                  </a:lnTo>
                  <a:lnTo>
                    <a:pt x="220" y="196"/>
                  </a:lnTo>
                  <a:lnTo>
                    <a:pt x="214" y="186"/>
                  </a:lnTo>
                  <a:lnTo>
                    <a:pt x="208" y="176"/>
                  </a:lnTo>
                  <a:lnTo>
                    <a:pt x="194" y="160"/>
                  </a:lnTo>
                  <a:lnTo>
                    <a:pt x="176" y="144"/>
                  </a:lnTo>
                  <a:lnTo>
                    <a:pt x="156" y="130"/>
                  </a:lnTo>
                  <a:lnTo>
                    <a:pt x="48" y="130"/>
                  </a:lnTo>
                  <a:lnTo>
                    <a:pt x="48" y="130"/>
                  </a:lnTo>
                  <a:lnTo>
                    <a:pt x="76" y="152"/>
                  </a:lnTo>
                  <a:lnTo>
                    <a:pt x="106" y="178"/>
                  </a:lnTo>
                  <a:lnTo>
                    <a:pt x="120" y="192"/>
                  </a:lnTo>
                  <a:lnTo>
                    <a:pt x="130" y="204"/>
                  </a:lnTo>
                  <a:lnTo>
                    <a:pt x="136" y="218"/>
                  </a:lnTo>
                  <a:lnTo>
                    <a:pt x="138" y="230"/>
                  </a:lnTo>
                  <a:lnTo>
                    <a:pt x="138" y="230"/>
                  </a:lnTo>
                  <a:lnTo>
                    <a:pt x="138" y="236"/>
                  </a:lnTo>
                  <a:lnTo>
                    <a:pt x="136" y="240"/>
                  </a:lnTo>
                  <a:lnTo>
                    <a:pt x="132" y="244"/>
                  </a:lnTo>
                  <a:lnTo>
                    <a:pt x="128" y="246"/>
                  </a:lnTo>
                  <a:lnTo>
                    <a:pt x="11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38" y="25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146" y="330"/>
                  </a:lnTo>
                  <a:lnTo>
                    <a:pt x="146" y="330"/>
                  </a:lnTo>
                  <a:lnTo>
                    <a:pt x="166" y="328"/>
                  </a:lnTo>
                  <a:lnTo>
                    <a:pt x="176" y="324"/>
                  </a:lnTo>
                  <a:lnTo>
                    <a:pt x="186" y="320"/>
                  </a:lnTo>
                  <a:lnTo>
                    <a:pt x="196" y="314"/>
                  </a:lnTo>
                  <a:lnTo>
                    <a:pt x="206" y="306"/>
                  </a:lnTo>
                  <a:lnTo>
                    <a:pt x="214" y="296"/>
                  </a:lnTo>
                  <a:lnTo>
                    <a:pt x="220" y="284"/>
                  </a:lnTo>
                  <a:lnTo>
                    <a:pt x="220" y="390"/>
                  </a:lnTo>
                  <a:lnTo>
                    <a:pt x="320" y="390"/>
                  </a:lnTo>
                  <a:lnTo>
                    <a:pt x="320" y="284"/>
                  </a:lnTo>
                  <a:lnTo>
                    <a:pt x="320" y="284"/>
                  </a:lnTo>
                  <a:lnTo>
                    <a:pt x="326" y="296"/>
                  </a:lnTo>
                  <a:lnTo>
                    <a:pt x="334" y="306"/>
                  </a:lnTo>
                  <a:lnTo>
                    <a:pt x="342" y="314"/>
                  </a:lnTo>
                  <a:lnTo>
                    <a:pt x="352" y="320"/>
                  </a:lnTo>
                  <a:lnTo>
                    <a:pt x="362" y="324"/>
                  </a:lnTo>
                  <a:lnTo>
                    <a:pt x="372" y="328"/>
                  </a:lnTo>
                  <a:lnTo>
                    <a:pt x="392" y="330"/>
                  </a:lnTo>
                  <a:lnTo>
                    <a:pt x="392" y="330"/>
                  </a:lnTo>
                  <a:lnTo>
                    <a:pt x="500" y="330"/>
                  </a:lnTo>
                  <a:lnTo>
                    <a:pt x="500" y="250"/>
                  </a:lnTo>
                  <a:lnTo>
                    <a:pt x="500" y="250"/>
                  </a:lnTo>
                  <a:lnTo>
                    <a:pt x="432" y="250"/>
                  </a:lnTo>
                  <a:lnTo>
                    <a:pt x="432" y="250"/>
                  </a:lnTo>
                  <a:lnTo>
                    <a:pt x="422" y="250"/>
                  </a:lnTo>
                  <a:lnTo>
                    <a:pt x="412" y="246"/>
                  </a:lnTo>
                  <a:lnTo>
                    <a:pt x="408" y="244"/>
                  </a:lnTo>
                  <a:lnTo>
                    <a:pt x="404" y="240"/>
                  </a:lnTo>
                  <a:lnTo>
                    <a:pt x="402" y="236"/>
                  </a:lnTo>
                  <a:lnTo>
                    <a:pt x="400" y="230"/>
                  </a:lnTo>
                  <a:lnTo>
                    <a:pt x="400" y="230"/>
                  </a:lnTo>
                  <a:lnTo>
                    <a:pt x="402" y="218"/>
                  </a:lnTo>
                  <a:lnTo>
                    <a:pt x="410" y="204"/>
                  </a:lnTo>
                  <a:lnTo>
                    <a:pt x="420" y="192"/>
                  </a:lnTo>
                  <a:lnTo>
                    <a:pt x="432" y="178"/>
                  </a:lnTo>
                  <a:lnTo>
                    <a:pt x="462" y="152"/>
                  </a:lnTo>
                  <a:lnTo>
                    <a:pt x="492" y="130"/>
                  </a:lnTo>
                  <a:lnTo>
                    <a:pt x="382" y="130"/>
                  </a:lnTo>
                  <a:lnTo>
                    <a:pt x="382" y="130"/>
                  </a:lnTo>
                  <a:lnTo>
                    <a:pt x="364" y="144"/>
                  </a:lnTo>
                  <a:lnTo>
                    <a:pt x="346" y="160"/>
                  </a:lnTo>
                  <a:lnTo>
                    <a:pt x="330" y="176"/>
                  </a:lnTo>
                  <a:lnTo>
                    <a:pt x="324" y="186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20" y="50"/>
                  </a:lnTo>
                  <a:lnTo>
                    <a:pt x="22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1314450" y="339725"/>
              <a:ext cx="5232400" cy="736600"/>
              <a:chOff x="1314450" y="339725"/>
              <a:chExt cx="5232400" cy="736600"/>
            </a:xfrm>
            <a:grpFill/>
          </p:grpSpPr>
          <p:sp>
            <p:nvSpPr>
              <p:cNvPr id="11" name="Freeform 9"/>
              <p:cNvSpPr>
                <a:spLocks/>
              </p:cNvSpPr>
              <p:nvPr/>
            </p:nvSpPr>
            <p:spPr bwMode="auto">
              <a:xfrm>
                <a:off x="1908175" y="352425"/>
                <a:ext cx="139700" cy="98425"/>
              </a:xfrm>
              <a:custGeom>
                <a:avLst/>
                <a:gdLst>
                  <a:gd name="T0" fmla="*/ 4 w 88"/>
                  <a:gd name="T1" fmla="*/ 0 h 62"/>
                  <a:gd name="T2" fmla="*/ 88 w 88"/>
                  <a:gd name="T3" fmla="*/ 0 h 62"/>
                  <a:gd name="T4" fmla="*/ 84 w 88"/>
                  <a:gd name="T5" fmla="*/ 62 h 62"/>
                  <a:gd name="T6" fmla="*/ 0 w 88"/>
                  <a:gd name="T7" fmla="*/ 62 h 62"/>
                  <a:gd name="T8" fmla="*/ 4 w 88"/>
                  <a:gd name="T9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" h="62">
                    <a:moveTo>
                      <a:pt x="4" y="0"/>
                    </a:moveTo>
                    <a:lnTo>
                      <a:pt x="88" y="0"/>
                    </a:lnTo>
                    <a:lnTo>
                      <a:pt x="84" y="62"/>
                    </a:lnTo>
                    <a:lnTo>
                      <a:pt x="0" y="6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10"/>
              <p:cNvSpPr>
                <a:spLocks noEditPoints="1"/>
              </p:cNvSpPr>
              <p:nvPr/>
            </p:nvSpPr>
            <p:spPr bwMode="auto">
              <a:xfrm>
                <a:off x="5397500" y="504825"/>
                <a:ext cx="393700" cy="393700"/>
              </a:xfrm>
              <a:custGeom>
                <a:avLst/>
                <a:gdLst>
                  <a:gd name="T0" fmla="*/ 152 w 248"/>
                  <a:gd name="T1" fmla="*/ 216 h 248"/>
                  <a:gd name="T2" fmla="*/ 138 w 248"/>
                  <a:gd name="T3" fmla="*/ 228 h 248"/>
                  <a:gd name="T4" fmla="*/ 112 w 248"/>
                  <a:gd name="T5" fmla="*/ 242 h 248"/>
                  <a:gd name="T6" fmla="*/ 92 w 248"/>
                  <a:gd name="T7" fmla="*/ 246 h 248"/>
                  <a:gd name="T8" fmla="*/ 80 w 248"/>
                  <a:gd name="T9" fmla="*/ 248 h 248"/>
                  <a:gd name="T10" fmla="*/ 44 w 248"/>
                  <a:gd name="T11" fmla="*/ 242 h 248"/>
                  <a:gd name="T12" fmla="*/ 18 w 248"/>
                  <a:gd name="T13" fmla="*/ 226 h 248"/>
                  <a:gd name="T14" fmla="*/ 4 w 248"/>
                  <a:gd name="T15" fmla="*/ 202 h 248"/>
                  <a:gd name="T16" fmla="*/ 0 w 248"/>
                  <a:gd name="T17" fmla="*/ 174 h 248"/>
                  <a:gd name="T18" fmla="*/ 2 w 248"/>
                  <a:gd name="T19" fmla="*/ 156 h 248"/>
                  <a:gd name="T20" fmla="*/ 20 w 248"/>
                  <a:gd name="T21" fmla="*/ 128 h 248"/>
                  <a:gd name="T22" fmla="*/ 54 w 248"/>
                  <a:gd name="T23" fmla="*/ 108 h 248"/>
                  <a:gd name="T24" fmla="*/ 104 w 248"/>
                  <a:gd name="T25" fmla="*/ 98 h 248"/>
                  <a:gd name="T26" fmla="*/ 162 w 248"/>
                  <a:gd name="T27" fmla="*/ 96 h 248"/>
                  <a:gd name="T28" fmla="*/ 164 w 248"/>
                  <a:gd name="T29" fmla="*/ 78 h 248"/>
                  <a:gd name="T30" fmla="*/ 162 w 248"/>
                  <a:gd name="T31" fmla="*/ 60 h 248"/>
                  <a:gd name="T32" fmla="*/ 154 w 248"/>
                  <a:gd name="T33" fmla="*/ 46 h 248"/>
                  <a:gd name="T34" fmla="*/ 136 w 248"/>
                  <a:gd name="T35" fmla="*/ 40 h 248"/>
                  <a:gd name="T36" fmla="*/ 126 w 248"/>
                  <a:gd name="T37" fmla="*/ 42 h 248"/>
                  <a:gd name="T38" fmla="*/ 114 w 248"/>
                  <a:gd name="T39" fmla="*/ 48 h 248"/>
                  <a:gd name="T40" fmla="*/ 106 w 248"/>
                  <a:gd name="T41" fmla="*/ 66 h 248"/>
                  <a:gd name="T42" fmla="*/ 22 w 248"/>
                  <a:gd name="T43" fmla="*/ 76 h 248"/>
                  <a:gd name="T44" fmla="*/ 24 w 248"/>
                  <a:gd name="T45" fmla="*/ 66 h 248"/>
                  <a:gd name="T46" fmla="*/ 28 w 248"/>
                  <a:gd name="T47" fmla="*/ 46 h 248"/>
                  <a:gd name="T48" fmla="*/ 38 w 248"/>
                  <a:gd name="T49" fmla="*/ 30 h 248"/>
                  <a:gd name="T50" fmla="*/ 54 w 248"/>
                  <a:gd name="T51" fmla="*/ 18 h 248"/>
                  <a:gd name="T52" fmla="*/ 62 w 248"/>
                  <a:gd name="T53" fmla="*/ 14 h 248"/>
                  <a:gd name="T54" fmla="*/ 102 w 248"/>
                  <a:gd name="T55" fmla="*/ 2 h 248"/>
                  <a:gd name="T56" fmla="*/ 144 w 248"/>
                  <a:gd name="T57" fmla="*/ 0 h 248"/>
                  <a:gd name="T58" fmla="*/ 164 w 248"/>
                  <a:gd name="T59" fmla="*/ 0 h 248"/>
                  <a:gd name="T60" fmla="*/ 200 w 248"/>
                  <a:gd name="T61" fmla="*/ 10 h 248"/>
                  <a:gd name="T62" fmla="*/ 230 w 248"/>
                  <a:gd name="T63" fmla="*/ 30 h 248"/>
                  <a:gd name="T64" fmla="*/ 240 w 248"/>
                  <a:gd name="T65" fmla="*/ 44 h 248"/>
                  <a:gd name="T66" fmla="*/ 246 w 248"/>
                  <a:gd name="T67" fmla="*/ 62 h 248"/>
                  <a:gd name="T68" fmla="*/ 248 w 248"/>
                  <a:gd name="T69" fmla="*/ 82 h 248"/>
                  <a:gd name="T70" fmla="*/ 242 w 248"/>
                  <a:gd name="T71" fmla="*/ 196 h 248"/>
                  <a:gd name="T72" fmla="*/ 242 w 248"/>
                  <a:gd name="T73" fmla="*/ 246 h 248"/>
                  <a:gd name="T74" fmla="*/ 152 w 248"/>
                  <a:gd name="T75" fmla="*/ 216 h 248"/>
                  <a:gd name="T76" fmla="*/ 114 w 248"/>
                  <a:gd name="T77" fmla="*/ 200 h 248"/>
                  <a:gd name="T78" fmla="*/ 138 w 248"/>
                  <a:gd name="T79" fmla="*/ 194 h 248"/>
                  <a:gd name="T80" fmla="*/ 152 w 248"/>
                  <a:gd name="T81" fmla="*/ 176 h 248"/>
                  <a:gd name="T82" fmla="*/ 158 w 248"/>
                  <a:gd name="T83" fmla="*/ 154 h 248"/>
                  <a:gd name="T84" fmla="*/ 160 w 248"/>
                  <a:gd name="T85" fmla="*/ 130 h 248"/>
                  <a:gd name="T86" fmla="*/ 122 w 248"/>
                  <a:gd name="T87" fmla="*/ 132 h 248"/>
                  <a:gd name="T88" fmla="*/ 110 w 248"/>
                  <a:gd name="T89" fmla="*/ 134 h 248"/>
                  <a:gd name="T90" fmla="*/ 94 w 248"/>
                  <a:gd name="T91" fmla="*/ 148 h 248"/>
                  <a:gd name="T92" fmla="*/ 86 w 248"/>
                  <a:gd name="T93" fmla="*/ 170 h 248"/>
                  <a:gd name="T94" fmla="*/ 86 w 248"/>
                  <a:gd name="T95" fmla="*/ 176 h 248"/>
                  <a:gd name="T96" fmla="*/ 92 w 248"/>
                  <a:gd name="T97" fmla="*/ 192 h 248"/>
                  <a:gd name="T98" fmla="*/ 102 w 248"/>
                  <a:gd name="T99" fmla="*/ 198 h 248"/>
                  <a:gd name="T100" fmla="*/ 114 w 248"/>
                  <a:gd name="T101" fmla="*/ 20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8" h="248">
                    <a:moveTo>
                      <a:pt x="152" y="216"/>
                    </a:moveTo>
                    <a:lnTo>
                      <a:pt x="152" y="216"/>
                    </a:lnTo>
                    <a:lnTo>
                      <a:pt x="152" y="216"/>
                    </a:lnTo>
                    <a:lnTo>
                      <a:pt x="138" y="228"/>
                    </a:lnTo>
                    <a:lnTo>
                      <a:pt x="122" y="238"/>
                    </a:lnTo>
                    <a:lnTo>
                      <a:pt x="112" y="242"/>
                    </a:lnTo>
                    <a:lnTo>
                      <a:pt x="102" y="246"/>
                    </a:lnTo>
                    <a:lnTo>
                      <a:pt x="92" y="246"/>
                    </a:lnTo>
                    <a:lnTo>
                      <a:pt x="80" y="248"/>
                    </a:lnTo>
                    <a:lnTo>
                      <a:pt x="80" y="248"/>
                    </a:lnTo>
                    <a:lnTo>
                      <a:pt x="60" y="246"/>
                    </a:lnTo>
                    <a:lnTo>
                      <a:pt x="44" y="242"/>
                    </a:lnTo>
                    <a:lnTo>
                      <a:pt x="30" y="234"/>
                    </a:lnTo>
                    <a:lnTo>
                      <a:pt x="18" y="226"/>
                    </a:lnTo>
                    <a:lnTo>
                      <a:pt x="10" y="216"/>
                    </a:lnTo>
                    <a:lnTo>
                      <a:pt x="4" y="202"/>
                    </a:lnTo>
                    <a:lnTo>
                      <a:pt x="0" y="188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2" y="156"/>
                    </a:lnTo>
                    <a:lnTo>
                      <a:pt x="8" y="142"/>
                    </a:lnTo>
                    <a:lnTo>
                      <a:pt x="20" y="128"/>
                    </a:lnTo>
                    <a:lnTo>
                      <a:pt x="34" y="116"/>
                    </a:lnTo>
                    <a:lnTo>
                      <a:pt x="54" y="108"/>
                    </a:lnTo>
                    <a:lnTo>
                      <a:pt x="76" y="102"/>
                    </a:lnTo>
                    <a:lnTo>
                      <a:pt x="104" y="98"/>
                    </a:lnTo>
                    <a:lnTo>
                      <a:pt x="134" y="96"/>
                    </a:lnTo>
                    <a:lnTo>
                      <a:pt x="162" y="96"/>
                    </a:lnTo>
                    <a:lnTo>
                      <a:pt x="162" y="96"/>
                    </a:lnTo>
                    <a:lnTo>
                      <a:pt x="164" y="78"/>
                    </a:lnTo>
                    <a:lnTo>
                      <a:pt x="164" y="70"/>
                    </a:lnTo>
                    <a:lnTo>
                      <a:pt x="162" y="60"/>
                    </a:lnTo>
                    <a:lnTo>
                      <a:pt x="160" y="52"/>
                    </a:lnTo>
                    <a:lnTo>
                      <a:pt x="154" y="46"/>
                    </a:lnTo>
                    <a:lnTo>
                      <a:pt x="146" y="42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26" y="42"/>
                    </a:lnTo>
                    <a:lnTo>
                      <a:pt x="120" y="44"/>
                    </a:lnTo>
                    <a:lnTo>
                      <a:pt x="114" y="48"/>
                    </a:lnTo>
                    <a:lnTo>
                      <a:pt x="110" y="54"/>
                    </a:lnTo>
                    <a:lnTo>
                      <a:pt x="106" y="66"/>
                    </a:lnTo>
                    <a:lnTo>
                      <a:pt x="104" y="76"/>
                    </a:lnTo>
                    <a:lnTo>
                      <a:pt x="22" y="76"/>
                    </a:lnTo>
                    <a:lnTo>
                      <a:pt x="22" y="76"/>
                    </a:lnTo>
                    <a:lnTo>
                      <a:pt x="24" y="66"/>
                    </a:lnTo>
                    <a:lnTo>
                      <a:pt x="26" y="54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38" y="30"/>
                    </a:lnTo>
                    <a:lnTo>
                      <a:pt x="46" y="24"/>
                    </a:lnTo>
                    <a:lnTo>
                      <a:pt x="54" y="18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2" y="6"/>
                    </a:lnTo>
                    <a:lnTo>
                      <a:pt x="102" y="2"/>
                    </a:lnTo>
                    <a:lnTo>
                      <a:pt x="124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64" y="0"/>
                    </a:lnTo>
                    <a:lnTo>
                      <a:pt x="182" y="4"/>
                    </a:lnTo>
                    <a:lnTo>
                      <a:pt x="200" y="10"/>
                    </a:lnTo>
                    <a:lnTo>
                      <a:pt x="216" y="18"/>
                    </a:lnTo>
                    <a:lnTo>
                      <a:pt x="230" y="30"/>
                    </a:lnTo>
                    <a:lnTo>
                      <a:pt x="236" y="38"/>
                    </a:lnTo>
                    <a:lnTo>
                      <a:pt x="240" y="44"/>
                    </a:lnTo>
                    <a:lnTo>
                      <a:pt x="244" y="52"/>
                    </a:lnTo>
                    <a:lnTo>
                      <a:pt x="246" y="62"/>
                    </a:lnTo>
                    <a:lnTo>
                      <a:pt x="248" y="72"/>
                    </a:lnTo>
                    <a:lnTo>
                      <a:pt x="248" y="82"/>
                    </a:lnTo>
                    <a:lnTo>
                      <a:pt x="242" y="196"/>
                    </a:lnTo>
                    <a:lnTo>
                      <a:pt x="242" y="196"/>
                    </a:lnTo>
                    <a:lnTo>
                      <a:pt x="240" y="214"/>
                    </a:lnTo>
                    <a:lnTo>
                      <a:pt x="242" y="246"/>
                    </a:lnTo>
                    <a:lnTo>
                      <a:pt x="158" y="246"/>
                    </a:lnTo>
                    <a:lnTo>
                      <a:pt x="152" y="216"/>
                    </a:lnTo>
                    <a:close/>
                    <a:moveTo>
                      <a:pt x="114" y="200"/>
                    </a:moveTo>
                    <a:lnTo>
                      <a:pt x="114" y="200"/>
                    </a:lnTo>
                    <a:lnTo>
                      <a:pt x="128" y="198"/>
                    </a:lnTo>
                    <a:lnTo>
                      <a:pt x="138" y="194"/>
                    </a:lnTo>
                    <a:lnTo>
                      <a:pt x="146" y="186"/>
                    </a:lnTo>
                    <a:lnTo>
                      <a:pt x="152" y="176"/>
                    </a:lnTo>
                    <a:lnTo>
                      <a:pt x="156" y="166"/>
                    </a:lnTo>
                    <a:lnTo>
                      <a:pt x="158" y="154"/>
                    </a:lnTo>
                    <a:lnTo>
                      <a:pt x="160" y="130"/>
                    </a:lnTo>
                    <a:lnTo>
                      <a:pt x="160" y="130"/>
                    </a:lnTo>
                    <a:lnTo>
                      <a:pt x="134" y="130"/>
                    </a:lnTo>
                    <a:lnTo>
                      <a:pt x="122" y="132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2" y="140"/>
                    </a:lnTo>
                    <a:lnTo>
                      <a:pt x="94" y="148"/>
                    </a:lnTo>
                    <a:lnTo>
                      <a:pt x="88" y="158"/>
                    </a:lnTo>
                    <a:lnTo>
                      <a:pt x="86" y="170"/>
                    </a:lnTo>
                    <a:lnTo>
                      <a:pt x="86" y="170"/>
                    </a:lnTo>
                    <a:lnTo>
                      <a:pt x="86" y="176"/>
                    </a:lnTo>
                    <a:lnTo>
                      <a:pt x="88" y="182"/>
                    </a:lnTo>
                    <a:lnTo>
                      <a:pt x="92" y="192"/>
                    </a:lnTo>
                    <a:lnTo>
                      <a:pt x="96" y="194"/>
                    </a:lnTo>
                    <a:lnTo>
                      <a:pt x="102" y="198"/>
                    </a:lnTo>
                    <a:lnTo>
                      <a:pt x="108" y="200"/>
                    </a:lnTo>
                    <a:lnTo>
                      <a:pt x="114" y="200"/>
                    </a:lnTo>
                    <a:lnTo>
                      <a:pt x="114" y="2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11"/>
              <p:cNvSpPr>
                <a:spLocks noEditPoints="1"/>
              </p:cNvSpPr>
              <p:nvPr/>
            </p:nvSpPr>
            <p:spPr bwMode="auto">
              <a:xfrm>
                <a:off x="6092825" y="352425"/>
                <a:ext cx="454025" cy="542925"/>
              </a:xfrm>
              <a:custGeom>
                <a:avLst/>
                <a:gdLst>
                  <a:gd name="T0" fmla="*/ 0 w 286"/>
                  <a:gd name="T1" fmla="*/ 342 h 342"/>
                  <a:gd name="T2" fmla="*/ 24 w 286"/>
                  <a:gd name="T3" fmla="*/ 0 h 342"/>
                  <a:gd name="T4" fmla="*/ 114 w 286"/>
                  <a:gd name="T5" fmla="*/ 0 h 342"/>
                  <a:gd name="T6" fmla="*/ 90 w 286"/>
                  <a:gd name="T7" fmla="*/ 342 h 342"/>
                  <a:gd name="T8" fmla="*/ 0 w 286"/>
                  <a:gd name="T9" fmla="*/ 342 h 342"/>
                  <a:gd name="T10" fmla="*/ 100 w 286"/>
                  <a:gd name="T11" fmla="*/ 210 h 342"/>
                  <a:gd name="T12" fmla="*/ 184 w 286"/>
                  <a:gd name="T13" fmla="*/ 104 h 342"/>
                  <a:gd name="T14" fmla="*/ 286 w 286"/>
                  <a:gd name="T15" fmla="*/ 104 h 342"/>
                  <a:gd name="T16" fmla="*/ 194 w 286"/>
                  <a:gd name="T17" fmla="*/ 204 h 342"/>
                  <a:gd name="T18" fmla="*/ 282 w 286"/>
                  <a:gd name="T19" fmla="*/ 342 h 342"/>
                  <a:gd name="T20" fmla="*/ 170 w 286"/>
                  <a:gd name="T21" fmla="*/ 342 h 342"/>
                  <a:gd name="T22" fmla="*/ 100 w 286"/>
                  <a:gd name="T23" fmla="*/ 21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6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4" y="0"/>
                    </a:lnTo>
                    <a:lnTo>
                      <a:pt x="90" y="342"/>
                    </a:lnTo>
                    <a:lnTo>
                      <a:pt x="0" y="342"/>
                    </a:lnTo>
                    <a:close/>
                    <a:moveTo>
                      <a:pt x="100" y="210"/>
                    </a:moveTo>
                    <a:lnTo>
                      <a:pt x="184" y="104"/>
                    </a:lnTo>
                    <a:lnTo>
                      <a:pt x="286" y="104"/>
                    </a:lnTo>
                    <a:lnTo>
                      <a:pt x="194" y="204"/>
                    </a:lnTo>
                    <a:lnTo>
                      <a:pt x="282" y="342"/>
                    </a:lnTo>
                    <a:lnTo>
                      <a:pt x="170" y="342"/>
                    </a:lnTo>
                    <a:lnTo>
                      <a:pt x="10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12"/>
              <p:cNvSpPr>
                <a:spLocks/>
              </p:cNvSpPr>
              <p:nvPr/>
            </p:nvSpPr>
            <p:spPr bwMode="auto">
              <a:xfrm>
                <a:off x="3606800" y="517525"/>
                <a:ext cx="292100" cy="377825"/>
              </a:xfrm>
              <a:custGeom>
                <a:avLst/>
                <a:gdLst>
                  <a:gd name="T0" fmla="*/ 104 w 184"/>
                  <a:gd name="T1" fmla="*/ 34 h 238"/>
                  <a:gd name="T2" fmla="*/ 106 w 184"/>
                  <a:gd name="T3" fmla="*/ 34 h 238"/>
                  <a:gd name="T4" fmla="*/ 106 w 184"/>
                  <a:gd name="T5" fmla="*/ 34 h 238"/>
                  <a:gd name="T6" fmla="*/ 114 w 184"/>
                  <a:gd name="T7" fmla="*/ 24 h 238"/>
                  <a:gd name="T8" fmla="*/ 124 w 184"/>
                  <a:gd name="T9" fmla="*/ 16 h 238"/>
                  <a:gd name="T10" fmla="*/ 132 w 184"/>
                  <a:gd name="T11" fmla="*/ 10 h 238"/>
                  <a:gd name="T12" fmla="*/ 142 w 184"/>
                  <a:gd name="T13" fmla="*/ 6 h 238"/>
                  <a:gd name="T14" fmla="*/ 152 w 184"/>
                  <a:gd name="T15" fmla="*/ 4 h 238"/>
                  <a:gd name="T16" fmla="*/ 162 w 184"/>
                  <a:gd name="T17" fmla="*/ 2 h 238"/>
                  <a:gd name="T18" fmla="*/ 184 w 184"/>
                  <a:gd name="T19" fmla="*/ 0 h 238"/>
                  <a:gd name="T20" fmla="*/ 178 w 184"/>
                  <a:gd name="T21" fmla="*/ 76 h 238"/>
                  <a:gd name="T22" fmla="*/ 178 w 184"/>
                  <a:gd name="T23" fmla="*/ 76 h 238"/>
                  <a:gd name="T24" fmla="*/ 160 w 184"/>
                  <a:gd name="T25" fmla="*/ 76 h 238"/>
                  <a:gd name="T26" fmla="*/ 160 w 184"/>
                  <a:gd name="T27" fmla="*/ 76 h 238"/>
                  <a:gd name="T28" fmla="*/ 140 w 184"/>
                  <a:gd name="T29" fmla="*/ 78 h 238"/>
                  <a:gd name="T30" fmla="*/ 126 w 184"/>
                  <a:gd name="T31" fmla="*/ 82 h 238"/>
                  <a:gd name="T32" fmla="*/ 116 w 184"/>
                  <a:gd name="T33" fmla="*/ 88 h 238"/>
                  <a:gd name="T34" fmla="*/ 108 w 184"/>
                  <a:gd name="T35" fmla="*/ 98 h 238"/>
                  <a:gd name="T36" fmla="*/ 102 w 184"/>
                  <a:gd name="T37" fmla="*/ 108 h 238"/>
                  <a:gd name="T38" fmla="*/ 100 w 184"/>
                  <a:gd name="T39" fmla="*/ 120 h 238"/>
                  <a:gd name="T40" fmla="*/ 98 w 184"/>
                  <a:gd name="T41" fmla="*/ 148 h 238"/>
                  <a:gd name="T42" fmla="*/ 92 w 184"/>
                  <a:gd name="T43" fmla="*/ 238 h 238"/>
                  <a:gd name="T44" fmla="*/ 0 w 184"/>
                  <a:gd name="T45" fmla="*/ 238 h 238"/>
                  <a:gd name="T46" fmla="*/ 12 w 184"/>
                  <a:gd name="T47" fmla="*/ 62 h 238"/>
                  <a:gd name="T48" fmla="*/ 12 w 184"/>
                  <a:gd name="T49" fmla="*/ 62 h 238"/>
                  <a:gd name="T50" fmla="*/ 14 w 184"/>
                  <a:gd name="T51" fmla="*/ 32 h 238"/>
                  <a:gd name="T52" fmla="*/ 14 w 184"/>
                  <a:gd name="T53" fmla="*/ 0 h 238"/>
                  <a:gd name="T54" fmla="*/ 102 w 184"/>
                  <a:gd name="T55" fmla="*/ 0 h 238"/>
                  <a:gd name="T56" fmla="*/ 104 w 184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4" h="238">
                    <a:moveTo>
                      <a:pt x="104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4" y="24"/>
                    </a:lnTo>
                    <a:lnTo>
                      <a:pt x="124" y="16"/>
                    </a:lnTo>
                    <a:lnTo>
                      <a:pt x="132" y="10"/>
                    </a:lnTo>
                    <a:lnTo>
                      <a:pt x="142" y="6"/>
                    </a:lnTo>
                    <a:lnTo>
                      <a:pt x="152" y="4"/>
                    </a:lnTo>
                    <a:lnTo>
                      <a:pt x="162" y="2"/>
                    </a:lnTo>
                    <a:lnTo>
                      <a:pt x="184" y="0"/>
                    </a:lnTo>
                    <a:lnTo>
                      <a:pt x="178" y="76"/>
                    </a:lnTo>
                    <a:lnTo>
                      <a:pt x="178" y="76"/>
                    </a:lnTo>
                    <a:lnTo>
                      <a:pt x="160" y="76"/>
                    </a:lnTo>
                    <a:lnTo>
                      <a:pt x="160" y="76"/>
                    </a:lnTo>
                    <a:lnTo>
                      <a:pt x="140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2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4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13"/>
              <p:cNvSpPr>
                <a:spLocks/>
              </p:cNvSpPr>
              <p:nvPr/>
            </p:nvSpPr>
            <p:spPr bwMode="auto">
              <a:xfrm>
                <a:off x="3889375" y="352425"/>
                <a:ext cx="174625" cy="542925"/>
              </a:xfrm>
              <a:custGeom>
                <a:avLst/>
                <a:gdLst>
                  <a:gd name="T0" fmla="*/ 0 w 110"/>
                  <a:gd name="T1" fmla="*/ 342 h 342"/>
                  <a:gd name="T2" fmla="*/ 24 w 110"/>
                  <a:gd name="T3" fmla="*/ 0 h 342"/>
                  <a:gd name="T4" fmla="*/ 110 w 110"/>
                  <a:gd name="T5" fmla="*/ 0 h 342"/>
                  <a:gd name="T6" fmla="*/ 86 w 110"/>
                  <a:gd name="T7" fmla="*/ 342 h 342"/>
                  <a:gd name="T8" fmla="*/ 0 w 110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0" y="0"/>
                    </a:lnTo>
                    <a:lnTo>
                      <a:pt x="86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14"/>
              <p:cNvSpPr>
                <a:spLocks noEditPoints="1"/>
              </p:cNvSpPr>
              <p:nvPr/>
            </p:nvSpPr>
            <p:spPr bwMode="auto">
              <a:xfrm>
                <a:off x="2740025" y="352425"/>
                <a:ext cx="438150" cy="546100"/>
              </a:xfrm>
              <a:custGeom>
                <a:avLst/>
                <a:gdLst>
                  <a:gd name="T0" fmla="*/ 112 w 276"/>
                  <a:gd name="T1" fmla="*/ 0 h 344"/>
                  <a:gd name="T2" fmla="*/ 104 w 276"/>
                  <a:gd name="T3" fmla="*/ 136 h 344"/>
                  <a:gd name="T4" fmla="*/ 120 w 276"/>
                  <a:gd name="T5" fmla="*/ 122 h 344"/>
                  <a:gd name="T6" fmla="*/ 146 w 276"/>
                  <a:gd name="T7" fmla="*/ 104 h 344"/>
                  <a:gd name="T8" fmla="*/ 168 w 276"/>
                  <a:gd name="T9" fmla="*/ 98 h 344"/>
                  <a:gd name="T10" fmla="*/ 180 w 276"/>
                  <a:gd name="T11" fmla="*/ 98 h 344"/>
                  <a:gd name="T12" fmla="*/ 206 w 276"/>
                  <a:gd name="T13" fmla="*/ 100 h 344"/>
                  <a:gd name="T14" fmla="*/ 226 w 276"/>
                  <a:gd name="T15" fmla="*/ 108 h 344"/>
                  <a:gd name="T16" fmla="*/ 244 w 276"/>
                  <a:gd name="T17" fmla="*/ 120 h 344"/>
                  <a:gd name="T18" fmla="*/ 258 w 276"/>
                  <a:gd name="T19" fmla="*/ 136 h 344"/>
                  <a:gd name="T20" fmla="*/ 274 w 276"/>
                  <a:gd name="T21" fmla="*/ 176 h 344"/>
                  <a:gd name="T22" fmla="*/ 276 w 276"/>
                  <a:gd name="T23" fmla="*/ 220 h 344"/>
                  <a:gd name="T24" fmla="*/ 274 w 276"/>
                  <a:gd name="T25" fmla="*/ 242 h 344"/>
                  <a:gd name="T26" fmla="*/ 260 w 276"/>
                  <a:gd name="T27" fmla="*/ 284 h 344"/>
                  <a:gd name="T28" fmla="*/ 240 w 276"/>
                  <a:gd name="T29" fmla="*/ 312 h 344"/>
                  <a:gd name="T30" fmla="*/ 222 w 276"/>
                  <a:gd name="T31" fmla="*/ 328 h 344"/>
                  <a:gd name="T32" fmla="*/ 202 w 276"/>
                  <a:gd name="T33" fmla="*/ 338 h 344"/>
                  <a:gd name="T34" fmla="*/ 176 w 276"/>
                  <a:gd name="T35" fmla="*/ 344 h 344"/>
                  <a:gd name="T36" fmla="*/ 160 w 276"/>
                  <a:gd name="T37" fmla="*/ 344 h 344"/>
                  <a:gd name="T38" fmla="*/ 140 w 276"/>
                  <a:gd name="T39" fmla="*/ 342 h 344"/>
                  <a:gd name="T40" fmla="*/ 106 w 276"/>
                  <a:gd name="T41" fmla="*/ 324 h 344"/>
                  <a:gd name="T42" fmla="*/ 92 w 276"/>
                  <a:gd name="T43" fmla="*/ 312 h 344"/>
                  <a:gd name="T44" fmla="*/ 0 w 276"/>
                  <a:gd name="T45" fmla="*/ 342 h 344"/>
                  <a:gd name="T46" fmla="*/ 94 w 276"/>
                  <a:gd name="T47" fmla="*/ 226 h 344"/>
                  <a:gd name="T48" fmla="*/ 96 w 276"/>
                  <a:gd name="T49" fmla="*/ 250 h 344"/>
                  <a:gd name="T50" fmla="*/ 102 w 276"/>
                  <a:gd name="T51" fmla="*/ 272 h 344"/>
                  <a:gd name="T52" fmla="*/ 114 w 276"/>
                  <a:gd name="T53" fmla="*/ 288 h 344"/>
                  <a:gd name="T54" fmla="*/ 134 w 276"/>
                  <a:gd name="T55" fmla="*/ 296 h 344"/>
                  <a:gd name="T56" fmla="*/ 148 w 276"/>
                  <a:gd name="T57" fmla="*/ 294 h 344"/>
                  <a:gd name="T58" fmla="*/ 168 w 276"/>
                  <a:gd name="T59" fmla="*/ 282 h 344"/>
                  <a:gd name="T60" fmla="*/ 180 w 276"/>
                  <a:gd name="T61" fmla="*/ 260 h 344"/>
                  <a:gd name="T62" fmla="*/ 186 w 276"/>
                  <a:gd name="T63" fmla="*/ 222 h 344"/>
                  <a:gd name="T64" fmla="*/ 186 w 276"/>
                  <a:gd name="T65" fmla="*/ 198 h 344"/>
                  <a:gd name="T66" fmla="*/ 180 w 276"/>
                  <a:gd name="T67" fmla="*/ 174 h 344"/>
                  <a:gd name="T68" fmla="*/ 168 w 276"/>
                  <a:gd name="T69" fmla="*/ 156 h 344"/>
                  <a:gd name="T70" fmla="*/ 146 w 276"/>
                  <a:gd name="T71" fmla="*/ 150 h 344"/>
                  <a:gd name="T72" fmla="*/ 132 w 276"/>
                  <a:gd name="T73" fmla="*/ 152 h 344"/>
                  <a:gd name="T74" fmla="*/ 112 w 276"/>
                  <a:gd name="T75" fmla="*/ 166 h 344"/>
                  <a:gd name="T76" fmla="*/ 100 w 276"/>
                  <a:gd name="T77" fmla="*/ 188 h 344"/>
                  <a:gd name="T78" fmla="*/ 94 w 276"/>
                  <a:gd name="T79" fmla="*/ 226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6" h="344">
                    <a:moveTo>
                      <a:pt x="24" y="0"/>
                    </a:moveTo>
                    <a:lnTo>
                      <a:pt x="112" y="0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20" y="122"/>
                    </a:lnTo>
                    <a:lnTo>
                      <a:pt x="138" y="108"/>
                    </a:lnTo>
                    <a:lnTo>
                      <a:pt x="146" y="104"/>
                    </a:lnTo>
                    <a:lnTo>
                      <a:pt x="158" y="100"/>
                    </a:lnTo>
                    <a:lnTo>
                      <a:pt x="168" y="98"/>
                    </a:lnTo>
                    <a:lnTo>
                      <a:pt x="180" y="98"/>
                    </a:lnTo>
                    <a:lnTo>
                      <a:pt x="180" y="98"/>
                    </a:lnTo>
                    <a:lnTo>
                      <a:pt x="194" y="98"/>
                    </a:lnTo>
                    <a:lnTo>
                      <a:pt x="206" y="100"/>
                    </a:lnTo>
                    <a:lnTo>
                      <a:pt x="216" y="104"/>
                    </a:lnTo>
                    <a:lnTo>
                      <a:pt x="226" y="108"/>
                    </a:lnTo>
                    <a:lnTo>
                      <a:pt x="236" y="114"/>
                    </a:lnTo>
                    <a:lnTo>
                      <a:pt x="244" y="120"/>
                    </a:lnTo>
                    <a:lnTo>
                      <a:pt x="250" y="128"/>
                    </a:lnTo>
                    <a:lnTo>
                      <a:pt x="258" y="136"/>
                    </a:lnTo>
                    <a:lnTo>
                      <a:pt x="266" y="156"/>
                    </a:lnTo>
                    <a:lnTo>
                      <a:pt x="274" y="176"/>
                    </a:lnTo>
                    <a:lnTo>
                      <a:pt x="276" y="198"/>
                    </a:lnTo>
                    <a:lnTo>
                      <a:pt x="276" y="220"/>
                    </a:lnTo>
                    <a:lnTo>
                      <a:pt x="276" y="220"/>
                    </a:lnTo>
                    <a:lnTo>
                      <a:pt x="274" y="242"/>
                    </a:lnTo>
                    <a:lnTo>
                      <a:pt x="268" y="264"/>
                    </a:lnTo>
                    <a:lnTo>
                      <a:pt x="260" y="284"/>
                    </a:lnTo>
                    <a:lnTo>
                      <a:pt x="248" y="304"/>
                    </a:lnTo>
                    <a:lnTo>
                      <a:pt x="240" y="312"/>
                    </a:lnTo>
                    <a:lnTo>
                      <a:pt x="232" y="320"/>
                    </a:lnTo>
                    <a:lnTo>
                      <a:pt x="222" y="328"/>
                    </a:lnTo>
                    <a:lnTo>
                      <a:pt x="212" y="334"/>
                    </a:lnTo>
                    <a:lnTo>
                      <a:pt x="202" y="338"/>
                    </a:lnTo>
                    <a:lnTo>
                      <a:pt x="188" y="342"/>
                    </a:lnTo>
                    <a:lnTo>
                      <a:pt x="176" y="344"/>
                    </a:lnTo>
                    <a:lnTo>
                      <a:pt x="160" y="344"/>
                    </a:lnTo>
                    <a:lnTo>
                      <a:pt x="160" y="344"/>
                    </a:lnTo>
                    <a:lnTo>
                      <a:pt x="150" y="344"/>
                    </a:lnTo>
                    <a:lnTo>
                      <a:pt x="140" y="342"/>
                    </a:lnTo>
                    <a:lnTo>
                      <a:pt x="122" y="336"/>
                    </a:lnTo>
                    <a:lnTo>
                      <a:pt x="106" y="324"/>
                    </a:lnTo>
                    <a:lnTo>
                      <a:pt x="94" y="312"/>
                    </a:lnTo>
                    <a:lnTo>
                      <a:pt x="92" y="312"/>
                    </a:lnTo>
                    <a:lnTo>
                      <a:pt x="88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  <a:moveTo>
                      <a:pt x="94" y="226"/>
                    </a:moveTo>
                    <a:lnTo>
                      <a:pt x="94" y="226"/>
                    </a:lnTo>
                    <a:lnTo>
                      <a:pt x="96" y="250"/>
                    </a:lnTo>
                    <a:lnTo>
                      <a:pt x="98" y="260"/>
                    </a:lnTo>
                    <a:lnTo>
                      <a:pt x="102" y="272"/>
                    </a:lnTo>
                    <a:lnTo>
                      <a:pt x="106" y="282"/>
                    </a:lnTo>
                    <a:lnTo>
                      <a:pt x="114" y="288"/>
                    </a:lnTo>
                    <a:lnTo>
                      <a:pt x="122" y="294"/>
                    </a:lnTo>
                    <a:lnTo>
                      <a:pt x="134" y="296"/>
                    </a:lnTo>
                    <a:lnTo>
                      <a:pt x="134" y="296"/>
                    </a:lnTo>
                    <a:lnTo>
                      <a:pt x="148" y="294"/>
                    </a:lnTo>
                    <a:lnTo>
                      <a:pt x="158" y="288"/>
                    </a:lnTo>
                    <a:lnTo>
                      <a:pt x="168" y="282"/>
                    </a:lnTo>
                    <a:lnTo>
                      <a:pt x="174" y="272"/>
                    </a:lnTo>
                    <a:lnTo>
                      <a:pt x="180" y="260"/>
                    </a:lnTo>
                    <a:lnTo>
                      <a:pt x="184" y="248"/>
                    </a:lnTo>
                    <a:lnTo>
                      <a:pt x="186" y="222"/>
                    </a:lnTo>
                    <a:lnTo>
                      <a:pt x="186" y="222"/>
                    </a:lnTo>
                    <a:lnTo>
                      <a:pt x="186" y="198"/>
                    </a:lnTo>
                    <a:lnTo>
                      <a:pt x="184" y="186"/>
                    </a:lnTo>
                    <a:lnTo>
                      <a:pt x="180" y="174"/>
                    </a:lnTo>
                    <a:lnTo>
                      <a:pt x="176" y="164"/>
                    </a:lnTo>
                    <a:lnTo>
                      <a:pt x="168" y="156"/>
                    </a:lnTo>
                    <a:lnTo>
                      <a:pt x="158" y="152"/>
                    </a:lnTo>
                    <a:lnTo>
                      <a:pt x="146" y="150"/>
                    </a:lnTo>
                    <a:lnTo>
                      <a:pt x="146" y="150"/>
                    </a:lnTo>
                    <a:lnTo>
                      <a:pt x="132" y="152"/>
                    </a:lnTo>
                    <a:lnTo>
                      <a:pt x="120" y="156"/>
                    </a:lnTo>
                    <a:lnTo>
                      <a:pt x="112" y="166"/>
                    </a:lnTo>
                    <a:lnTo>
                      <a:pt x="104" y="176"/>
                    </a:lnTo>
                    <a:lnTo>
                      <a:pt x="100" y="188"/>
                    </a:lnTo>
                    <a:lnTo>
                      <a:pt x="98" y="200"/>
                    </a:lnTo>
                    <a:lnTo>
                      <a:pt x="94" y="226"/>
                    </a:lnTo>
                    <a:lnTo>
                      <a:pt x="94" y="2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15"/>
              <p:cNvSpPr>
                <a:spLocks noEditPoints="1"/>
              </p:cNvSpPr>
              <p:nvPr/>
            </p:nvSpPr>
            <p:spPr bwMode="auto">
              <a:xfrm>
                <a:off x="3197225" y="504825"/>
                <a:ext cx="406400" cy="396875"/>
              </a:xfrm>
              <a:custGeom>
                <a:avLst/>
                <a:gdLst>
                  <a:gd name="T0" fmla="*/ 86 w 256"/>
                  <a:gd name="T1" fmla="*/ 142 h 250"/>
                  <a:gd name="T2" fmla="*/ 86 w 256"/>
                  <a:gd name="T3" fmla="*/ 166 h 250"/>
                  <a:gd name="T4" fmla="*/ 90 w 256"/>
                  <a:gd name="T5" fmla="*/ 184 h 250"/>
                  <a:gd name="T6" fmla="*/ 102 w 256"/>
                  <a:gd name="T7" fmla="*/ 196 h 250"/>
                  <a:gd name="T8" fmla="*/ 124 w 256"/>
                  <a:gd name="T9" fmla="*/ 202 h 250"/>
                  <a:gd name="T10" fmla="*/ 132 w 256"/>
                  <a:gd name="T11" fmla="*/ 200 h 250"/>
                  <a:gd name="T12" fmla="*/ 148 w 256"/>
                  <a:gd name="T13" fmla="*/ 196 h 250"/>
                  <a:gd name="T14" fmla="*/ 158 w 256"/>
                  <a:gd name="T15" fmla="*/ 186 h 250"/>
                  <a:gd name="T16" fmla="*/ 164 w 256"/>
                  <a:gd name="T17" fmla="*/ 174 h 250"/>
                  <a:gd name="T18" fmla="*/ 248 w 256"/>
                  <a:gd name="T19" fmla="*/ 170 h 250"/>
                  <a:gd name="T20" fmla="*/ 246 w 256"/>
                  <a:gd name="T21" fmla="*/ 180 h 250"/>
                  <a:gd name="T22" fmla="*/ 238 w 256"/>
                  <a:gd name="T23" fmla="*/ 198 h 250"/>
                  <a:gd name="T24" fmla="*/ 218 w 256"/>
                  <a:gd name="T25" fmla="*/ 222 h 250"/>
                  <a:gd name="T26" fmla="*/ 202 w 256"/>
                  <a:gd name="T27" fmla="*/ 234 h 250"/>
                  <a:gd name="T28" fmla="*/ 168 w 256"/>
                  <a:gd name="T29" fmla="*/ 246 h 250"/>
                  <a:gd name="T30" fmla="*/ 128 w 256"/>
                  <a:gd name="T31" fmla="*/ 250 h 250"/>
                  <a:gd name="T32" fmla="*/ 96 w 256"/>
                  <a:gd name="T33" fmla="*/ 248 h 250"/>
                  <a:gd name="T34" fmla="*/ 66 w 256"/>
                  <a:gd name="T35" fmla="*/ 242 h 250"/>
                  <a:gd name="T36" fmla="*/ 44 w 256"/>
                  <a:gd name="T37" fmla="*/ 232 h 250"/>
                  <a:gd name="T38" fmla="*/ 26 w 256"/>
                  <a:gd name="T39" fmla="*/ 218 h 250"/>
                  <a:gd name="T40" fmla="*/ 12 w 256"/>
                  <a:gd name="T41" fmla="*/ 200 h 250"/>
                  <a:gd name="T42" fmla="*/ 4 w 256"/>
                  <a:gd name="T43" fmla="*/ 178 h 250"/>
                  <a:gd name="T44" fmla="*/ 0 w 256"/>
                  <a:gd name="T45" fmla="*/ 150 h 250"/>
                  <a:gd name="T46" fmla="*/ 0 w 256"/>
                  <a:gd name="T47" fmla="*/ 118 h 250"/>
                  <a:gd name="T48" fmla="*/ 4 w 256"/>
                  <a:gd name="T49" fmla="*/ 92 h 250"/>
                  <a:gd name="T50" fmla="*/ 14 w 256"/>
                  <a:gd name="T51" fmla="*/ 68 h 250"/>
                  <a:gd name="T52" fmla="*/ 26 w 256"/>
                  <a:gd name="T53" fmla="*/ 48 h 250"/>
                  <a:gd name="T54" fmla="*/ 44 w 256"/>
                  <a:gd name="T55" fmla="*/ 32 h 250"/>
                  <a:gd name="T56" fmla="*/ 86 w 256"/>
                  <a:gd name="T57" fmla="*/ 8 h 250"/>
                  <a:gd name="T58" fmla="*/ 138 w 256"/>
                  <a:gd name="T59" fmla="*/ 0 h 250"/>
                  <a:gd name="T60" fmla="*/ 154 w 256"/>
                  <a:gd name="T61" fmla="*/ 2 h 250"/>
                  <a:gd name="T62" fmla="*/ 184 w 256"/>
                  <a:gd name="T63" fmla="*/ 6 h 250"/>
                  <a:gd name="T64" fmla="*/ 208 w 256"/>
                  <a:gd name="T65" fmla="*/ 18 h 250"/>
                  <a:gd name="T66" fmla="*/ 228 w 256"/>
                  <a:gd name="T67" fmla="*/ 32 h 250"/>
                  <a:gd name="T68" fmla="*/ 242 w 256"/>
                  <a:gd name="T69" fmla="*/ 50 h 250"/>
                  <a:gd name="T70" fmla="*/ 250 w 256"/>
                  <a:gd name="T71" fmla="*/ 72 h 250"/>
                  <a:gd name="T72" fmla="*/ 256 w 256"/>
                  <a:gd name="T73" fmla="*/ 112 h 250"/>
                  <a:gd name="T74" fmla="*/ 86 w 256"/>
                  <a:gd name="T75" fmla="*/ 142 h 250"/>
                  <a:gd name="T76" fmla="*/ 172 w 256"/>
                  <a:gd name="T77" fmla="*/ 98 h 250"/>
                  <a:gd name="T78" fmla="*/ 170 w 256"/>
                  <a:gd name="T79" fmla="*/ 78 h 250"/>
                  <a:gd name="T80" fmla="*/ 164 w 256"/>
                  <a:gd name="T81" fmla="*/ 62 h 250"/>
                  <a:gd name="T82" fmla="*/ 158 w 256"/>
                  <a:gd name="T83" fmla="*/ 56 h 250"/>
                  <a:gd name="T84" fmla="*/ 142 w 256"/>
                  <a:gd name="T85" fmla="*/ 48 h 250"/>
                  <a:gd name="T86" fmla="*/ 134 w 256"/>
                  <a:gd name="T87" fmla="*/ 46 h 250"/>
                  <a:gd name="T88" fmla="*/ 114 w 256"/>
                  <a:gd name="T89" fmla="*/ 52 h 250"/>
                  <a:gd name="T90" fmla="*/ 102 w 256"/>
                  <a:gd name="T91" fmla="*/ 62 h 250"/>
                  <a:gd name="T92" fmla="*/ 94 w 256"/>
                  <a:gd name="T93" fmla="*/ 78 h 250"/>
                  <a:gd name="T94" fmla="*/ 172 w 256"/>
                  <a:gd name="T95" fmla="*/ 98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6" h="250">
                    <a:moveTo>
                      <a:pt x="86" y="142"/>
                    </a:moveTo>
                    <a:lnTo>
                      <a:pt x="86" y="142"/>
                    </a:lnTo>
                    <a:lnTo>
                      <a:pt x="84" y="154"/>
                    </a:lnTo>
                    <a:lnTo>
                      <a:pt x="86" y="166"/>
                    </a:lnTo>
                    <a:lnTo>
                      <a:pt x="88" y="176"/>
                    </a:lnTo>
                    <a:lnTo>
                      <a:pt x="90" y="184"/>
                    </a:lnTo>
                    <a:lnTo>
                      <a:pt x="96" y="192"/>
                    </a:lnTo>
                    <a:lnTo>
                      <a:pt x="102" y="196"/>
                    </a:lnTo>
                    <a:lnTo>
                      <a:pt x="112" y="200"/>
                    </a:lnTo>
                    <a:lnTo>
                      <a:pt x="124" y="202"/>
                    </a:lnTo>
                    <a:lnTo>
                      <a:pt x="124" y="202"/>
                    </a:lnTo>
                    <a:lnTo>
                      <a:pt x="132" y="200"/>
                    </a:lnTo>
                    <a:lnTo>
                      <a:pt x="140" y="198"/>
                    </a:lnTo>
                    <a:lnTo>
                      <a:pt x="148" y="196"/>
                    </a:lnTo>
                    <a:lnTo>
                      <a:pt x="154" y="192"/>
                    </a:lnTo>
                    <a:lnTo>
                      <a:pt x="158" y="186"/>
                    </a:lnTo>
                    <a:lnTo>
                      <a:pt x="162" y="180"/>
                    </a:lnTo>
                    <a:lnTo>
                      <a:pt x="164" y="174"/>
                    </a:lnTo>
                    <a:lnTo>
                      <a:pt x="164" y="170"/>
                    </a:lnTo>
                    <a:lnTo>
                      <a:pt x="248" y="170"/>
                    </a:lnTo>
                    <a:lnTo>
                      <a:pt x="248" y="170"/>
                    </a:lnTo>
                    <a:lnTo>
                      <a:pt x="246" y="180"/>
                    </a:lnTo>
                    <a:lnTo>
                      <a:pt x="242" y="190"/>
                    </a:lnTo>
                    <a:lnTo>
                      <a:pt x="238" y="198"/>
                    </a:lnTo>
                    <a:lnTo>
                      <a:pt x="232" y="208"/>
                    </a:lnTo>
                    <a:lnTo>
                      <a:pt x="218" y="222"/>
                    </a:lnTo>
                    <a:lnTo>
                      <a:pt x="202" y="234"/>
                    </a:lnTo>
                    <a:lnTo>
                      <a:pt x="202" y="234"/>
                    </a:lnTo>
                    <a:lnTo>
                      <a:pt x="186" y="242"/>
                    </a:lnTo>
                    <a:lnTo>
                      <a:pt x="168" y="246"/>
                    </a:lnTo>
                    <a:lnTo>
                      <a:pt x="148" y="248"/>
                    </a:lnTo>
                    <a:lnTo>
                      <a:pt x="128" y="250"/>
                    </a:lnTo>
                    <a:lnTo>
                      <a:pt x="128" y="250"/>
                    </a:lnTo>
                    <a:lnTo>
                      <a:pt x="96" y="248"/>
                    </a:lnTo>
                    <a:lnTo>
                      <a:pt x="80" y="244"/>
                    </a:lnTo>
                    <a:lnTo>
                      <a:pt x="66" y="242"/>
                    </a:lnTo>
                    <a:lnTo>
                      <a:pt x="54" y="238"/>
                    </a:lnTo>
                    <a:lnTo>
                      <a:pt x="44" y="232"/>
                    </a:lnTo>
                    <a:lnTo>
                      <a:pt x="34" y="226"/>
                    </a:lnTo>
                    <a:lnTo>
                      <a:pt x="26" y="218"/>
                    </a:lnTo>
                    <a:lnTo>
                      <a:pt x="18" y="210"/>
                    </a:lnTo>
                    <a:lnTo>
                      <a:pt x="12" y="200"/>
                    </a:lnTo>
                    <a:lnTo>
                      <a:pt x="8" y="190"/>
                    </a:lnTo>
                    <a:lnTo>
                      <a:pt x="4" y="178"/>
                    </a:lnTo>
                    <a:lnTo>
                      <a:pt x="2" y="164"/>
                    </a:lnTo>
                    <a:lnTo>
                      <a:pt x="0" y="150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2" y="106"/>
                    </a:lnTo>
                    <a:lnTo>
                      <a:pt x="4" y="92"/>
                    </a:lnTo>
                    <a:lnTo>
                      <a:pt x="8" y="80"/>
                    </a:lnTo>
                    <a:lnTo>
                      <a:pt x="14" y="68"/>
                    </a:lnTo>
                    <a:lnTo>
                      <a:pt x="20" y="58"/>
                    </a:lnTo>
                    <a:lnTo>
                      <a:pt x="26" y="48"/>
                    </a:lnTo>
                    <a:lnTo>
                      <a:pt x="34" y="40"/>
                    </a:lnTo>
                    <a:lnTo>
                      <a:pt x="44" y="32"/>
                    </a:lnTo>
                    <a:lnTo>
                      <a:pt x="64" y="18"/>
                    </a:lnTo>
                    <a:lnTo>
                      <a:pt x="86" y="8"/>
                    </a:lnTo>
                    <a:lnTo>
                      <a:pt x="110" y="2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4" y="2"/>
                    </a:lnTo>
                    <a:lnTo>
                      <a:pt x="170" y="4"/>
                    </a:lnTo>
                    <a:lnTo>
                      <a:pt x="184" y="6"/>
                    </a:lnTo>
                    <a:lnTo>
                      <a:pt x="196" y="12"/>
                    </a:lnTo>
                    <a:lnTo>
                      <a:pt x="208" y="18"/>
                    </a:lnTo>
                    <a:lnTo>
                      <a:pt x="218" y="24"/>
                    </a:lnTo>
                    <a:lnTo>
                      <a:pt x="228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46" y="60"/>
                    </a:lnTo>
                    <a:lnTo>
                      <a:pt x="250" y="72"/>
                    </a:lnTo>
                    <a:lnTo>
                      <a:pt x="254" y="84"/>
                    </a:lnTo>
                    <a:lnTo>
                      <a:pt x="256" y="112"/>
                    </a:lnTo>
                    <a:lnTo>
                      <a:pt x="254" y="142"/>
                    </a:lnTo>
                    <a:lnTo>
                      <a:pt x="86" y="142"/>
                    </a:lnTo>
                    <a:close/>
                    <a:moveTo>
                      <a:pt x="172" y="98"/>
                    </a:moveTo>
                    <a:lnTo>
                      <a:pt x="172" y="98"/>
                    </a:lnTo>
                    <a:lnTo>
                      <a:pt x="172" y="88"/>
                    </a:lnTo>
                    <a:lnTo>
                      <a:pt x="170" y="78"/>
                    </a:lnTo>
                    <a:lnTo>
                      <a:pt x="168" y="70"/>
                    </a:lnTo>
                    <a:lnTo>
                      <a:pt x="164" y="62"/>
                    </a:lnTo>
                    <a:lnTo>
                      <a:pt x="164" y="62"/>
                    </a:lnTo>
                    <a:lnTo>
                      <a:pt x="158" y="56"/>
                    </a:lnTo>
                    <a:lnTo>
                      <a:pt x="150" y="50"/>
                    </a:lnTo>
                    <a:lnTo>
                      <a:pt x="142" y="48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22" y="48"/>
                    </a:lnTo>
                    <a:lnTo>
                      <a:pt x="114" y="52"/>
                    </a:lnTo>
                    <a:lnTo>
                      <a:pt x="106" y="56"/>
                    </a:lnTo>
                    <a:lnTo>
                      <a:pt x="102" y="62"/>
                    </a:lnTo>
                    <a:lnTo>
                      <a:pt x="96" y="70"/>
                    </a:lnTo>
                    <a:lnTo>
                      <a:pt x="94" y="78"/>
                    </a:lnTo>
                    <a:lnTo>
                      <a:pt x="90" y="98"/>
                    </a:lnTo>
                    <a:lnTo>
                      <a:pt x="172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16"/>
              <p:cNvSpPr>
                <a:spLocks/>
              </p:cNvSpPr>
              <p:nvPr/>
            </p:nvSpPr>
            <p:spPr bwMode="auto">
              <a:xfrm>
                <a:off x="1314450" y="352425"/>
                <a:ext cx="196850" cy="542925"/>
              </a:xfrm>
              <a:custGeom>
                <a:avLst/>
                <a:gdLst>
                  <a:gd name="T0" fmla="*/ 24 w 124"/>
                  <a:gd name="T1" fmla="*/ 0 h 342"/>
                  <a:gd name="T2" fmla="*/ 124 w 124"/>
                  <a:gd name="T3" fmla="*/ 0 h 342"/>
                  <a:gd name="T4" fmla="*/ 100 w 124"/>
                  <a:gd name="T5" fmla="*/ 342 h 342"/>
                  <a:gd name="T6" fmla="*/ 0 w 124"/>
                  <a:gd name="T7" fmla="*/ 342 h 342"/>
                  <a:gd name="T8" fmla="*/ 24 w 124"/>
                  <a:gd name="T9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342">
                    <a:moveTo>
                      <a:pt x="24" y="0"/>
                    </a:moveTo>
                    <a:lnTo>
                      <a:pt x="124" y="0"/>
                    </a:lnTo>
                    <a:lnTo>
                      <a:pt x="100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17"/>
              <p:cNvSpPr>
                <a:spLocks/>
              </p:cNvSpPr>
              <p:nvPr/>
            </p:nvSpPr>
            <p:spPr bwMode="auto">
              <a:xfrm>
                <a:off x="1498600" y="352425"/>
                <a:ext cx="368300" cy="542925"/>
              </a:xfrm>
              <a:custGeom>
                <a:avLst/>
                <a:gdLst>
                  <a:gd name="T0" fmla="*/ 120 w 232"/>
                  <a:gd name="T1" fmla="*/ 0 h 342"/>
                  <a:gd name="T2" fmla="*/ 0 w 232"/>
                  <a:gd name="T3" fmla="*/ 152 h 342"/>
                  <a:gd name="T4" fmla="*/ 106 w 232"/>
                  <a:gd name="T5" fmla="*/ 342 h 342"/>
                  <a:gd name="T6" fmla="*/ 226 w 232"/>
                  <a:gd name="T7" fmla="*/ 342 h 342"/>
                  <a:gd name="T8" fmla="*/ 106 w 232"/>
                  <a:gd name="T9" fmla="*/ 148 h 342"/>
                  <a:gd name="T10" fmla="*/ 232 w 232"/>
                  <a:gd name="T11" fmla="*/ 0 h 342"/>
                  <a:gd name="T12" fmla="*/ 120 w 232"/>
                  <a:gd name="T13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2" h="342">
                    <a:moveTo>
                      <a:pt x="120" y="0"/>
                    </a:moveTo>
                    <a:lnTo>
                      <a:pt x="0" y="152"/>
                    </a:lnTo>
                    <a:lnTo>
                      <a:pt x="106" y="342"/>
                    </a:lnTo>
                    <a:lnTo>
                      <a:pt x="226" y="342"/>
                    </a:lnTo>
                    <a:lnTo>
                      <a:pt x="106" y="148"/>
                    </a:lnTo>
                    <a:lnTo>
                      <a:pt x="232" y="0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18"/>
              <p:cNvSpPr>
                <a:spLocks/>
              </p:cNvSpPr>
              <p:nvPr/>
            </p:nvSpPr>
            <p:spPr bwMode="auto">
              <a:xfrm>
                <a:off x="1876425" y="517525"/>
                <a:ext cx="158750" cy="377825"/>
              </a:xfrm>
              <a:custGeom>
                <a:avLst/>
                <a:gdLst>
                  <a:gd name="T0" fmla="*/ 16 w 100"/>
                  <a:gd name="T1" fmla="*/ 0 h 238"/>
                  <a:gd name="T2" fmla="*/ 100 w 100"/>
                  <a:gd name="T3" fmla="*/ 0 h 238"/>
                  <a:gd name="T4" fmla="*/ 84 w 100"/>
                  <a:gd name="T5" fmla="*/ 238 h 238"/>
                  <a:gd name="T6" fmla="*/ 0 w 100"/>
                  <a:gd name="T7" fmla="*/ 238 h 238"/>
                  <a:gd name="T8" fmla="*/ 16 w 100"/>
                  <a:gd name="T9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238">
                    <a:moveTo>
                      <a:pt x="16" y="0"/>
                    </a:moveTo>
                    <a:lnTo>
                      <a:pt x="100" y="0"/>
                    </a:lnTo>
                    <a:lnTo>
                      <a:pt x="84" y="238"/>
                    </a:lnTo>
                    <a:lnTo>
                      <a:pt x="0" y="238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19"/>
              <p:cNvSpPr>
                <a:spLocks/>
              </p:cNvSpPr>
              <p:nvPr/>
            </p:nvSpPr>
            <p:spPr bwMode="auto">
              <a:xfrm>
                <a:off x="2038350" y="504825"/>
                <a:ext cx="692150" cy="390525"/>
              </a:xfrm>
              <a:custGeom>
                <a:avLst/>
                <a:gdLst>
                  <a:gd name="T0" fmla="*/ 106 w 436"/>
                  <a:gd name="T1" fmla="*/ 40 h 246"/>
                  <a:gd name="T2" fmla="*/ 106 w 436"/>
                  <a:gd name="T3" fmla="*/ 40 h 246"/>
                  <a:gd name="T4" fmla="*/ 128 w 436"/>
                  <a:gd name="T5" fmla="*/ 20 h 246"/>
                  <a:gd name="T6" fmla="*/ 150 w 436"/>
                  <a:gd name="T7" fmla="*/ 8 h 246"/>
                  <a:gd name="T8" fmla="*/ 172 w 436"/>
                  <a:gd name="T9" fmla="*/ 2 h 246"/>
                  <a:gd name="T10" fmla="*/ 192 w 436"/>
                  <a:gd name="T11" fmla="*/ 2 h 246"/>
                  <a:gd name="T12" fmla="*/ 216 w 436"/>
                  <a:gd name="T13" fmla="*/ 6 h 246"/>
                  <a:gd name="T14" fmla="*/ 238 w 436"/>
                  <a:gd name="T15" fmla="*/ 14 h 246"/>
                  <a:gd name="T16" fmla="*/ 254 w 436"/>
                  <a:gd name="T17" fmla="*/ 28 h 246"/>
                  <a:gd name="T18" fmla="*/ 264 w 436"/>
                  <a:gd name="T19" fmla="*/ 44 h 246"/>
                  <a:gd name="T20" fmla="*/ 272 w 436"/>
                  <a:gd name="T21" fmla="*/ 34 h 246"/>
                  <a:gd name="T22" fmla="*/ 290 w 436"/>
                  <a:gd name="T23" fmla="*/ 18 h 246"/>
                  <a:gd name="T24" fmla="*/ 312 w 436"/>
                  <a:gd name="T25" fmla="*/ 8 h 246"/>
                  <a:gd name="T26" fmla="*/ 338 w 436"/>
                  <a:gd name="T27" fmla="*/ 2 h 246"/>
                  <a:gd name="T28" fmla="*/ 352 w 436"/>
                  <a:gd name="T29" fmla="*/ 0 h 246"/>
                  <a:gd name="T30" fmla="*/ 386 w 436"/>
                  <a:gd name="T31" fmla="*/ 6 h 246"/>
                  <a:gd name="T32" fmla="*/ 414 w 436"/>
                  <a:gd name="T33" fmla="*/ 24 h 246"/>
                  <a:gd name="T34" fmla="*/ 432 w 436"/>
                  <a:gd name="T35" fmla="*/ 50 h 246"/>
                  <a:gd name="T36" fmla="*/ 436 w 436"/>
                  <a:gd name="T37" fmla="*/ 86 h 246"/>
                  <a:gd name="T38" fmla="*/ 332 w 436"/>
                  <a:gd name="T39" fmla="*/ 246 h 246"/>
                  <a:gd name="T40" fmla="*/ 342 w 436"/>
                  <a:gd name="T41" fmla="*/ 106 h 246"/>
                  <a:gd name="T42" fmla="*/ 342 w 436"/>
                  <a:gd name="T43" fmla="*/ 80 h 246"/>
                  <a:gd name="T44" fmla="*/ 336 w 436"/>
                  <a:gd name="T45" fmla="*/ 66 h 246"/>
                  <a:gd name="T46" fmla="*/ 322 w 436"/>
                  <a:gd name="T47" fmla="*/ 58 h 246"/>
                  <a:gd name="T48" fmla="*/ 312 w 436"/>
                  <a:gd name="T49" fmla="*/ 58 h 246"/>
                  <a:gd name="T50" fmla="*/ 288 w 436"/>
                  <a:gd name="T51" fmla="*/ 66 h 246"/>
                  <a:gd name="T52" fmla="*/ 276 w 436"/>
                  <a:gd name="T53" fmla="*/ 82 h 246"/>
                  <a:gd name="T54" fmla="*/ 270 w 436"/>
                  <a:gd name="T55" fmla="*/ 100 h 246"/>
                  <a:gd name="T56" fmla="*/ 260 w 436"/>
                  <a:gd name="T57" fmla="*/ 246 h 246"/>
                  <a:gd name="T58" fmla="*/ 180 w 436"/>
                  <a:gd name="T59" fmla="*/ 106 h 246"/>
                  <a:gd name="T60" fmla="*/ 178 w 436"/>
                  <a:gd name="T61" fmla="*/ 88 h 246"/>
                  <a:gd name="T62" fmla="*/ 174 w 436"/>
                  <a:gd name="T63" fmla="*/ 72 h 246"/>
                  <a:gd name="T64" fmla="*/ 164 w 436"/>
                  <a:gd name="T65" fmla="*/ 62 h 246"/>
                  <a:gd name="T66" fmla="*/ 148 w 436"/>
                  <a:gd name="T67" fmla="*/ 58 h 246"/>
                  <a:gd name="T68" fmla="*/ 132 w 436"/>
                  <a:gd name="T69" fmla="*/ 60 h 246"/>
                  <a:gd name="T70" fmla="*/ 114 w 436"/>
                  <a:gd name="T71" fmla="*/ 72 h 246"/>
                  <a:gd name="T72" fmla="*/ 104 w 436"/>
                  <a:gd name="T73" fmla="*/ 92 h 246"/>
                  <a:gd name="T74" fmla="*/ 102 w 436"/>
                  <a:gd name="T75" fmla="*/ 110 h 246"/>
                  <a:gd name="T76" fmla="*/ 0 w 436"/>
                  <a:gd name="T77" fmla="*/ 246 h 246"/>
                  <a:gd name="T78" fmla="*/ 106 w 436"/>
                  <a:gd name="T79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36" h="246">
                    <a:moveTo>
                      <a:pt x="106" y="8"/>
                    </a:moveTo>
                    <a:lnTo>
                      <a:pt x="106" y="40"/>
                    </a:lnTo>
                    <a:lnTo>
                      <a:pt x="106" y="40"/>
                    </a:lnTo>
                    <a:lnTo>
                      <a:pt x="106" y="40"/>
                    </a:lnTo>
                    <a:lnTo>
                      <a:pt x="118" y="28"/>
                    </a:lnTo>
                    <a:lnTo>
                      <a:pt x="128" y="20"/>
                    </a:lnTo>
                    <a:lnTo>
                      <a:pt x="140" y="12"/>
                    </a:lnTo>
                    <a:lnTo>
                      <a:pt x="150" y="8"/>
                    </a:lnTo>
                    <a:lnTo>
                      <a:pt x="162" y="4"/>
                    </a:lnTo>
                    <a:lnTo>
                      <a:pt x="172" y="2"/>
                    </a:lnTo>
                    <a:lnTo>
                      <a:pt x="192" y="2"/>
                    </a:lnTo>
                    <a:lnTo>
                      <a:pt x="192" y="2"/>
                    </a:lnTo>
                    <a:lnTo>
                      <a:pt x="204" y="2"/>
                    </a:lnTo>
                    <a:lnTo>
                      <a:pt x="216" y="6"/>
                    </a:lnTo>
                    <a:lnTo>
                      <a:pt x="228" y="8"/>
                    </a:lnTo>
                    <a:lnTo>
                      <a:pt x="238" y="14"/>
                    </a:lnTo>
                    <a:lnTo>
                      <a:pt x="246" y="20"/>
                    </a:lnTo>
                    <a:lnTo>
                      <a:pt x="254" y="28"/>
                    </a:lnTo>
                    <a:lnTo>
                      <a:pt x="260" y="36"/>
                    </a:lnTo>
                    <a:lnTo>
                      <a:pt x="264" y="44"/>
                    </a:lnTo>
                    <a:lnTo>
                      <a:pt x="264" y="44"/>
                    </a:lnTo>
                    <a:lnTo>
                      <a:pt x="272" y="34"/>
                    </a:lnTo>
                    <a:lnTo>
                      <a:pt x="280" y="26"/>
                    </a:lnTo>
                    <a:lnTo>
                      <a:pt x="290" y="18"/>
                    </a:lnTo>
                    <a:lnTo>
                      <a:pt x="302" y="12"/>
                    </a:lnTo>
                    <a:lnTo>
                      <a:pt x="312" y="8"/>
                    </a:lnTo>
                    <a:lnTo>
                      <a:pt x="326" y="4"/>
                    </a:lnTo>
                    <a:lnTo>
                      <a:pt x="338" y="2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70" y="2"/>
                    </a:lnTo>
                    <a:lnTo>
                      <a:pt x="386" y="6"/>
                    </a:lnTo>
                    <a:lnTo>
                      <a:pt x="402" y="14"/>
                    </a:lnTo>
                    <a:lnTo>
                      <a:pt x="414" y="24"/>
                    </a:lnTo>
                    <a:lnTo>
                      <a:pt x="424" y="36"/>
                    </a:lnTo>
                    <a:lnTo>
                      <a:pt x="432" y="50"/>
                    </a:lnTo>
                    <a:lnTo>
                      <a:pt x="436" y="68"/>
                    </a:lnTo>
                    <a:lnTo>
                      <a:pt x="436" y="86"/>
                    </a:lnTo>
                    <a:lnTo>
                      <a:pt x="424" y="246"/>
                    </a:lnTo>
                    <a:lnTo>
                      <a:pt x="332" y="246"/>
                    </a:lnTo>
                    <a:lnTo>
                      <a:pt x="342" y="106"/>
                    </a:lnTo>
                    <a:lnTo>
                      <a:pt x="342" y="106"/>
                    </a:lnTo>
                    <a:lnTo>
                      <a:pt x="342" y="88"/>
                    </a:lnTo>
                    <a:lnTo>
                      <a:pt x="342" y="80"/>
                    </a:lnTo>
                    <a:lnTo>
                      <a:pt x="340" y="74"/>
                    </a:lnTo>
                    <a:lnTo>
                      <a:pt x="336" y="66"/>
                    </a:lnTo>
                    <a:lnTo>
                      <a:pt x="330" y="62"/>
                    </a:lnTo>
                    <a:lnTo>
                      <a:pt x="322" y="58"/>
                    </a:lnTo>
                    <a:lnTo>
                      <a:pt x="312" y="58"/>
                    </a:lnTo>
                    <a:lnTo>
                      <a:pt x="312" y="58"/>
                    </a:lnTo>
                    <a:lnTo>
                      <a:pt x="298" y="60"/>
                    </a:lnTo>
                    <a:lnTo>
                      <a:pt x="288" y="66"/>
                    </a:lnTo>
                    <a:lnTo>
                      <a:pt x="280" y="72"/>
                    </a:lnTo>
                    <a:lnTo>
                      <a:pt x="276" y="82"/>
                    </a:lnTo>
                    <a:lnTo>
                      <a:pt x="272" y="92"/>
                    </a:lnTo>
                    <a:lnTo>
                      <a:pt x="270" y="100"/>
                    </a:lnTo>
                    <a:lnTo>
                      <a:pt x="270" y="110"/>
                    </a:lnTo>
                    <a:lnTo>
                      <a:pt x="260" y="246"/>
                    </a:lnTo>
                    <a:lnTo>
                      <a:pt x="170" y="246"/>
                    </a:lnTo>
                    <a:lnTo>
                      <a:pt x="180" y="106"/>
                    </a:lnTo>
                    <a:lnTo>
                      <a:pt x="180" y="106"/>
                    </a:lnTo>
                    <a:lnTo>
                      <a:pt x="178" y="88"/>
                    </a:lnTo>
                    <a:lnTo>
                      <a:pt x="178" y="80"/>
                    </a:lnTo>
                    <a:lnTo>
                      <a:pt x="174" y="72"/>
                    </a:lnTo>
                    <a:lnTo>
                      <a:pt x="170" y="66"/>
                    </a:lnTo>
                    <a:lnTo>
                      <a:pt x="164" y="62"/>
                    </a:lnTo>
                    <a:lnTo>
                      <a:pt x="15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32" y="60"/>
                    </a:lnTo>
                    <a:lnTo>
                      <a:pt x="122" y="66"/>
                    </a:lnTo>
                    <a:lnTo>
                      <a:pt x="114" y="72"/>
                    </a:lnTo>
                    <a:lnTo>
                      <a:pt x="108" y="82"/>
                    </a:lnTo>
                    <a:lnTo>
                      <a:pt x="104" y="92"/>
                    </a:lnTo>
                    <a:lnTo>
                      <a:pt x="104" y="100"/>
                    </a:lnTo>
                    <a:lnTo>
                      <a:pt x="102" y="110"/>
                    </a:lnTo>
                    <a:lnTo>
                      <a:pt x="94" y="246"/>
                    </a:lnTo>
                    <a:lnTo>
                      <a:pt x="0" y="246"/>
                    </a:lnTo>
                    <a:lnTo>
                      <a:pt x="16" y="8"/>
                    </a:lnTo>
                    <a:lnTo>
                      <a:pt x="106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20"/>
              <p:cNvSpPr>
                <a:spLocks/>
              </p:cNvSpPr>
              <p:nvPr/>
            </p:nvSpPr>
            <p:spPr bwMode="auto">
              <a:xfrm>
                <a:off x="4064000" y="517525"/>
                <a:ext cx="454025" cy="558800"/>
              </a:xfrm>
              <a:custGeom>
                <a:avLst/>
                <a:gdLst>
                  <a:gd name="T0" fmla="*/ 116 w 286"/>
                  <a:gd name="T1" fmla="*/ 352 h 352"/>
                  <a:gd name="T2" fmla="*/ 34 w 286"/>
                  <a:gd name="T3" fmla="*/ 352 h 352"/>
                  <a:gd name="T4" fmla="*/ 86 w 286"/>
                  <a:gd name="T5" fmla="*/ 242 h 352"/>
                  <a:gd name="T6" fmla="*/ 0 w 286"/>
                  <a:gd name="T7" fmla="*/ 0 h 352"/>
                  <a:gd name="T8" fmla="*/ 100 w 286"/>
                  <a:gd name="T9" fmla="*/ 0 h 352"/>
                  <a:gd name="T10" fmla="*/ 140 w 286"/>
                  <a:gd name="T11" fmla="*/ 148 h 352"/>
                  <a:gd name="T12" fmla="*/ 202 w 286"/>
                  <a:gd name="T13" fmla="*/ 0 h 352"/>
                  <a:gd name="T14" fmla="*/ 286 w 286"/>
                  <a:gd name="T15" fmla="*/ 0 h 352"/>
                  <a:gd name="T16" fmla="*/ 116 w 286"/>
                  <a:gd name="T17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6" h="352">
                    <a:moveTo>
                      <a:pt x="116" y="352"/>
                    </a:moveTo>
                    <a:lnTo>
                      <a:pt x="34" y="352"/>
                    </a:lnTo>
                    <a:lnTo>
                      <a:pt x="86" y="242"/>
                    </a:lnTo>
                    <a:lnTo>
                      <a:pt x="0" y="0"/>
                    </a:lnTo>
                    <a:lnTo>
                      <a:pt x="100" y="0"/>
                    </a:lnTo>
                    <a:lnTo>
                      <a:pt x="140" y="148"/>
                    </a:lnTo>
                    <a:lnTo>
                      <a:pt x="202" y="0"/>
                    </a:lnTo>
                    <a:lnTo>
                      <a:pt x="286" y="0"/>
                    </a:lnTo>
                    <a:lnTo>
                      <a:pt x="116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21"/>
              <p:cNvSpPr>
                <a:spLocks/>
              </p:cNvSpPr>
              <p:nvPr/>
            </p:nvSpPr>
            <p:spPr bwMode="auto">
              <a:xfrm>
                <a:off x="4473575" y="593725"/>
                <a:ext cx="241300" cy="117475"/>
              </a:xfrm>
              <a:custGeom>
                <a:avLst/>
                <a:gdLst>
                  <a:gd name="T0" fmla="*/ 36 w 152"/>
                  <a:gd name="T1" fmla="*/ 0 h 74"/>
                  <a:gd name="T2" fmla="*/ 152 w 152"/>
                  <a:gd name="T3" fmla="*/ 0 h 74"/>
                  <a:gd name="T4" fmla="*/ 114 w 152"/>
                  <a:gd name="T5" fmla="*/ 74 h 74"/>
                  <a:gd name="T6" fmla="*/ 0 w 152"/>
                  <a:gd name="T7" fmla="*/ 74 h 74"/>
                  <a:gd name="T8" fmla="*/ 36 w 152"/>
                  <a:gd name="T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74">
                    <a:moveTo>
                      <a:pt x="36" y="0"/>
                    </a:moveTo>
                    <a:lnTo>
                      <a:pt x="152" y="0"/>
                    </a:lnTo>
                    <a:lnTo>
                      <a:pt x="114" y="74"/>
                    </a:lnTo>
                    <a:lnTo>
                      <a:pt x="0" y="7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" name="Freeform 22"/>
              <p:cNvSpPr>
                <a:spLocks/>
              </p:cNvSpPr>
              <p:nvPr/>
            </p:nvSpPr>
            <p:spPr bwMode="auto">
              <a:xfrm>
                <a:off x="4721225" y="339725"/>
                <a:ext cx="504825" cy="558800"/>
              </a:xfrm>
              <a:custGeom>
                <a:avLst/>
                <a:gdLst>
                  <a:gd name="T0" fmla="*/ 180 w 318"/>
                  <a:gd name="T1" fmla="*/ 0 h 352"/>
                  <a:gd name="T2" fmla="*/ 232 w 318"/>
                  <a:gd name="T3" fmla="*/ 6 h 352"/>
                  <a:gd name="T4" fmla="*/ 266 w 318"/>
                  <a:gd name="T5" fmla="*/ 20 h 352"/>
                  <a:gd name="T6" fmla="*/ 286 w 318"/>
                  <a:gd name="T7" fmla="*/ 32 h 352"/>
                  <a:gd name="T8" fmla="*/ 302 w 318"/>
                  <a:gd name="T9" fmla="*/ 50 h 352"/>
                  <a:gd name="T10" fmla="*/ 312 w 318"/>
                  <a:gd name="T11" fmla="*/ 74 h 352"/>
                  <a:gd name="T12" fmla="*/ 318 w 318"/>
                  <a:gd name="T13" fmla="*/ 100 h 352"/>
                  <a:gd name="T14" fmla="*/ 222 w 318"/>
                  <a:gd name="T15" fmla="*/ 116 h 352"/>
                  <a:gd name="T16" fmla="*/ 222 w 318"/>
                  <a:gd name="T17" fmla="*/ 108 h 352"/>
                  <a:gd name="T18" fmla="*/ 216 w 318"/>
                  <a:gd name="T19" fmla="*/ 90 h 352"/>
                  <a:gd name="T20" fmla="*/ 204 w 318"/>
                  <a:gd name="T21" fmla="*/ 76 h 352"/>
                  <a:gd name="T22" fmla="*/ 188 w 318"/>
                  <a:gd name="T23" fmla="*/ 68 h 352"/>
                  <a:gd name="T24" fmla="*/ 176 w 318"/>
                  <a:gd name="T25" fmla="*/ 68 h 352"/>
                  <a:gd name="T26" fmla="*/ 150 w 318"/>
                  <a:gd name="T27" fmla="*/ 72 h 352"/>
                  <a:gd name="T28" fmla="*/ 128 w 318"/>
                  <a:gd name="T29" fmla="*/ 88 h 352"/>
                  <a:gd name="T30" fmla="*/ 108 w 318"/>
                  <a:gd name="T31" fmla="*/ 118 h 352"/>
                  <a:gd name="T32" fmla="*/ 98 w 318"/>
                  <a:gd name="T33" fmla="*/ 162 h 352"/>
                  <a:gd name="T34" fmla="*/ 96 w 318"/>
                  <a:gd name="T35" fmla="*/ 188 h 352"/>
                  <a:gd name="T36" fmla="*/ 98 w 318"/>
                  <a:gd name="T37" fmla="*/ 234 h 352"/>
                  <a:gd name="T38" fmla="*/ 112 w 318"/>
                  <a:gd name="T39" fmla="*/ 266 h 352"/>
                  <a:gd name="T40" fmla="*/ 122 w 318"/>
                  <a:gd name="T41" fmla="*/ 278 h 352"/>
                  <a:gd name="T42" fmla="*/ 138 w 318"/>
                  <a:gd name="T43" fmla="*/ 284 h 352"/>
                  <a:gd name="T44" fmla="*/ 158 w 318"/>
                  <a:gd name="T45" fmla="*/ 288 h 352"/>
                  <a:gd name="T46" fmla="*/ 174 w 318"/>
                  <a:gd name="T47" fmla="*/ 286 h 352"/>
                  <a:gd name="T48" fmla="*/ 198 w 318"/>
                  <a:gd name="T49" fmla="*/ 274 h 352"/>
                  <a:gd name="T50" fmla="*/ 212 w 318"/>
                  <a:gd name="T51" fmla="*/ 256 h 352"/>
                  <a:gd name="T52" fmla="*/ 218 w 318"/>
                  <a:gd name="T53" fmla="*/ 236 h 352"/>
                  <a:gd name="T54" fmla="*/ 314 w 318"/>
                  <a:gd name="T55" fmla="*/ 236 h 352"/>
                  <a:gd name="T56" fmla="*/ 306 w 318"/>
                  <a:gd name="T57" fmla="*/ 270 h 352"/>
                  <a:gd name="T58" fmla="*/ 290 w 318"/>
                  <a:gd name="T59" fmla="*/ 300 h 352"/>
                  <a:gd name="T60" fmla="*/ 272 w 318"/>
                  <a:gd name="T61" fmla="*/ 318 h 352"/>
                  <a:gd name="T62" fmla="*/ 248 w 318"/>
                  <a:gd name="T63" fmla="*/ 334 h 352"/>
                  <a:gd name="T64" fmla="*/ 216 w 318"/>
                  <a:gd name="T65" fmla="*/ 346 h 352"/>
                  <a:gd name="T66" fmla="*/ 176 w 318"/>
                  <a:gd name="T67" fmla="*/ 352 h 352"/>
                  <a:gd name="T68" fmla="*/ 152 w 318"/>
                  <a:gd name="T69" fmla="*/ 352 h 352"/>
                  <a:gd name="T70" fmla="*/ 106 w 318"/>
                  <a:gd name="T71" fmla="*/ 348 h 352"/>
                  <a:gd name="T72" fmla="*/ 70 w 318"/>
                  <a:gd name="T73" fmla="*/ 336 h 352"/>
                  <a:gd name="T74" fmla="*/ 42 w 318"/>
                  <a:gd name="T75" fmla="*/ 316 h 352"/>
                  <a:gd name="T76" fmla="*/ 22 w 318"/>
                  <a:gd name="T77" fmla="*/ 292 h 352"/>
                  <a:gd name="T78" fmla="*/ 8 w 318"/>
                  <a:gd name="T79" fmla="*/ 262 h 352"/>
                  <a:gd name="T80" fmla="*/ 2 w 318"/>
                  <a:gd name="T81" fmla="*/ 230 h 352"/>
                  <a:gd name="T82" fmla="*/ 0 w 318"/>
                  <a:gd name="T83" fmla="*/ 194 h 352"/>
                  <a:gd name="T84" fmla="*/ 2 w 318"/>
                  <a:gd name="T85" fmla="*/ 160 h 352"/>
                  <a:gd name="T86" fmla="*/ 18 w 318"/>
                  <a:gd name="T87" fmla="*/ 102 h 352"/>
                  <a:gd name="T88" fmla="*/ 32 w 318"/>
                  <a:gd name="T89" fmla="*/ 74 h 352"/>
                  <a:gd name="T90" fmla="*/ 52 w 318"/>
                  <a:gd name="T91" fmla="*/ 50 h 352"/>
                  <a:gd name="T92" fmla="*/ 76 w 318"/>
                  <a:gd name="T93" fmla="*/ 30 h 352"/>
                  <a:gd name="T94" fmla="*/ 106 w 318"/>
                  <a:gd name="T95" fmla="*/ 14 h 352"/>
                  <a:gd name="T96" fmla="*/ 140 w 318"/>
                  <a:gd name="T97" fmla="*/ 4 h 352"/>
                  <a:gd name="T98" fmla="*/ 180 w 318"/>
                  <a:gd name="T99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18" h="352">
                    <a:moveTo>
                      <a:pt x="180" y="0"/>
                    </a:moveTo>
                    <a:lnTo>
                      <a:pt x="180" y="0"/>
                    </a:lnTo>
                    <a:lnTo>
                      <a:pt x="206" y="0"/>
                    </a:lnTo>
                    <a:lnTo>
                      <a:pt x="232" y="6"/>
                    </a:lnTo>
                    <a:lnTo>
                      <a:pt x="256" y="14"/>
                    </a:lnTo>
                    <a:lnTo>
                      <a:pt x="266" y="20"/>
                    </a:lnTo>
                    <a:lnTo>
                      <a:pt x="276" y="26"/>
                    </a:lnTo>
                    <a:lnTo>
                      <a:pt x="286" y="32"/>
                    </a:lnTo>
                    <a:lnTo>
                      <a:pt x="294" y="42"/>
                    </a:lnTo>
                    <a:lnTo>
                      <a:pt x="302" y="50"/>
                    </a:lnTo>
                    <a:lnTo>
                      <a:pt x="308" y="62"/>
                    </a:lnTo>
                    <a:lnTo>
                      <a:pt x="312" y="74"/>
                    </a:lnTo>
                    <a:lnTo>
                      <a:pt x="316" y="86"/>
                    </a:lnTo>
                    <a:lnTo>
                      <a:pt x="318" y="100"/>
                    </a:lnTo>
                    <a:lnTo>
                      <a:pt x="318" y="116"/>
                    </a:lnTo>
                    <a:lnTo>
                      <a:pt x="222" y="116"/>
                    </a:lnTo>
                    <a:lnTo>
                      <a:pt x="222" y="116"/>
                    </a:lnTo>
                    <a:lnTo>
                      <a:pt x="222" y="108"/>
                    </a:lnTo>
                    <a:lnTo>
                      <a:pt x="220" y="98"/>
                    </a:lnTo>
                    <a:lnTo>
                      <a:pt x="216" y="90"/>
                    </a:lnTo>
                    <a:lnTo>
                      <a:pt x="212" y="84"/>
                    </a:lnTo>
                    <a:lnTo>
                      <a:pt x="204" y="76"/>
                    </a:lnTo>
                    <a:lnTo>
                      <a:pt x="198" y="72"/>
                    </a:lnTo>
                    <a:lnTo>
                      <a:pt x="188" y="68"/>
                    </a:lnTo>
                    <a:lnTo>
                      <a:pt x="176" y="68"/>
                    </a:lnTo>
                    <a:lnTo>
                      <a:pt x="176" y="68"/>
                    </a:lnTo>
                    <a:lnTo>
                      <a:pt x="164" y="68"/>
                    </a:lnTo>
                    <a:lnTo>
                      <a:pt x="150" y="72"/>
                    </a:lnTo>
                    <a:lnTo>
                      <a:pt x="138" y="80"/>
                    </a:lnTo>
                    <a:lnTo>
                      <a:pt x="128" y="88"/>
                    </a:lnTo>
                    <a:lnTo>
                      <a:pt x="118" y="102"/>
                    </a:lnTo>
                    <a:lnTo>
                      <a:pt x="108" y="118"/>
                    </a:lnTo>
                    <a:lnTo>
                      <a:pt x="102" y="138"/>
                    </a:lnTo>
                    <a:lnTo>
                      <a:pt x="98" y="162"/>
                    </a:lnTo>
                    <a:lnTo>
                      <a:pt x="98" y="162"/>
                    </a:lnTo>
                    <a:lnTo>
                      <a:pt x="96" y="188"/>
                    </a:lnTo>
                    <a:lnTo>
                      <a:pt x="96" y="212"/>
                    </a:lnTo>
                    <a:lnTo>
                      <a:pt x="98" y="234"/>
                    </a:lnTo>
                    <a:lnTo>
                      <a:pt x="104" y="252"/>
                    </a:lnTo>
                    <a:lnTo>
                      <a:pt x="112" y="266"/>
                    </a:lnTo>
                    <a:lnTo>
                      <a:pt x="116" y="272"/>
                    </a:lnTo>
                    <a:lnTo>
                      <a:pt x="122" y="278"/>
                    </a:lnTo>
                    <a:lnTo>
                      <a:pt x="130" y="282"/>
                    </a:lnTo>
                    <a:lnTo>
                      <a:pt x="138" y="284"/>
                    </a:lnTo>
                    <a:lnTo>
                      <a:pt x="148" y="286"/>
                    </a:lnTo>
                    <a:lnTo>
                      <a:pt x="158" y="288"/>
                    </a:lnTo>
                    <a:lnTo>
                      <a:pt x="158" y="288"/>
                    </a:lnTo>
                    <a:lnTo>
                      <a:pt x="174" y="286"/>
                    </a:lnTo>
                    <a:lnTo>
                      <a:pt x="188" y="280"/>
                    </a:lnTo>
                    <a:lnTo>
                      <a:pt x="198" y="274"/>
                    </a:lnTo>
                    <a:lnTo>
                      <a:pt x="206" y="264"/>
                    </a:lnTo>
                    <a:lnTo>
                      <a:pt x="212" y="256"/>
                    </a:lnTo>
                    <a:lnTo>
                      <a:pt x="214" y="248"/>
                    </a:lnTo>
                    <a:lnTo>
                      <a:pt x="218" y="236"/>
                    </a:lnTo>
                    <a:lnTo>
                      <a:pt x="314" y="236"/>
                    </a:lnTo>
                    <a:lnTo>
                      <a:pt x="314" y="236"/>
                    </a:lnTo>
                    <a:lnTo>
                      <a:pt x="312" y="252"/>
                    </a:lnTo>
                    <a:lnTo>
                      <a:pt x="306" y="270"/>
                    </a:lnTo>
                    <a:lnTo>
                      <a:pt x="296" y="290"/>
                    </a:lnTo>
                    <a:lnTo>
                      <a:pt x="290" y="300"/>
                    </a:lnTo>
                    <a:lnTo>
                      <a:pt x="282" y="308"/>
                    </a:lnTo>
                    <a:lnTo>
                      <a:pt x="272" y="318"/>
                    </a:lnTo>
                    <a:lnTo>
                      <a:pt x="260" y="326"/>
                    </a:lnTo>
                    <a:lnTo>
                      <a:pt x="248" y="334"/>
                    </a:lnTo>
                    <a:lnTo>
                      <a:pt x="232" y="340"/>
                    </a:lnTo>
                    <a:lnTo>
                      <a:pt x="216" y="346"/>
                    </a:lnTo>
                    <a:lnTo>
                      <a:pt x="196" y="350"/>
                    </a:lnTo>
                    <a:lnTo>
                      <a:pt x="176" y="352"/>
                    </a:lnTo>
                    <a:lnTo>
                      <a:pt x="152" y="352"/>
                    </a:lnTo>
                    <a:lnTo>
                      <a:pt x="152" y="352"/>
                    </a:lnTo>
                    <a:lnTo>
                      <a:pt x="128" y="352"/>
                    </a:lnTo>
                    <a:lnTo>
                      <a:pt x="106" y="348"/>
                    </a:lnTo>
                    <a:lnTo>
                      <a:pt x="86" y="342"/>
                    </a:lnTo>
                    <a:lnTo>
                      <a:pt x="70" y="336"/>
                    </a:lnTo>
                    <a:lnTo>
                      <a:pt x="54" y="326"/>
                    </a:lnTo>
                    <a:lnTo>
                      <a:pt x="42" y="316"/>
                    </a:lnTo>
                    <a:lnTo>
                      <a:pt x="30" y="304"/>
                    </a:lnTo>
                    <a:lnTo>
                      <a:pt x="22" y="292"/>
                    </a:lnTo>
                    <a:lnTo>
                      <a:pt x="14" y="276"/>
                    </a:lnTo>
                    <a:lnTo>
                      <a:pt x="8" y="262"/>
                    </a:lnTo>
                    <a:lnTo>
                      <a:pt x="4" y="246"/>
                    </a:lnTo>
                    <a:lnTo>
                      <a:pt x="2" y="230"/>
                    </a:lnTo>
                    <a:lnTo>
                      <a:pt x="0" y="212"/>
                    </a:lnTo>
                    <a:lnTo>
                      <a:pt x="0" y="194"/>
                    </a:lnTo>
                    <a:lnTo>
                      <a:pt x="2" y="160"/>
                    </a:lnTo>
                    <a:lnTo>
                      <a:pt x="2" y="160"/>
                    </a:lnTo>
                    <a:lnTo>
                      <a:pt x="8" y="130"/>
                    </a:lnTo>
                    <a:lnTo>
                      <a:pt x="18" y="102"/>
                    </a:lnTo>
                    <a:lnTo>
                      <a:pt x="24" y="88"/>
                    </a:lnTo>
                    <a:lnTo>
                      <a:pt x="32" y="74"/>
                    </a:lnTo>
                    <a:lnTo>
                      <a:pt x="42" y="62"/>
                    </a:lnTo>
                    <a:lnTo>
                      <a:pt x="52" y="50"/>
                    </a:lnTo>
                    <a:lnTo>
                      <a:pt x="64" y="40"/>
                    </a:lnTo>
                    <a:lnTo>
                      <a:pt x="76" y="30"/>
                    </a:lnTo>
                    <a:lnTo>
                      <a:pt x="90" y="20"/>
                    </a:lnTo>
                    <a:lnTo>
                      <a:pt x="106" y="14"/>
                    </a:lnTo>
                    <a:lnTo>
                      <a:pt x="122" y="8"/>
                    </a:lnTo>
                    <a:lnTo>
                      <a:pt x="140" y="4"/>
                    </a:lnTo>
                    <a:lnTo>
                      <a:pt x="160" y="0"/>
                    </a:lnTo>
                    <a:lnTo>
                      <a:pt x="180" y="0"/>
                    </a:lnTo>
                    <a:lnTo>
                      <a:pt x="18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23"/>
              <p:cNvSpPr>
                <a:spLocks/>
              </p:cNvSpPr>
              <p:nvPr/>
            </p:nvSpPr>
            <p:spPr bwMode="auto">
              <a:xfrm>
                <a:off x="5229225" y="352425"/>
                <a:ext cx="177800" cy="542925"/>
              </a:xfrm>
              <a:custGeom>
                <a:avLst/>
                <a:gdLst>
                  <a:gd name="T0" fmla="*/ 0 w 112"/>
                  <a:gd name="T1" fmla="*/ 342 h 342"/>
                  <a:gd name="T2" fmla="*/ 24 w 112"/>
                  <a:gd name="T3" fmla="*/ 0 h 342"/>
                  <a:gd name="T4" fmla="*/ 112 w 112"/>
                  <a:gd name="T5" fmla="*/ 0 h 342"/>
                  <a:gd name="T6" fmla="*/ 88 w 112"/>
                  <a:gd name="T7" fmla="*/ 342 h 342"/>
                  <a:gd name="T8" fmla="*/ 0 w 112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2" y="0"/>
                    </a:lnTo>
                    <a:lnTo>
                      <a:pt x="88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Freeform 24"/>
              <p:cNvSpPr>
                <a:spLocks/>
              </p:cNvSpPr>
              <p:nvPr/>
            </p:nvSpPr>
            <p:spPr bwMode="auto">
              <a:xfrm>
                <a:off x="5803900" y="517525"/>
                <a:ext cx="295275" cy="377825"/>
              </a:xfrm>
              <a:custGeom>
                <a:avLst/>
                <a:gdLst>
                  <a:gd name="T0" fmla="*/ 106 w 186"/>
                  <a:gd name="T1" fmla="*/ 34 h 238"/>
                  <a:gd name="T2" fmla="*/ 106 w 186"/>
                  <a:gd name="T3" fmla="*/ 34 h 238"/>
                  <a:gd name="T4" fmla="*/ 106 w 186"/>
                  <a:gd name="T5" fmla="*/ 34 h 238"/>
                  <a:gd name="T6" fmla="*/ 116 w 186"/>
                  <a:gd name="T7" fmla="*/ 24 h 238"/>
                  <a:gd name="T8" fmla="*/ 124 w 186"/>
                  <a:gd name="T9" fmla="*/ 16 h 238"/>
                  <a:gd name="T10" fmla="*/ 134 w 186"/>
                  <a:gd name="T11" fmla="*/ 10 h 238"/>
                  <a:gd name="T12" fmla="*/ 144 w 186"/>
                  <a:gd name="T13" fmla="*/ 6 h 238"/>
                  <a:gd name="T14" fmla="*/ 154 w 186"/>
                  <a:gd name="T15" fmla="*/ 4 h 238"/>
                  <a:gd name="T16" fmla="*/ 164 w 186"/>
                  <a:gd name="T17" fmla="*/ 2 h 238"/>
                  <a:gd name="T18" fmla="*/ 186 w 186"/>
                  <a:gd name="T19" fmla="*/ 0 h 238"/>
                  <a:gd name="T20" fmla="*/ 180 w 186"/>
                  <a:gd name="T21" fmla="*/ 76 h 238"/>
                  <a:gd name="T22" fmla="*/ 180 w 186"/>
                  <a:gd name="T23" fmla="*/ 76 h 238"/>
                  <a:gd name="T24" fmla="*/ 162 w 186"/>
                  <a:gd name="T25" fmla="*/ 76 h 238"/>
                  <a:gd name="T26" fmla="*/ 162 w 186"/>
                  <a:gd name="T27" fmla="*/ 76 h 238"/>
                  <a:gd name="T28" fmla="*/ 142 w 186"/>
                  <a:gd name="T29" fmla="*/ 78 h 238"/>
                  <a:gd name="T30" fmla="*/ 126 w 186"/>
                  <a:gd name="T31" fmla="*/ 82 h 238"/>
                  <a:gd name="T32" fmla="*/ 116 w 186"/>
                  <a:gd name="T33" fmla="*/ 88 h 238"/>
                  <a:gd name="T34" fmla="*/ 108 w 186"/>
                  <a:gd name="T35" fmla="*/ 98 h 238"/>
                  <a:gd name="T36" fmla="*/ 104 w 186"/>
                  <a:gd name="T37" fmla="*/ 108 h 238"/>
                  <a:gd name="T38" fmla="*/ 100 w 186"/>
                  <a:gd name="T39" fmla="*/ 120 h 238"/>
                  <a:gd name="T40" fmla="*/ 98 w 186"/>
                  <a:gd name="T41" fmla="*/ 148 h 238"/>
                  <a:gd name="T42" fmla="*/ 92 w 186"/>
                  <a:gd name="T43" fmla="*/ 238 h 238"/>
                  <a:gd name="T44" fmla="*/ 0 w 186"/>
                  <a:gd name="T45" fmla="*/ 238 h 238"/>
                  <a:gd name="T46" fmla="*/ 14 w 186"/>
                  <a:gd name="T47" fmla="*/ 62 h 238"/>
                  <a:gd name="T48" fmla="*/ 14 w 186"/>
                  <a:gd name="T49" fmla="*/ 62 h 238"/>
                  <a:gd name="T50" fmla="*/ 14 w 186"/>
                  <a:gd name="T51" fmla="*/ 32 h 238"/>
                  <a:gd name="T52" fmla="*/ 14 w 186"/>
                  <a:gd name="T53" fmla="*/ 0 h 238"/>
                  <a:gd name="T54" fmla="*/ 102 w 186"/>
                  <a:gd name="T55" fmla="*/ 0 h 238"/>
                  <a:gd name="T56" fmla="*/ 106 w 186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6" h="238">
                    <a:moveTo>
                      <a:pt x="106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6" y="24"/>
                    </a:lnTo>
                    <a:lnTo>
                      <a:pt x="124" y="16"/>
                    </a:lnTo>
                    <a:lnTo>
                      <a:pt x="134" y="10"/>
                    </a:lnTo>
                    <a:lnTo>
                      <a:pt x="144" y="6"/>
                    </a:lnTo>
                    <a:lnTo>
                      <a:pt x="154" y="4"/>
                    </a:lnTo>
                    <a:lnTo>
                      <a:pt x="164" y="2"/>
                    </a:lnTo>
                    <a:lnTo>
                      <a:pt x="186" y="0"/>
                    </a:lnTo>
                    <a:lnTo>
                      <a:pt x="180" y="76"/>
                    </a:lnTo>
                    <a:lnTo>
                      <a:pt x="180" y="76"/>
                    </a:lnTo>
                    <a:lnTo>
                      <a:pt x="162" y="76"/>
                    </a:lnTo>
                    <a:lnTo>
                      <a:pt x="162" y="76"/>
                    </a:lnTo>
                    <a:lnTo>
                      <a:pt x="142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4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6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3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53074" y="553073"/>
            <a:ext cx="3571665" cy="316888"/>
          </a:xfrm>
        </p:spPr>
        <p:txBody>
          <a:bodyPr>
            <a:noAutofit/>
          </a:bodyPr>
          <a:lstStyle>
            <a:lvl1pPr marL="0" indent="0">
              <a:buNone/>
              <a:defRPr sz="1400" b="0" u="none">
                <a:solidFill>
                  <a:schemeClr val="accent1"/>
                </a:solidFill>
              </a:defRPr>
            </a:lvl1pPr>
            <a:lvl2pPr marL="457200" indent="0">
              <a:buNone/>
              <a:defRPr b="0" u="none"/>
            </a:lvl2pPr>
            <a:lvl3pPr marL="914400" indent="0">
              <a:buNone/>
              <a:defRPr b="0" u="none"/>
            </a:lvl3pPr>
            <a:lvl4pPr marL="1371600" indent="0">
              <a:buNone/>
              <a:defRPr b="0" u="none"/>
            </a:lvl4pPr>
            <a:lvl5pPr marL="1828800" indent="0">
              <a:buNone/>
              <a:defRPr b="0" u="none"/>
            </a:lvl5pPr>
          </a:lstStyle>
          <a:p>
            <a:pPr lvl="0"/>
            <a:r>
              <a:rPr lang="en-US"/>
              <a:t>BU/Function/Region</a:t>
            </a:r>
          </a:p>
        </p:txBody>
      </p:sp>
    </p:spTree>
    <p:extLst>
      <p:ext uri="{BB962C8B-B14F-4D97-AF65-F5344CB8AC3E}">
        <p14:creationId xmlns:p14="http://schemas.microsoft.com/office/powerpoint/2010/main" val="4247134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2"/>
            <a:ext cx="12195050" cy="685628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2399" y="2336800"/>
            <a:ext cx="5788152" cy="2091087"/>
          </a:xfrm>
        </p:spPr>
        <p:txBody>
          <a:bodyPr anchor="ctr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2399" y="4427887"/>
            <a:ext cx="5789202" cy="1285515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3E7FBFD-78E1-42FB-85FC-D9CE5E3DEFA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70622" y="276225"/>
            <a:ext cx="2165537" cy="271230"/>
            <a:chOff x="158750" y="276225"/>
            <a:chExt cx="6388100" cy="800100"/>
          </a:xfrm>
          <a:solidFill>
            <a:schemeClr val="bg1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158750" y="276225"/>
              <a:ext cx="857250" cy="736600"/>
            </a:xfrm>
            <a:custGeom>
              <a:avLst/>
              <a:gdLst>
                <a:gd name="T0" fmla="*/ 298 w 540"/>
                <a:gd name="T1" fmla="*/ 0 h 464"/>
                <a:gd name="T2" fmla="*/ 374 w 540"/>
                <a:gd name="T3" fmla="*/ 18 h 464"/>
                <a:gd name="T4" fmla="*/ 442 w 540"/>
                <a:gd name="T5" fmla="*/ 52 h 464"/>
                <a:gd name="T6" fmla="*/ 494 w 540"/>
                <a:gd name="T7" fmla="*/ 102 h 464"/>
                <a:gd name="T8" fmla="*/ 528 w 540"/>
                <a:gd name="T9" fmla="*/ 162 h 464"/>
                <a:gd name="T10" fmla="*/ 540 w 540"/>
                <a:gd name="T11" fmla="*/ 232 h 464"/>
                <a:gd name="T12" fmla="*/ 534 w 540"/>
                <a:gd name="T13" fmla="*/ 278 h 464"/>
                <a:gd name="T14" fmla="*/ 506 w 540"/>
                <a:gd name="T15" fmla="*/ 342 h 464"/>
                <a:gd name="T16" fmla="*/ 460 w 540"/>
                <a:gd name="T17" fmla="*/ 396 h 464"/>
                <a:gd name="T18" fmla="*/ 398 w 540"/>
                <a:gd name="T19" fmla="*/ 436 h 464"/>
                <a:gd name="T20" fmla="*/ 324 w 540"/>
                <a:gd name="T21" fmla="*/ 460 h 464"/>
                <a:gd name="T22" fmla="*/ 270 w 540"/>
                <a:gd name="T23" fmla="*/ 464 h 464"/>
                <a:gd name="T24" fmla="*/ 190 w 540"/>
                <a:gd name="T25" fmla="*/ 454 h 464"/>
                <a:gd name="T26" fmla="*/ 118 w 540"/>
                <a:gd name="T27" fmla="*/ 424 h 464"/>
                <a:gd name="T28" fmla="*/ 62 w 540"/>
                <a:gd name="T29" fmla="*/ 380 h 464"/>
                <a:gd name="T30" fmla="*/ 20 w 540"/>
                <a:gd name="T31" fmla="*/ 322 h 464"/>
                <a:gd name="T32" fmla="*/ 2 w 540"/>
                <a:gd name="T33" fmla="*/ 256 h 464"/>
                <a:gd name="T34" fmla="*/ 2 w 540"/>
                <a:gd name="T35" fmla="*/ 208 h 464"/>
                <a:gd name="T36" fmla="*/ 20 w 540"/>
                <a:gd name="T37" fmla="*/ 142 h 464"/>
                <a:gd name="T38" fmla="*/ 62 w 540"/>
                <a:gd name="T39" fmla="*/ 84 h 464"/>
                <a:gd name="T40" fmla="*/ 118 w 540"/>
                <a:gd name="T41" fmla="*/ 40 h 464"/>
                <a:gd name="T42" fmla="*/ 190 w 540"/>
                <a:gd name="T43" fmla="*/ 10 h 464"/>
                <a:gd name="T44" fmla="*/ 270 w 540"/>
                <a:gd name="T45" fmla="*/ 0 h 464"/>
                <a:gd name="T46" fmla="*/ 270 w 540"/>
                <a:gd name="T47" fmla="*/ 232 h 464"/>
                <a:gd name="T48" fmla="*/ 220 w 540"/>
                <a:gd name="T49" fmla="*/ 196 h 464"/>
                <a:gd name="T50" fmla="*/ 208 w 540"/>
                <a:gd name="T51" fmla="*/ 176 h 464"/>
                <a:gd name="T52" fmla="*/ 156 w 540"/>
                <a:gd name="T53" fmla="*/ 130 h 464"/>
                <a:gd name="T54" fmla="*/ 76 w 540"/>
                <a:gd name="T55" fmla="*/ 152 h 464"/>
                <a:gd name="T56" fmla="*/ 130 w 540"/>
                <a:gd name="T57" fmla="*/ 204 h 464"/>
                <a:gd name="T58" fmla="*/ 138 w 540"/>
                <a:gd name="T59" fmla="*/ 230 h 464"/>
                <a:gd name="T60" fmla="*/ 132 w 540"/>
                <a:gd name="T61" fmla="*/ 244 h 464"/>
                <a:gd name="T62" fmla="*/ 108 w 540"/>
                <a:gd name="T63" fmla="*/ 250 h 464"/>
                <a:gd name="T64" fmla="*/ 38 w 540"/>
                <a:gd name="T65" fmla="*/ 330 h 464"/>
                <a:gd name="T66" fmla="*/ 146 w 540"/>
                <a:gd name="T67" fmla="*/ 330 h 464"/>
                <a:gd name="T68" fmla="*/ 186 w 540"/>
                <a:gd name="T69" fmla="*/ 320 h 464"/>
                <a:gd name="T70" fmla="*/ 214 w 540"/>
                <a:gd name="T71" fmla="*/ 296 h 464"/>
                <a:gd name="T72" fmla="*/ 320 w 540"/>
                <a:gd name="T73" fmla="*/ 390 h 464"/>
                <a:gd name="T74" fmla="*/ 326 w 540"/>
                <a:gd name="T75" fmla="*/ 296 h 464"/>
                <a:gd name="T76" fmla="*/ 352 w 540"/>
                <a:gd name="T77" fmla="*/ 320 h 464"/>
                <a:gd name="T78" fmla="*/ 392 w 540"/>
                <a:gd name="T79" fmla="*/ 330 h 464"/>
                <a:gd name="T80" fmla="*/ 500 w 540"/>
                <a:gd name="T81" fmla="*/ 250 h 464"/>
                <a:gd name="T82" fmla="*/ 432 w 540"/>
                <a:gd name="T83" fmla="*/ 250 h 464"/>
                <a:gd name="T84" fmla="*/ 408 w 540"/>
                <a:gd name="T85" fmla="*/ 244 h 464"/>
                <a:gd name="T86" fmla="*/ 400 w 540"/>
                <a:gd name="T87" fmla="*/ 230 h 464"/>
                <a:gd name="T88" fmla="*/ 410 w 540"/>
                <a:gd name="T89" fmla="*/ 204 h 464"/>
                <a:gd name="T90" fmla="*/ 462 w 540"/>
                <a:gd name="T91" fmla="*/ 152 h 464"/>
                <a:gd name="T92" fmla="*/ 382 w 540"/>
                <a:gd name="T93" fmla="*/ 130 h 464"/>
                <a:gd name="T94" fmla="*/ 330 w 540"/>
                <a:gd name="T95" fmla="*/ 176 h 464"/>
                <a:gd name="T96" fmla="*/ 320 w 540"/>
                <a:gd name="T97" fmla="*/ 19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40" h="464">
                  <a:moveTo>
                    <a:pt x="270" y="0"/>
                  </a:moveTo>
                  <a:lnTo>
                    <a:pt x="270" y="0"/>
                  </a:lnTo>
                  <a:lnTo>
                    <a:pt x="298" y="0"/>
                  </a:lnTo>
                  <a:lnTo>
                    <a:pt x="324" y="4"/>
                  </a:lnTo>
                  <a:lnTo>
                    <a:pt x="350" y="10"/>
                  </a:lnTo>
                  <a:lnTo>
                    <a:pt x="374" y="18"/>
                  </a:lnTo>
                  <a:lnTo>
                    <a:pt x="398" y="28"/>
                  </a:lnTo>
                  <a:lnTo>
                    <a:pt x="420" y="40"/>
                  </a:lnTo>
                  <a:lnTo>
                    <a:pt x="442" y="52"/>
                  </a:lnTo>
                  <a:lnTo>
                    <a:pt x="460" y="68"/>
                  </a:lnTo>
                  <a:lnTo>
                    <a:pt x="478" y="84"/>
                  </a:lnTo>
                  <a:lnTo>
                    <a:pt x="494" y="102"/>
                  </a:lnTo>
                  <a:lnTo>
                    <a:pt x="506" y="122"/>
                  </a:lnTo>
                  <a:lnTo>
                    <a:pt x="518" y="142"/>
                  </a:lnTo>
                  <a:lnTo>
                    <a:pt x="528" y="162"/>
                  </a:lnTo>
                  <a:lnTo>
                    <a:pt x="534" y="184"/>
                  </a:lnTo>
                  <a:lnTo>
                    <a:pt x="538" y="208"/>
                  </a:lnTo>
                  <a:lnTo>
                    <a:pt x="540" y="232"/>
                  </a:lnTo>
                  <a:lnTo>
                    <a:pt x="540" y="232"/>
                  </a:lnTo>
                  <a:lnTo>
                    <a:pt x="538" y="256"/>
                  </a:lnTo>
                  <a:lnTo>
                    <a:pt x="534" y="278"/>
                  </a:lnTo>
                  <a:lnTo>
                    <a:pt x="528" y="300"/>
                  </a:lnTo>
                  <a:lnTo>
                    <a:pt x="518" y="322"/>
                  </a:lnTo>
                  <a:lnTo>
                    <a:pt x="506" y="342"/>
                  </a:lnTo>
                  <a:lnTo>
                    <a:pt x="494" y="362"/>
                  </a:lnTo>
                  <a:lnTo>
                    <a:pt x="478" y="380"/>
                  </a:lnTo>
                  <a:lnTo>
                    <a:pt x="460" y="396"/>
                  </a:lnTo>
                  <a:lnTo>
                    <a:pt x="442" y="410"/>
                  </a:lnTo>
                  <a:lnTo>
                    <a:pt x="420" y="424"/>
                  </a:lnTo>
                  <a:lnTo>
                    <a:pt x="398" y="436"/>
                  </a:lnTo>
                  <a:lnTo>
                    <a:pt x="374" y="446"/>
                  </a:lnTo>
                  <a:lnTo>
                    <a:pt x="350" y="454"/>
                  </a:lnTo>
                  <a:lnTo>
                    <a:pt x="324" y="460"/>
                  </a:lnTo>
                  <a:lnTo>
                    <a:pt x="298" y="462"/>
                  </a:lnTo>
                  <a:lnTo>
                    <a:pt x="270" y="464"/>
                  </a:lnTo>
                  <a:lnTo>
                    <a:pt x="270" y="464"/>
                  </a:lnTo>
                  <a:lnTo>
                    <a:pt x="242" y="462"/>
                  </a:lnTo>
                  <a:lnTo>
                    <a:pt x="216" y="458"/>
                  </a:lnTo>
                  <a:lnTo>
                    <a:pt x="190" y="454"/>
                  </a:lnTo>
                  <a:lnTo>
                    <a:pt x="164" y="446"/>
                  </a:lnTo>
                  <a:lnTo>
                    <a:pt x="140" y="436"/>
                  </a:lnTo>
                  <a:lnTo>
                    <a:pt x="118" y="424"/>
                  </a:lnTo>
                  <a:lnTo>
                    <a:pt x="98" y="410"/>
                  </a:lnTo>
                  <a:lnTo>
                    <a:pt x="78" y="396"/>
                  </a:lnTo>
                  <a:lnTo>
                    <a:pt x="62" y="380"/>
                  </a:lnTo>
                  <a:lnTo>
                    <a:pt x="46" y="362"/>
                  </a:lnTo>
                  <a:lnTo>
                    <a:pt x="32" y="342"/>
                  </a:lnTo>
                  <a:lnTo>
                    <a:pt x="20" y="322"/>
                  </a:lnTo>
                  <a:lnTo>
                    <a:pt x="12" y="300"/>
                  </a:lnTo>
                  <a:lnTo>
                    <a:pt x="6" y="278"/>
                  </a:lnTo>
                  <a:lnTo>
                    <a:pt x="2" y="256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08"/>
                  </a:lnTo>
                  <a:lnTo>
                    <a:pt x="6" y="184"/>
                  </a:lnTo>
                  <a:lnTo>
                    <a:pt x="12" y="162"/>
                  </a:lnTo>
                  <a:lnTo>
                    <a:pt x="20" y="142"/>
                  </a:lnTo>
                  <a:lnTo>
                    <a:pt x="32" y="120"/>
                  </a:lnTo>
                  <a:lnTo>
                    <a:pt x="46" y="102"/>
                  </a:lnTo>
                  <a:lnTo>
                    <a:pt x="62" y="84"/>
                  </a:lnTo>
                  <a:lnTo>
                    <a:pt x="78" y="68"/>
                  </a:lnTo>
                  <a:lnTo>
                    <a:pt x="98" y="52"/>
                  </a:lnTo>
                  <a:lnTo>
                    <a:pt x="118" y="40"/>
                  </a:lnTo>
                  <a:lnTo>
                    <a:pt x="140" y="28"/>
                  </a:lnTo>
                  <a:lnTo>
                    <a:pt x="164" y="18"/>
                  </a:lnTo>
                  <a:lnTo>
                    <a:pt x="190" y="10"/>
                  </a:lnTo>
                  <a:lnTo>
                    <a:pt x="216" y="4"/>
                  </a:lnTo>
                  <a:lnTo>
                    <a:pt x="242" y="0"/>
                  </a:lnTo>
                  <a:lnTo>
                    <a:pt x="270" y="0"/>
                  </a:lnTo>
                  <a:lnTo>
                    <a:pt x="270" y="0"/>
                  </a:lnTo>
                  <a:close/>
                  <a:moveTo>
                    <a:pt x="270" y="232"/>
                  </a:moveTo>
                  <a:lnTo>
                    <a:pt x="270" y="232"/>
                  </a:lnTo>
                  <a:close/>
                  <a:moveTo>
                    <a:pt x="220" y="50"/>
                  </a:moveTo>
                  <a:lnTo>
                    <a:pt x="220" y="50"/>
                  </a:lnTo>
                  <a:lnTo>
                    <a:pt x="220" y="196"/>
                  </a:lnTo>
                  <a:lnTo>
                    <a:pt x="220" y="196"/>
                  </a:lnTo>
                  <a:lnTo>
                    <a:pt x="214" y="186"/>
                  </a:lnTo>
                  <a:lnTo>
                    <a:pt x="208" y="176"/>
                  </a:lnTo>
                  <a:lnTo>
                    <a:pt x="194" y="160"/>
                  </a:lnTo>
                  <a:lnTo>
                    <a:pt x="176" y="144"/>
                  </a:lnTo>
                  <a:lnTo>
                    <a:pt x="156" y="130"/>
                  </a:lnTo>
                  <a:lnTo>
                    <a:pt x="48" y="130"/>
                  </a:lnTo>
                  <a:lnTo>
                    <a:pt x="48" y="130"/>
                  </a:lnTo>
                  <a:lnTo>
                    <a:pt x="76" y="152"/>
                  </a:lnTo>
                  <a:lnTo>
                    <a:pt x="106" y="178"/>
                  </a:lnTo>
                  <a:lnTo>
                    <a:pt x="120" y="192"/>
                  </a:lnTo>
                  <a:lnTo>
                    <a:pt x="130" y="204"/>
                  </a:lnTo>
                  <a:lnTo>
                    <a:pt x="136" y="218"/>
                  </a:lnTo>
                  <a:lnTo>
                    <a:pt x="138" y="230"/>
                  </a:lnTo>
                  <a:lnTo>
                    <a:pt x="138" y="230"/>
                  </a:lnTo>
                  <a:lnTo>
                    <a:pt x="138" y="236"/>
                  </a:lnTo>
                  <a:lnTo>
                    <a:pt x="136" y="240"/>
                  </a:lnTo>
                  <a:lnTo>
                    <a:pt x="132" y="244"/>
                  </a:lnTo>
                  <a:lnTo>
                    <a:pt x="128" y="246"/>
                  </a:lnTo>
                  <a:lnTo>
                    <a:pt x="11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38" y="25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146" y="330"/>
                  </a:lnTo>
                  <a:lnTo>
                    <a:pt x="146" y="330"/>
                  </a:lnTo>
                  <a:lnTo>
                    <a:pt x="166" y="328"/>
                  </a:lnTo>
                  <a:lnTo>
                    <a:pt x="176" y="324"/>
                  </a:lnTo>
                  <a:lnTo>
                    <a:pt x="186" y="320"/>
                  </a:lnTo>
                  <a:lnTo>
                    <a:pt x="196" y="314"/>
                  </a:lnTo>
                  <a:lnTo>
                    <a:pt x="206" y="306"/>
                  </a:lnTo>
                  <a:lnTo>
                    <a:pt x="214" y="296"/>
                  </a:lnTo>
                  <a:lnTo>
                    <a:pt x="220" y="284"/>
                  </a:lnTo>
                  <a:lnTo>
                    <a:pt x="220" y="390"/>
                  </a:lnTo>
                  <a:lnTo>
                    <a:pt x="320" y="390"/>
                  </a:lnTo>
                  <a:lnTo>
                    <a:pt x="320" y="284"/>
                  </a:lnTo>
                  <a:lnTo>
                    <a:pt x="320" y="284"/>
                  </a:lnTo>
                  <a:lnTo>
                    <a:pt x="326" y="296"/>
                  </a:lnTo>
                  <a:lnTo>
                    <a:pt x="334" y="306"/>
                  </a:lnTo>
                  <a:lnTo>
                    <a:pt x="342" y="314"/>
                  </a:lnTo>
                  <a:lnTo>
                    <a:pt x="352" y="320"/>
                  </a:lnTo>
                  <a:lnTo>
                    <a:pt x="362" y="324"/>
                  </a:lnTo>
                  <a:lnTo>
                    <a:pt x="372" y="328"/>
                  </a:lnTo>
                  <a:lnTo>
                    <a:pt x="392" y="330"/>
                  </a:lnTo>
                  <a:lnTo>
                    <a:pt x="392" y="330"/>
                  </a:lnTo>
                  <a:lnTo>
                    <a:pt x="500" y="330"/>
                  </a:lnTo>
                  <a:lnTo>
                    <a:pt x="500" y="250"/>
                  </a:lnTo>
                  <a:lnTo>
                    <a:pt x="500" y="250"/>
                  </a:lnTo>
                  <a:lnTo>
                    <a:pt x="432" y="250"/>
                  </a:lnTo>
                  <a:lnTo>
                    <a:pt x="432" y="250"/>
                  </a:lnTo>
                  <a:lnTo>
                    <a:pt x="422" y="250"/>
                  </a:lnTo>
                  <a:lnTo>
                    <a:pt x="412" y="246"/>
                  </a:lnTo>
                  <a:lnTo>
                    <a:pt x="408" y="244"/>
                  </a:lnTo>
                  <a:lnTo>
                    <a:pt x="404" y="240"/>
                  </a:lnTo>
                  <a:lnTo>
                    <a:pt x="402" y="236"/>
                  </a:lnTo>
                  <a:lnTo>
                    <a:pt x="400" y="230"/>
                  </a:lnTo>
                  <a:lnTo>
                    <a:pt x="400" y="230"/>
                  </a:lnTo>
                  <a:lnTo>
                    <a:pt x="402" y="218"/>
                  </a:lnTo>
                  <a:lnTo>
                    <a:pt x="410" y="204"/>
                  </a:lnTo>
                  <a:lnTo>
                    <a:pt x="420" y="192"/>
                  </a:lnTo>
                  <a:lnTo>
                    <a:pt x="432" y="178"/>
                  </a:lnTo>
                  <a:lnTo>
                    <a:pt x="462" y="152"/>
                  </a:lnTo>
                  <a:lnTo>
                    <a:pt x="492" y="130"/>
                  </a:lnTo>
                  <a:lnTo>
                    <a:pt x="382" y="130"/>
                  </a:lnTo>
                  <a:lnTo>
                    <a:pt x="382" y="130"/>
                  </a:lnTo>
                  <a:lnTo>
                    <a:pt x="364" y="144"/>
                  </a:lnTo>
                  <a:lnTo>
                    <a:pt x="346" y="160"/>
                  </a:lnTo>
                  <a:lnTo>
                    <a:pt x="330" y="176"/>
                  </a:lnTo>
                  <a:lnTo>
                    <a:pt x="324" y="186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20" y="50"/>
                  </a:lnTo>
                  <a:lnTo>
                    <a:pt x="22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1314450" y="339725"/>
              <a:ext cx="5232400" cy="736600"/>
              <a:chOff x="1314450" y="339725"/>
              <a:chExt cx="5232400" cy="736600"/>
            </a:xfrm>
            <a:grpFill/>
          </p:grpSpPr>
          <p:sp>
            <p:nvSpPr>
              <p:cNvPr id="11" name="Freeform 9"/>
              <p:cNvSpPr>
                <a:spLocks/>
              </p:cNvSpPr>
              <p:nvPr/>
            </p:nvSpPr>
            <p:spPr bwMode="auto">
              <a:xfrm>
                <a:off x="1908175" y="352425"/>
                <a:ext cx="139700" cy="98425"/>
              </a:xfrm>
              <a:custGeom>
                <a:avLst/>
                <a:gdLst>
                  <a:gd name="T0" fmla="*/ 4 w 88"/>
                  <a:gd name="T1" fmla="*/ 0 h 62"/>
                  <a:gd name="T2" fmla="*/ 88 w 88"/>
                  <a:gd name="T3" fmla="*/ 0 h 62"/>
                  <a:gd name="T4" fmla="*/ 84 w 88"/>
                  <a:gd name="T5" fmla="*/ 62 h 62"/>
                  <a:gd name="T6" fmla="*/ 0 w 88"/>
                  <a:gd name="T7" fmla="*/ 62 h 62"/>
                  <a:gd name="T8" fmla="*/ 4 w 88"/>
                  <a:gd name="T9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" h="62">
                    <a:moveTo>
                      <a:pt x="4" y="0"/>
                    </a:moveTo>
                    <a:lnTo>
                      <a:pt x="88" y="0"/>
                    </a:lnTo>
                    <a:lnTo>
                      <a:pt x="84" y="62"/>
                    </a:lnTo>
                    <a:lnTo>
                      <a:pt x="0" y="6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10"/>
              <p:cNvSpPr>
                <a:spLocks noEditPoints="1"/>
              </p:cNvSpPr>
              <p:nvPr/>
            </p:nvSpPr>
            <p:spPr bwMode="auto">
              <a:xfrm>
                <a:off x="5397500" y="504825"/>
                <a:ext cx="393700" cy="393700"/>
              </a:xfrm>
              <a:custGeom>
                <a:avLst/>
                <a:gdLst>
                  <a:gd name="T0" fmla="*/ 152 w 248"/>
                  <a:gd name="T1" fmla="*/ 216 h 248"/>
                  <a:gd name="T2" fmla="*/ 138 w 248"/>
                  <a:gd name="T3" fmla="*/ 228 h 248"/>
                  <a:gd name="T4" fmla="*/ 112 w 248"/>
                  <a:gd name="T5" fmla="*/ 242 h 248"/>
                  <a:gd name="T6" fmla="*/ 92 w 248"/>
                  <a:gd name="T7" fmla="*/ 246 h 248"/>
                  <a:gd name="T8" fmla="*/ 80 w 248"/>
                  <a:gd name="T9" fmla="*/ 248 h 248"/>
                  <a:gd name="T10" fmla="*/ 44 w 248"/>
                  <a:gd name="T11" fmla="*/ 242 h 248"/>
                  <a:gd name="T12" fmla="*/ 18 w 248"/>
                  <a:gd name="T13" fmla="*/ 226 h 248"/>
                  <a:gd name="T14" fmla="*/ 4 w 248"/>
                  <a:gd name="T15" fmla="*/ 202 h 248"/>
                  <a:gd name="T16" fmla="*/ 0 w 248"/>
                  <a:gd name="T17" fmla="*/ 174 h 248"/>
                  <a:gd name="T18" fmla="*/ 2 w 248"/>
                  <a:gd name="T19" fmla="*/ 156 h 248"/>
                  <a:gd name="T20" fmla="*/ 20 w 248"/>
                  <a:gd name="T21" fmla="*/ 128 h 248"/>
                  <a:gd name="T22" fmla="*/ 54 w 248"/>
                  <a:gd name="T23" fmla="*/ 108 h 248"/>
                  <a:gd name="T24" fmla="*/ 104 w 248"/>
                  <a:gd name="T25" fmla="*/ 98 h 248"/>
                  <a:gd name="T26" fmla="*/ 162 w 248"/>
                  <a:gd name="T27" fmla="*/ 96 h 248"/>
                  <a:gd name="T28" fmla="*/ 164 w 248"/>
                  <a:gd name="T29" fmla="*/ 78 h 248"/>
                  <a:gd name="T30" fmla="*/ 162 w 248"/>
                  <a:gd name="T31" fmla="*/ 60 h 248"/>
                  <a:gd name="T32" fmla="*/ 154 w 248"/>
                  <a:gd name="T33" fmla="*/ 46 h 248"/>
                  <a:gd name="T34" fmla="*/ 136 w 248"/>
                  <a:gd name="T35" fmla="*/ 40 h 248"/>
                  <a:gd name="T36" fmla="*/ 126 w 248"/>
                  <a:gd name="T37" fmla="*/ 42 h 248"/>
                  <a:gd name="T38" fmla="*/ 114 w 248"/>
                  <a:gd name="T39" fmla="*/ 48 h 248"/>
                  <a:gd name="T40" fmla="*/ 106 w 248"/>
                  <a:gd name="T41" fmla="*/ 66 h 248"/>
                  <a:gd name="T42" fmla="*/ 22 w 248"/>
                  <a:gd name="T43" fmla="*/ 76 h 248"/>
                  <a:gd name="T44" fmla="*/ 24 w 248"/>
                  <a:gd name="T45" fmla="*/ 66 h 248"/>
                  <a:gd name="T46" fmla="*/ 28 w 248"/>
                  <a:gd name="T47" fmla="*/ 46 h 248"/>
                  <a:gd name="T48" fmla="*/ 38 w 248"/>
                  <a:gd name="T49" fmla="*/ 30 h 248"/>
                  <a:gd name="T50" fmla="*/ 54 w 248"/>
                  <a:gd name="T51" fmla="*/ 18 h 248"/>
                  <a:gd name="T52" fmla="*/ 62 w 248"/>
                  <a:gd name="T53" fmla="*/ 14 h 248"/>
                  <a:gd name="T54" fmla="*/ 102 w 248"/>
                  <a:gd name="T55" fmla="*/ 2 h 248"/>
                  <a:gd name="T56" fmla="*/ 144 w 248"/>
                  <a:gd name="T57" fmla="*/ 0 h 248"/>
                  <a:gd name="T58" fmla="*/ 164 w 248"/>
                  <a:gd name="T59" fmla="*/ 0 h 248"/>
                  <a:gd name="T60" fmla="*/ 200 w 248"/>
                  <a:gd name="T61" fmla="*/ 10 h 248"/>
                  <a:gd name="T62" fmla="*/ 230 w 248"/>
                  <a:gd name="T63" fmla="*/ 30 h 248"/>
                  <a:gd name="T64" fmla="*/ 240 w 248"/>
                  <a:gd name="T65" fmla="*/ 44 h 248"/>
                  <a:gd name="T66" fmla="*/ 246 w 248"/>
                  <a:gd name="T67" fmla="*/ 62 h 248"/>
                  <a:gd name="T68" fmla="*/ 248 w 248"/>
                  <a:gd name="T69" fmla="*/ 82 h 248"/>
                  <a:gd name="T70" fmla="*/ 242 w 248"/>
                  <a:gd name="T71" fmla="*/ 196 h 248"/>
                  <a:gd name="T72" fmla="*/ 242 w 248"/>
                  <a:gd name="T73" fmla="*/ 246 h 248"/>
                  <a:gd name="T74" fmla="*/ 152 w 248"/>
                  <a:gd name="T75" fmla="*/ 216 h 248"/>
                  <a:gd name="T76" fmla="*/ 114 w 248"/>
                  <a:gd name="T77" fmla="*/ 200 h 248"/>
                  <a:gd name="T78" fmla="*/ 138 w 248"/>
                  <a:gd name="T79" fmla="*/ 194 h 248"/>
                  <a:gd name="T80" fmla="*/ 152 w 248"/>
                  <a:gd name="T81" fmla="*/ 176 h 248"/>
                  <a:gd name="T82" fmla="*/ 158 w 248"/>
                  <a:gd name="T83" fmla="*/ 154 h 248"/>
                  <a:gd name="T84" fmla="*/ 160 w 248"/>
                  <a:gd name="T85" fmla="*/ 130 h 248"/>
                  <a:gd name="T86" fmla="*/ 122 w 248"/>
                  <a:gd name="T87" fmla="*/ 132 h 248"/>
                  <a:gd name="T88" fmla="*/ 110 w 248"/>
                  <a:gd name="T89" fmla="*/ 134 h 248"/>
                  <a:gd name="T90" fmla="*/ 94 w 248"/>
                  <a:gd name="T91" fmla="*/ 148 h 248"/>
                  <a:gd name="T92" fmla="*/ 86 w 248"/>
                  <a:gd name="T93" fmla="*/ 170 h 248"/>
                  <a:gd name="T94" fmla="*/ 86 w 248"/>
                  <a:gd name="T95" fmla="*/ 176 h 248"/>
                  <a:gd name="T96" fmla="*/ 92 w 248"/>
                  <a:gd name="T97" fmla="*/ 192 h 248"/>
                  <a:gd name="T98" fmla="*/ 102 w 248"/>
                  <a:gd name="T99" fmla="*/ 198 h 248"/>
                  <a:gd name="T100" fmla="*/ 114 w 248"/>
                  <a:gd name="T101" fmla="*/ 20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8" h="248">
                    <a:moveTo>
                      <a:pt x="152" y="216"/>
                    </a:moveTo>
                    <a:lnTo>
                      <a:pt x="152" y="216"/>
                    </a:lnTo>
                    <a:lnTo>
                      <a:pt x="152" y="216"/>
                    </a:lnTo>
                    <a:lnTo>
                      <a:pt x="138" y="228"/>
                    </a:lnTo>
                    <a:lnTo>
                      <a:pt x="122" y="238"/>
                    </a:lnTo>
                    <a:lnTo>
                      <a:pt x="112" y="242"/>
                    </a:lnTo>
                    <a:lnTo>
                      <a:pt x="102" y="246"/>
                    </a:lnTo>
                    <a:lnTo>
                      <a:pt x="92" y="246"/>
                    </a:lnTo>
                    <a:lnTo>
                      <a:pt x="80" y="248"/>
                    </a:lnTo>
                    <a:lnTo>
                      <a:pt x="80" y="248"/>
                    </a:lnTo>
                    <a:lnTo>
                      <a:pt x="60" y="246"/>
                    </a:lnTo>
                    <a:lnTo>
                      <a:pt x="44" y="242"/>
                    </a:lnTo>
                    <a:lnTo>
                      <a:pt x="30" y="234"/>
                    </a:lnTo>
                    <a:lnTo>
                      <a:pt x="18" y="226"/>
                    </a:lnTo>
                    <a:lnTo>
                      <a:pt x="10" y="216"/>
                    </a:lnTo>
                    <a:lnTo>
                      <a:pt x="4" y="202"/>
                    </a:lnTo>
                    <a:lnTo>
                      <a:pt x="0" y="188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2" y="156"/>
                    </a:lnTo>
                    <a:lnTo>
                      <a:pt x="8" y="142"/>
                    </a:lnTo>
                    <a:lnTo>
                      <a:pt x="20" y="128"/>
                    </a:lnTo>
                    <a:lnTo>
                      <a:pt x="34" y="116"/>
                    </a:lnTo>
                    <a:lnTo>
                      <a:pt x="54" y="108"/>
                    </a:lnTo>
                    <a:lnTo>
                      <a:pt x="76" y="102"/>
                    </a:lnTo>
                    <a:lnTo>
                      <a:pt x="104" y="98"/>
                    </a:lnTo>
                    <a:lnTo>
                      <a:pt x="134" y="96"/>
                    </a:lnTo>
                    <a:lnTo>
                      <a:pt x="162" y="96"/>
                    </a:lnTo>
                    <a:lnTo>
                      <a:pt x="162" y="96"/>
                    </a:lnTo>
                    <a:lnTo>
                      <a:pt x="164" y="78"/>
                    </a:lnTo>
                    <a:lnTo>
                      <a:pt x="164" y="70"/>
                    </a:lnTo>
                    <a:lnTo>
                      <a:pt x="162" y="60"/>
                    </a:lnTo>
                    <a:lnTo>
                      <a:pt x="160" y="52"/>
                    </a:lnTo>
                    <a:lnTo>
                      <a:pt x="154" y="46"/>
                    </a:lnTo>
                    <a:lnTo>
                      <a:pt x="146" y="42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26" y="42"/>
                    </a:lnTo>
                    <a:lnTo>
                      <a:pt x="120" y="44"/>
                    </a:lnTo>
                    <a:lnTo>
                      <a:pt x="114" y="48"/>
                    </a:lnTo>
                    <a:lnTo>
                      <a:pt x="110" y="54"/>
                    </a:lnTo>
                    <a:lnTo>
                      <a:pt x="106" y="66"/>
                    </a:lnTo>
                    <a:lnTo>
                      <a:pt x="104" y="76"/>
                    </a:lnTo>
                    <a:lnTo>
                      <a:pt x="22" y="76"/>
                    </a:lnTo>
                    <a:lnTo>
                      <a:pt x="22" y="76"/>
                    </a:lnTo>
                    <a:lnTo>
                      <a:pt x="24" y="66"/>
                    </a:lnTo>
                    <a:lnTo>
                      <a:pt x="26" y="54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38" y="30"/>
                    </a:lnTo>
                    <a:lnTo>
                      <a:pt x="46" y="24"/>
                    </a:lnTo>
                    <a:lnTo>
                      <a:pt x="54" y="18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2" y="6"/>
                    </a:lnTo>
                    <a:lnTo>
                      <a:pt x="102" y="2"/>
                    </a:lnTo>
                    <a:lnTo>
                      <a:pt x="124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64" y="0"/>
                    </a:lnTo>
                    <a:lnTo>
                      <a:pt x="182" y="4"/>
                    </a:lnTo>
                    <a:lnTo>
                      <a:pt x="200" y="10"/>
                    </a:lnTo>
                    <a:lnTo>
                      <a:pt x="216" y="18"/>
                    </a:lnTo>
                    <a:lnTo>
                      <a:pt x="230" y="30"/>
                    </a:lnTo>
                    <a:lnTo>
                      <a:pt x="236" y="38"/>
                    </a:lnTo>
                    <a:lnTo>
                      <a:pt x="240" y="44"/>
                    </a:lnTo>
                    <a:lnTo>
                      <a:pt x="244" y="52"/>
                    </a:lnTo>
                    <a:lnTo>
                      <a:pt x="246" y="62"/>
                    </a:lnTo>
                    <a:lnTo>
                      <a:pt x="248" y="72"/>
                    </a:lnTo>
                    <a:lnTo>
                      <a:pt x="248" y="82"/>
                    </a:lnTo>
                    <a:lnTo>
                      <a:pt x="242" y="196"/>
                    </a:lnTo>
                    <a:lnTo>
                      <a:pt x="242" y="196"/>
                    </a:lnTo>
                    <a:lnTo>
                      <a:pt x="240" y="214"/>
                    </a:lnTo>
                    <a:lnTo>
                      <a:pt x="242" y="246"/>
                    </a:lnTo>
                    <a:lnTo>
                      <a:pt x="158" y="246"/>
                    </a:lnTo>
                    <a:lnTo>
                      <a:pt x="152" y="216"/>
                    </a:lnTo>
                    <a:close/>
                    <a:moveTo>
                      <a:pt x="114" y="200"/>
                    </a:moveTo>
                    <a:lnTo>
                      <a:pt x="114" y="200"/>
                    </a:lnTo>
                    <a:lnTo>
                      <a:pt x="128" y="198"/>
                    </a:lnTo>
                    <a:lnTo>
                      <a:pt x="138" y="194"/>
                    </a:lnTo>
                    <a:lnTo>
                      <a:pt x="146" y="186"/>
                    </a:lnTo>
                    <a:lnTo>
                      <a:pt x="152" y="176"/>
                    </a:lnTo>
                    <a:lnTo>
                      <a:pt x="156" y="166"/>
                    </a:lnTo>
                    <a:lnTo>
                      <a:pt x="158" y="154"/>
                    </a:lnTo>
                    <a:lnTo>
                      <a:pt x="160" y="130"/>
                    </a:lnTo>
                    <a:lnTo>
                      <a:pt x="160" y="130"/>
                    </a:lnTo>
                    <a:lnTo>
                      <a:pt x="134" y="130"/>
                    </a:lnTo>
                    <a:lnTo>
                      <a:pt x="122" y="132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2" y="140"/>
                    </a:lnTo>
                    <a:lnTo>
                      <a:pt x="94" y="148"/>
                    </a:lnTo>
                    <a:lnTo>
                      <a:pt x="88" y="158"/>
                    </a:lnTo>
                    <a:lnTo>
                      <a:pt x="86" y="170"/>
                    </a:lnTo>
                    <a:lnTo>
                      <a:pt x="86" y="170"/>
                    </a:lnTo>
                    <a:lnTo>
                      <a:pt x="86" y="176"/>
                    </a:lnTo>
                    <a:lnTo>
                      <a:pt x="88" y="182"/>
                    </a:lnTo>
                    <a:lnTo>
                      <a:pt x="92" y="192"/>
                    </a:lnTo>
                    <a:lnTo>
                      <a:pt x="96" y="194"/>
                    </a:lnTo>
                    <a:lnTo>
                      <a:pt x="102" y="198"/>
                    </a:lnTo>
                    <a:lnTo>
                      <a:pt x="108" y="200"/>
                    </a:lnTo>
                    <a:lnTo>
                      <a:pt x="114" y="200"/>
                    </a:lnTo>
                    <a:lnTo>
                      <a:pt x="114" y="2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11"/>
              <p:cNvSpPr>
                <a:spLocks noEditPoints="1"/>
              </p:cNvSpPr>
              <p:nvPr/>
            </p:nvSpPr>
            <p:spPr bwMode="auto">
              <a:xfrm>
                <a:off x="6092825" y="352425"/>
                <a:ext cx="454025" cy="542925"/>
              </a:xfrm>
              <a:custGeom>
                <a:avLst/>
                <a:gdLst>
                  <a:gd name="T0" fmla="*/ 0 w 286"/>
                  <a:gd name="T1" fmla="*/ 342 h 342"/>
                  <a:gd name="T2" fmla="*/ 24 w 286"/>
                  <a:gd name="T3" fmla="*/ 0 h 342"/>
                  <a:gd name="T4" fmla="*/ 114 w 286"/>
                  <a:gd name="T5" fmla="*/ 0 h 342"/>
                  <a:gd name="T6" fmla="*/ 90 w 286"/>
                  <a:gd name="T7" fmla="*/ 342 h 342"/>
                  <a:gd name="T8" fmla="*/ 0 w 286"/>
                  <a:gd name="T9" fmla="*/ 342 h 342"/>
                  <a:gd name="T10" fmla="*/ 100 w 286"/>
                  <a:gd name="T11" fmla="*/ 210 h 342"/>
                  <a:gd name="T12" fmla="*/ 184 w 286"/>
                  <a:gd name="T13" fmla="*/ 104 h 342"/>
                  <a:gd name="T14" fmla="*/ 286 w 286"/>
                  <a:gd name="T15" fmla="*/ 104 h 342"/>
                  <a:gd name="T16" fmla="*/ 194 w 286"/>
                  <a:gd name="T17" fmla="*/ 204 h 342"/>
                  <a:gd name="T18" fmla="*/ 282 w 286"/>
                  <a:gd name="T19" fmla="*/ 342 h 342"/>
                  <a:gd name="T20" fmla="*/ 170 w 286"/>
                  <a:gd name="T21" fmla="*/ 342 h 342"/>
                  <a:gd name="T22" fmla="*/ 100 w 286"/>
                  <a:gd name="T23" fmla="*/ 21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6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4" y="0"/>
                    </a:lnTo>
                    <a:lnTo>
                      <a:pt x="90" y="342"/>
                    </a:lnTo>
                    <a:lnTo>
                      <a:pt x="0" y="342"/>
                    </a:lnTo>
                    <a:close/>
                    <a:moveTo>
                      <a:pt x="100" y="210"/>
                    </a:moveTo>
                    <a:lnTo>
                      <a:pt x="184" y="104"/>
                    </a:lnTo>
                    <a:lnTo>
                      <a:pt x="286" y="104"/>
                    </a:lnTo>
                    <a:lnTo>
                      <a:pt x="194" y="204"/>
                    </a:lnTo>
                    <a:lnTo>
                      <a:pt x="282" y="342"/>
                    </a:lnTo>
                    <a:lnTo>
                      <a:pt x="170" y="342"/>
                    </a:lnTo>
                    <a:lnTo>
                      <a:pt x="10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12"/>
              <p:cNvSpPr>
                <a:spLocks/>
              </p:cNvSpPr>
              <p:nvPr/>
            </p:nvSpPr>
            <p:spPr bwMode="auto">
              <a:xfrm>
                <a:off x="3606800" y="517525"/>
                <a:ext cx="292100" cy="377825"/>
              </a:xfrm>
              <a:custGeom>
                <a:avLst/>
                <a:gdLst>
                  <a:gd name="T0" fmla="*/ 104 w 184"/>
                  <a:gd name="T1" fmla="*/ 34 h 238"/>
                  <a:gd name="T2" fmla="*/ 106 w 184"/>
                  <a:gd name="T3" fmla="*/ 34 h 238"/>
                  <a:gd name="T4" fmla="*/ 106 w 184"/>
                  <a:gd name="T5" fmla="*/ 34 h 238"/>
                  <a:gd name="T6" fmla="*/ 114 w 184"/>
                  <a:gd name="T7" fmla="*/ 24 h 238"/>
                  <a:gd name="T8" fmla="*/ 124 w 184"/>
                  <a:gd name="T9" fmla="*/ 16 h 238"/>
                  <a:gd name="T10" fmla="*/ 132 w 184"/>
                  <a:gd name="T11" fmla="*/ 10 h 238"/>
                  <a:gd name="T12" fmla="*/ 142 w 184"/>
                  <a:gd name="T13" fmla="*/ 6 h 238"/>
                  <a:gd name="T14" fmla="*/ 152 w 184"/>
                  <a:gd name="T15" fmla="*/ 4 h 238"/>
                  <a:gd name="T16" fmla="*/ 162 w 184"/>
                  <a:gd name="T17" fmla="*/ 2 h 238"/>
                  <a:gd name="T18" fmla="*/ 184 w 184"/>
                  <a:gd name="T19" fmla="*/ 0 h 238"/>
                  <a:gd name="T20" fmla="*/ 178 w 184"/>
                  <a:gd name="T21" fmla="*/ 76 h 238"/>
                  <a:gd name="T22" fmla="*/ 178 w 184"/>
                  <a:gd name="T23" fmla="*/ 76 h 238"/>
                  <a:gd name="T24" fmla="*/ 160 w 184"/>
                  <a:gd name="T25" fmla="*/ 76 h 238"/>
                  <a:gd name="T26" fmla="*/ 160 w 184"/>
                  <a:gd name="T27" fmla="*/ 76 h 238"/>
                  <a:gd name="T28" fmla="*/ 140 w 184"/>
                  <a:gd name="T29" fmla="*/ 78 h 238"/>
                  <a:gd name="T30" fmla="*/ 126 w 184"/>
                  <a:gd name="T31" fmla="*/ 82 h 238"/>
                  <a:gd name="T32" fmla="*/ 116 w 184"/>
                  <a:gd name="T33" fmla="*/ 88 h 238"/>
                  <a:gd name="T34" fmla="*/ 108 w 184"/>
                  <a:gd name="T35" fmla="*/ 98 h 238"/>
                  <a:gd name="T36" fmla="*/ 102 w 184"/>
                  <a:gd name="T37" fmla="*/ 108 h 238"/>
                  <a:gd name="T38" fmla="*/ 100 w 184"/>
                  <a:gd name="T39" fmla="*/ 120 h 238"/>
                  <a:gd name="T40" fmla="*/ 98 w 184"/>
                  <a:gd name="T41" fmla="*/ 148 h 238"/>
                  <a:gd name="T42" fmla="*/ 92 w 184"/>
                  <a:gd name="T43" fmla="*/ 238 h 238"/>
                  <a:gd name="T44" fmla="*/ 0 w 184"/>
                  <a:gd name="T45" fmla="*/ 238 h 238"/>
                  <a:gd name="T46" fmla="*/ 12 w 184"/>
                  <a:gd name="T47" fmla="*/ 62 h 238"/>
                  <a:gd name="T48" fmla="*/ 12 w 184"/>
                  <a:gd name="T49" fmla="*/ 62 h 238"/>
                  <a:gd name="T50" fmla="*/ 14 w 184"/>
                  <a:gd name="T51" fmla="*/ 32 h 238"/>
                  <a:gd name="T52" fmla="*/ 14 w 184"/>
                  <a:gd name="T53" fmla="*/ 0 h 238"/>
                  <a:gd name="T54" fmla="*/ 102 w 184"/>
                  <a:gd name="T55" fmla="*/ 0 h 238"/>
                  <a:gd name="T56" fmla="*/ 104 w 184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4" h="238">
                    <a:moveTo>
                      <a:pt x="104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4" y="24"/>
                    </a:lnTo>
                    <a:lnTo>
                      <a:pt x="124" y="16"/>
                    </a:lnTo>
                    <a:lnTo>
                      <a:pt x="132" y="10"/>
                    </a:lnTo>
                    <a:lnTo>
                      <a:pt x="142" y="6"/>
                    </a:lnTo>
                    <a:lnTo>
                      <a:pt x="152" y="4"/>
                    </a:lnTo>
                    <a:lnTo>
                      <a:pt x="162" y="2"/>
                    </a:lnTo>
                    <a:lnTo>
                      <a:pt x="184" y="0"/>
                    </a:lnTo>
                    <a:lnTo>
                      <a:pt x="178" y="76"/>
                    </a:lnTo>
                    <a:lnTo>
                      <a:pt x="178" y="76"/>
                    </a:lnTo>
                    <a:lnTo>
                      <a:pt x="160" y="76"/>
                    </a:lnTo>
                    <a:lnTo>
                      <a:pt x="160" y="76"/>
                    </a:lnTo>
                    <a:lnTo>
                      <a:pt x="140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2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4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13"/>
              <p:cNvSpPr>
                <a:spLocks/>
              </p:cNvSpPr>
              <p:nvPr/>
            </p:nvSpPr>
            <p:spPr bwMode="auto">
              <a:xfrm>
                <a:off x="3889375" y="352425"/>
                <a:ext cx="174625" cy="542925"/>
              </a:xfrm>
              <a:custGeom>
                <a:avLst/>
                <a:gdLst>
                  <a:gd name="T0" fmla="*/ 0 w 110"/>
                  <a:gd name="T1" fmla="*/ 342 h 342"/>
                  <a:gd name="T2" fmla="*/ 24 w 110"/>
                  <a:gd name="T3" fmla="*/ 0 h 342"/>
                  <a:gd name="T4" fmla="*/ 110 w 110"/>
                  <a:gd name="T5" fmla="*/ 0 h 342"/>
                  <a:gd name="T6" fmla="*/ 86 w 110"/>
                  <a:gd name="T7" fmla="*/ 342 h 342"/>
                  <a:gd name="T8" fmla="*/ 0 w 110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0" y="0"/>
                    </a:lnTo>
                    <a:lnTo>
                      <a:pt x="86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14"/>
              <p:cNvSpPr>
                <a:spLocks noEditPoints="1"/>
              </p:cNvSpPr>
              <p:nvPr/>
            </p:nvSpPr>
            <p:spPr bwMode="auto">
              <a:xfrm>
                <a:off x="2740025" y="352425"/>
                <a:ext cx="438150" cy="546100"/>
              </a:xfrm>
              <a:custGeom>
                <a:avLst/>
                <a:gdLst>
                  <a:gd name="T0" fmla="*/ 112 w 276"/>
                  <a:gd name="T1" fmla="*/ 0 h 344"/>
                  <a:gd name="T2" fmla="*/ 104 w 276"/>
                  <a:gd name="T3" fmla="*/ 136 h 344"/>
                  <a:gd name="T4" fmla="*/ 120 w 276"/>
                  <a:gd name="T5" fmla="*/ 122 h 344"/>
                  <a:gd name="T6" fmla="*/ 146 w 276"/>
                  <a:gd name="T7" fmla="*/ 104 h 344"/>
                  <a:gd name="T8" fmla="*/ 168 w 276"/>
                  <a:gd name="T9" fmla="*/ 98 h 344"/>
                  <a:gd name="T10" fmla="*/ 180 w 276"/>
                  <a:gd name="T11" fmla="*/ 98 h 344"/>
                  <a:gd name="T12" fmla="*/ 206 w 276"/>
                  <a:gd name="T13" fmla="*/ 100 h 344"/>
                  <a:gd name="T14" fmla="*/ 226 w 276"/>
                  <a:gd name="T15" fmla="*/ 108 h 344"/>
                  <a:gd name="T16" fmla="*/ 244 w 276"/>
                  <a:gd name="T17" fmla="*/ 120 h 344"/>
                  <a:gd name="T18" fmla="*/ 258 w 276"/>
                  <a:gd name="T19" fmla="*/ 136 h 344"/>
                  <a:gd name="T20" fmla="*/ 274 w 276"/>
                  <a:gd name="T21" fmla="*/ 176 h 344"/>
                  <a:gd name="T22" fmla="*/ 276 w 276"/>
                  <a:gd name="T23" fmla="*/ 220 h 344"/>
                  <a:gd name="T24" fmla="*/ 274 w 276"/>
                  <a:gd name="T25" fmla="*/ 242 h 344"/>
                  <a:gd name="T26" fmla="*/ 260 w 276"/>
                  <a:gd name="T27" fmla="*/ 284 h 344"/>
                  <a:gd name="T28" fmla="*/ 240 w 276"/>
                  <a:gd name="T29" fmla="*/ 312 h 344"/>
                  <a:gd name="T30" fmla="*/ 222 w 276"/>
                  <a:gd name="T31" fmla="*/ 328 h 344"/>
                  <a:gd name="T32" fmla="*/ 202 w 276"/>
                  <a:gd name="T33" fmla="*/ 338 h 344"/>
                  <a:gd name="T34" fmla="*/ 176 w 276"/>
                  <a:gd name="T35" fmla="*/ 344 h 344"/>
                  <a:gd name="T36" fmla="*/ 160 w 276"/>
                  <a:gd name="T37" fmla="*/ 344 h 344"/>
                  <a:gd name="T38" fmla="*/ 140 w 276"/>
                  <a:gd name="T39" fmla="*/ 342 h 344"/>
                  <a:gd name="T40" fmla="*/ 106 w 276"/>
                  <a:gd name="T41" fmla="*/ 324 h 344"/>
                  <a:gd name="T42" fmla="*/ 92 w 276"/>
                  <a:gd name="T43" fmla="*/ 312 h 344"/>
                  <a:gd name="T44" fmla="*/ 0 w 276"/>
                  <a:gd name="T45" fmla="*/ 342 h 344"/>
                  <a:gd name="T46" fmla="*/ 94 w 276"/>
                  <a:gd name="T47" fmla="*/ 226 h 344"/>
                  <a:gd name="T48" fmla="*/ 96 w 276"/>
                  <a:gd name="T49" fmla="*/ 250 h 344"/>
                  <a:gd name="T50" fmla="*/ 102 w 276"/>
                  <a:gd name="T51" fmla="*/ 272 h 344"/>
                  <a:gd name="T52" fmla="*/ 114 w 276"/>
                  <a:gd name="T53" fmla="*/ 288 h 344"/>
                  <a:gd name="T54" fmla="*/ 134 w 276"/>
                  <a:gd name="T55" fmla="*/ 296 h 344"/>
                  <a:gd name="T56" fmla="*/ 148 w 276"/>
                  <a:gd name="T57" fmla="*/ 294 h 344"/>
                  <a:gd name="T58" fmla="*/ 168 w 276"/>
                  <a:gd name="T59" fmla="*/ 282 h 344"/>
                  <a:gd name="T60" fmla="*/ 180 w 276"/>
                  <a:gd name="T61" fmla="*/ 260 h 344"/>
                  <a:gd name="T62" fmla="*/ 186 w 276"/>
                  <a:gd name="T63" fmla="*/ 222 h 344"/>
                  <a:gd name="T64" fmla="*/ 186 w 276"/>
                  <a:gd name="T65" fmla="*/ 198 h 344"/>
                  <a:gd name="T66" fmla="*/ 180 w 276"/>
                  <a:gd name="T67" fmla="*/ 174 h 344"/>
                  <a:gd name="T68" fmla="*/ 168 w 276"/>
                  <a:gd name="T69" fmla="*/ 156 h 344"/>
                  <a:gd name="T70" fmla="*/ 146 w 276"/>
                  <a:gd name="T71" fmla="*/ 150 h 344"/>
                  <a:gd name="T72" fmla="*/ 132 w 276"/>
                  <a:gd name="T73" fmla="*/ 152 h 344"/>
                  <a:gd name="T74" fmla="*/ 112 w 276"/>
                  <a:gd name="T75" fmla="*/ 166 h 344"/>
                  <a:gd name="T76" fmla="*/ 100 w 276"/>
                  <a:gd name="T77" fmla="*/ 188 h 344"/>
                  <a:gd name="T78" fmla="*/ 94 w 276"/>
                  <a:gd name="T79" fmla="*/ 226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6" h="344">
                    <a:moveTo>
                      <a:pt x="24" y="0"/>
                    </a:moveTo>
                    <a:lnTo>
                      <a:pt x="112" y="0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20" y="122"/>
                    </a:lnTo>
                    <a:lnTo>
                      <a:pt x="138" y="108"/>
                    </a:lnTo>
                    <a:lnTo>
                      <a:pt x="146" y="104"/>
                    </a:lnTo>
                    <a:lnTo>
                      <a:pt x="158" y="100"/>
                    </a:lnTo>
                    <a:lnTo>
                      <a:pt x="168" y="98"/>
                    </a:lnTo>
                    <a:lnTo>
                      <a:pt x="180" y="98"/>
                    </a:lnTo>
                    <a:lnTo>
                      <a:pt x="180" y="98"/>
                    </a:lnTo>
                    <a:lnTo>
                      <a:pt x="194" y="98"/>
                    </a:lnTo>
                    <a:lnTo>
                      <a:pt x="206" y="100"/>
                    </a:lnTo>
                    <a:lnTo>
                      <a:pt x="216" y="104"/>
                    </a:lnTo>
                    <a:lnTo>
                      <a:pt x="226" y="108"/>
                    </a:lnTo>
                    <a:lnTo>
                      <a:pt x="236" y="114"/>
                    </a:lnTo>
                    <a:lnTo>
                      <a:pt x="244" y="120"/>
                    </a:lnTo>
                    <a:lnTo>
                      <a:pt x="250" y="128"/>
                    </a:lnTo>
                    <a:lnTo>
                      <a:pt x="258" y="136"/>
                    </a:lnTo>
                    <a:lnTo>
                      <a:pt x="266" y="156"/>
                    </a:lnTo>
                    <a:lnTo>
                      <a:pt x="274" y="176"/>
                    </a:lnTo>
                    <a:lnTo>
                      <a:pt x="276" y="198"/>
                    </a:lnTo>
                    <a:lnTo>
                      <a:pt x="276" y="220"/>
                    </a:lnTo>
                    <a:lnTo>
                      <a:pt x="276" y="220"/>
                    </a:lnTo>
                    <a:lnTo>
                      <a:pt x="274" y="242"/>
                    </a:lnTo>
                    <a:lnTo>
                      <a:pt x="268" y="264"/>
                    </a:lnTo>
                    <a:lnTo>
                      <a:pt x="260" y="284"/>
                    </a:lnTo>
                    <a:lnTo>
                      <a:pt x="248" y="304"/>
                    </a:lnTo>
                    <a:lnTo>
                      <a:pt x="240" y="312"/>
                    </a:lnTo>
                    <a:lnTo>
                      <a:pt x="232" y="320"/>
                    </a:lnTo>
                    <a:lnTo>
                      <a:pt x="222" y="328"/>
                    </a:lnTo>
                    <a:lnTo>
                      <a:pt x="212" y="334"/>
                    </a:lnTo>
                    <a:lnTo>
                      <a:pt x="202" y="338"/>
                    </a:lnTo>
                    <a:lnTo>
                      <a:pt x="188" y="342"/>
                    </a:lnTo>
                    <a:lnTo>
                      <a:pt x="176" y="344"/>
                    </a:lnTo>
                    <a:lnTo>
                      <a:pt x="160" y="344"/>
                    </a:lnTo>
                    <a:lnTo>
                      <a:pt x="160" y="344"/>
                    </a:lnTo>
                    <a:lnTo>
                      <a:pt x="150" y="344"/>
                    </a:lnTo>
                    <a:lnTo>
                      <a:pt x="140" y="342"/>
                    </a:lnTo>
                    <a:lnTo>
                      <a:pt x="122" y="336"/>
                    </a:lnTo>
                    <a:lnTo>
                      <a:pt x="106" y="324"/>
                    </a:lnTo>
                    <a:lnTo>
                      <a:pt x="94" y="312"/>
                    </a:lnTo>
                    <a:lnTo>
                      <a:pt x="92" y="312"/>
                    </a:lnTo>
                    <a:lnTo>
                      <a:pt x="88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  <a:moveTo>
                      <a:pt x="94" y="226"/>
                    </a:moveTo>
                    <a:lnTo>
                      <a:pt x="94" y="226"/>
                    </a:lnTo>
                    <a:lnTo>
                      <a:pt x="96" y="250"/>
                    </a:lnTo>
                    <a:lnTo>
                      <a:pt x="98" y="260"/>
                    </a:lnTo>
                    <a:lnTo>
                      <a:pt x="102" y="272"/>
                    </a:lnTo>
                    <a:lnTo>
                      <a:pt x="106" y="282"/>
                    </a:lnTo>
                    <a:lnTo>
                      <a:pt x="114" y="288"/>
                    </a:lnTo>
                    <a:lnTo>
                      <a:pt x="122" y="294"/>
                    </a:lnTo>
                    <a:lnTo>
                      <a:pt x="134" y="296"/>
                    </a:lnTo>
                    <a:lnTo>
                      <a:pt x="134" y="296"/>
                    </a:lnTo>
                    <a:lnTo>
                      <a:pt x="148" y="294"/>
                    </a:lnTo>
                    <a:lnTo>
                      <a:pt x="158" y="288"/>
                    </a:lnTo>
                    <a:lnTo>
                      <a:pt x="168" y="282"/>
                    </a:lnTo>
                    <a:lnTo>
                      <a:pt x="174" y="272"/>
                    </a:lnTo>
                    <a:lnTo>
                      <a:pt x="180" y="260"/>
                    </a:lnTo>
                    <a:lnTo>
                      <a:pt x="184" y="248"/>
                    </a:lnTo>
                    <a:lnTo>
                      <a:pt x="186" y="222"/>
                    </a:lnTo>
                    <a:lnTo>
                      <a:pt x="186" y="222"/>
                    </a:lnTo>
                    <a:lnTo>
                      <a:pt x="186" y="198"/>
                    </a:lnTo>
                    <a:lnTo>
                      <a:pt x="184" y="186"/>
                    </a:lnTo>
                    <a:lnTo>
                      <a:pt x="180" y="174"/>
                    </a:lnTo>
                    <a:lnTo>
                      <a:pt x="176" y="164"/>
                    </a:lnTo>
                    <a:lnTo>
                      <a:pt x="168" y="156"/>
                    </a:lnTo>
                    <a:lnTo>
                      <a:pt x="158" y="152"/>
                    </a:lnTo>
                    <a:lnTo>
                      <a:pt x="146" y="150"/>
                    </a:lnTo>
                    <a:lnTo>
                      <a:pt x="146" y="150"/>
                    </a:lnTo>
                    <a:lnTo>
                      <a:pt x="132" y="152"/>
                    </a:lnTo>
                    <a:lnTo>
                      <a:pt x="120" y="156"/>
                    </a:lnTo>
                    <a:lnTo>
                      <a:pt x="112" y="166"/>
                    </a:lnTo>
                    <a:lnTo>
                      <a:pt x="104" y="176"/>
                    </a:lnTo>
                    <a:lnTo>
                      <a:pt x="100" y="188"/>
                    </a:lnTo>
                    <a:lnTo>
                      <a:pt x="98" y="200"/>
                    </a:lnTo>
                    <a:lnTo>
                      <a:pt x="94" y="226"/>
                    </a:lnTo>
                    <a:lnTo>
                      <a:pt x="94" y="2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15"/>
              <p:cNvSpPr>
                <a:spLocks noEditPoints="1"/>
              </p:cNvSpPr>
              <p:nvPr/>
            </p:nvSpPr>
            <p:spPr bwMode="auto">
              <a:xfrm>
                <a:off x="3197225" y="504825"/>
                <a:ext cx="406400" cy="396875"/>
              </a:xfrm>
              <a:custGeom>
                <a:avLst/>
                <a:gdLst>
                  <a:gd name="T0" fmla="*/ 86 w 256"/>
                  <a:gd name="T1" fmla="*/ 142 h 250"/>
                  <a:gd name="T2" fmla="*/ 86 w 256"/>
                  <a:gd name="T3" fmla="*/ 166 h 250"/>
                  <a:gd name="T4" fmla="*/ 90 w 256"/>
                  <a:gd name="T5" fmla="*/ 184 h 250"/>
                  <a:gd name="T6" fmla="*/ 102 w 256"/>
                  <a:gd name="T7" fmla="*/ 196 h 250"/>
                  <a:gd name="T8" fmla="*/ 124 w 256"/>
                  <a:gd name="T9" fmla="*/ 202 h 250"/>
                  <a:gd name="T10" fmla="*/ 132 w 256"/>
                  <a:gd name="T11" fmla="*/ 200 h 250"/>
                  <a:gd name="T12" fmla="*/ 148 w 256"/>
                  <a:gd name="T13" fmla="*/ 196 h 250"/>
                  <a:gd name="T14" fmla="*/ 158 w 256"/>
                  <a:gd name="T15" fmla="*/ 186 h 250"/>
                  <a:gd name="T16" fmla="*/ 164 w 256"/>
                  <a:gd name="T17" fmla="*/ 174 h 250"/>
                  <a:gd name="T18" fmla="*/ 248 w 256"/>
                  <a:gd name="T19" fmla="*/ 170 h 250"/>
                  <a:gd name="T20" fmla="*/ 246 w 256"/>
                  <a:gd name="T21" fmla="*/ 180 h 250"/>
                  <a:gd name="T22" fmla="*/ 238 w 256"/>
                  <a:gd name="T23" fmla="*/ 198 h 250"/>
                  <a:gd name="T24" fmla="*/ 218 w 256"/>
                  <a:gd name="T25" fmla="*/ 222 h 250"/>
                  <a:gd name="T26" fmla="*/ 202 w 256"/>
                  <a:gd name="T27" fmla="*/ 234 h 250"/>
                  <a:gd name="T28" fmla="*/ 168 w 256"/>
                  <a:gd name="T29" fmla="*/ 246 h 250"/>
                  <a:gd name="T30" fmla="*/ 128 w 256"/>
                  <a:gd name="T31" fmla="*/ 250 h 250"/>
                  <a:gd name="T32" fmla="*/ 96 w 256"/>
                  <a:gd name="T33" fmla="*/ 248 h 250"/>
                  <a:gd name="T34" fmla="*/ 66 w 256"/>
                  <a:gd name="T35" fmla="*/ 242 h 250"/>
                  <a:gd name="T36" fmla="*/ 44 w 256"/>
                  <a:gd name="T37" fmla="*/ 232 h 250"/>
                  <a:gd name="T38" fmla="*/ 26 w 256"/>
                  <a:gd name="T39" fmla="*/ 218 h 250"/>
                  <a:gd name="T40" fmla="*/ 12 w 256"/>
                  <a:gd name="T41" fmla="*/ 200 h 250"/>
                  <a:gd name="T42" fmla="*/ 4 w 256"/>
                  <a:gd name="T43" fmla="*/ 178 h 250"/>
                  <a:gd name="T44" fmla="*/ 0 w 256"/>
                  <a:gd name="T45" fmla="*/ 150 h 250"/>
                  <a:gd name="T46" fmla="*/ 0 w 256"/>
                  <a:gd name="T47" fmla="*/ 118 h 250"/>
                  <a:gd name="T48" fmla="*/ 4 w 256"/>
                  <a:gd name="T49" fmla="*/ 92 h 250"/>
                  <a:gd name="T50" fmla="*/ 14 w 256"/>
                  <a:gd name="T51" fmla="*/ 68 h 250"/>
                  <a:gd name="T52" fmla="*/ 26 w 256"/>
                  <a:gd name="T53" fmla="*/ 48 h 250"/>
                  <a:gd name="T54" fmla="*/ 44 w 256"/>
                  <a:gd name="T55" fmla="*/ 32 h 250"/>
                  <a:gd name="T56" fmla="*/ 86 w 256"/>
                  <a:gd name="T57" fmla="*/ 8 h 250"/>
                  <a:gd name="T58" fmla="*/ 138 w 256"/>
                  <a:gd name="T59" fmla="*/ 0 h 250"/>
                  <a:gd name="T60" fmla="*/ 154 w 256"/>
                  <a:gd name="T61" fmla="*/ 2 h 250"/>
                  <a:gd name="T62" fmla="*/ 184 w 256"/>
                  <a:gd name="T63" fmla="*/ 6 h 250"/>
                  <a:gd name="T64" fmla="*/ 208 w 256"/>
                  <a:gd name="T65" fmla="*/ 18 h 250"/>
                  <a:gd name="T66" fmla="*/ 228 w 256"/>
                  <a:gd name="T67" fmla="*/ 32 h 250"/>
                  <a:gd name="T68" fmla="*/ 242 w 256"/>
                  <a:gd name="T69" fmla="*/ 50 h 250"/>
                  <a:gd name="T70" fmla="*/ 250 w 256"/>
                  <a:gd name="T71" fmla="*/ 72 h 250"/>
                  <a:gd name="T72" fmla="*/ 256 w 256"/>
                  <a:gd name="T73" fmla="*/ 112 h 250"/>
                  <a:gd name="T74" fmla="*/ 86 w 256"/>
                  <a:gd name="T75" fmla="*/ 142 h 250"/>
                  <a:gd name="T76" fmla="*/ 172 w 256"/>
                  <a:gd name="T77" fmla="*/ 98 h 250"/>
                  <a:gd name="T78" fmla="*/ 170 w 256"/>
                  <a:gd name="T79" fmla="*/ 78 h 250"/>
                  <a:gd name="T80" fmla="*/ 164 w 256"/>
                  <a:gd name="T81" fmla="*/ 62 h 250"/>
                  <a:gd name="T82" fmla="*/ 158 w 256"/>
                  <a:gd name="T83" fmla="*/ 56 h 250"/>
                  <a:gd name="T84" fmla="*/ 142 w 256"/>
                  <a:gd name="T85" fmla="*/ 48 h 250"/>
                  <a:gd name="T86" fmla="*/ 134 w 256"/>
                  <a:gd name="T87" fmla="*/ 46 h 250"/>
                  <a:gd name="T88" fmla="*/ 114 w 256"/>
                  <a:gd name="T89" fmla="*/ 52 h 250"/>
                  <a:gd name="T90" fmla="*/ 102 w 256"/>
                  <a:gd name="T91" fmla="*/ 62 h 250"/>
                  <a:gd name="T92" fmla="*/ 94 w 256"/>
                  <a:gd name="T93" fmla="*/ 78 h 250"/>
                  <a:gd name="T94" fmla="*/ 172 w 256"/>
                  <a:gd name="T95" fmla="*/ 98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6" h="250">
                    <a:moveTo>
                      <a:pt x="86" y="142"/>
                    </a:moveTo>
                    <a:lnTo>
                      <a:pt x="86" y="142"/>
                    </a:lnTo>
                    <a:lnTo>
                      <a:pt x="84" y="154"/>
                    </a:lnTo>
                    <a:lnTo>
                      <a:pt x="86" y="166"/>
                    </a:lnTo>
                    <a:lnTo>
                      <a:pt x="88" y="176"/>
                    </a:lnTo>
                    <a:lnTo>
                      <a:pt x="90" y="184"/>
                    </a:lnTo>
                    <a:lnTo>
                      <a:pt x="96" y="192"/>
                    </a:lnTo>
                    <a:lnTo>
                      <a:pt x="102" y="196"/>
                    </a:lnTo>
                    <a:lnTo>
                      <a:pt x="112" y="200"/>
                    </a:lnTo>
                    <a:lnTo>
                      <a:pt x="124" y="202"/>
                    </a:lnTo>
                    <a:lnTo>
                      <a:pt x="124" y="202"/>
                    </a:lnTo>
                    <a:lnTo>
                      <a:pt x="132" y="200"/>
                    </a:lnTo>
                    <a:lnTo>
                      <a:pt x="140" y="198"/>
                    </a:lnTo>
                    <a:lnTo>
                      <a:pt x="148" y="196"/>
                    </a:lnTo>
                    <a:lnTo>
                      <a:pt x="154" y="192"/>
                    </a:lnTo>
                    <a:lnTo>
                      <a:pt x="158" y="186"/>
                    </a:lnTo>
                    <a:lnTo>
                      <a:pt x="162" y="180"/>
                    </a:lnTo>
                    <a:lnTo>
                      <a:pt x="164" y="174"/>
                    </a:lnTo>
                    <a:lnTo>
                      <a:pt x="164" y="170"/>
                    </a:lnTo>
                    <a:lnTo>
                      <a:pt x="248" y="170"/>
                    </a:lnTo>
                    <a:lnTo>
                      <a:pt x="248" y="170"/>
                    </a:lnTo>
                    <a:lnTo>
                      <a:pt x="246" y="180"/>
                    </a:lnTo>
                    <a:lnTo>
                      <a:pt x="242" y="190"/>
                    </a:lnTo>
                    <a:lnTo>
                      <a:pt x="238" y="198"/>
                    </a:lnTo>
                    <a:lnTo>
                      <a:pt x="232" y="208"/>
                    </a:lnTo>
                    <a:lnTo>
                      <a:pt x="218" y="222"/>
                    </a:lnTo>
                    <a:lnTo>
                      <a:pt x="202" y="234"/>
                    </a:lnTo>
                    <a:lnTo>
                      <a:pt x="202" y="234"/>
                    </a:lnTo>
                    <a:lnTo>
                      <a:pt x="186" y="242"/>
                    </a:lnTo>
                    <a:lnTo>
                      <a:pt x="168" y="246"/>
                    </a:lnTo>
                    <a:lnTo>
                      <a:pt x="148" y="248"/>
                    </a:lnTo>
                    <a:lnTo>
                      <a:pt x="128" y="250"/>
                    </a:lnTo>
                    <a:lnTo>
                      <a:pt x="128" y="250"/>
                    </a:lnTo>
                    <a:lnTo>
                      <a:pt x="96" y="248"/>
                    </a:lnTo>
                    <a:lnTo>
                      <a:pt x="80" y="244"/>
                    </a:lnTo>
                    <a:lnTo>
                      <a:pt x="66" y="242"/>
                    </a:lnTo>
                    <a:lnTo>
                      <a:pt x="54" y="238"/>
                    </a:lnTo>
                    <a:lnTo>
                      <a:pt x="44" y="232"/>
                    </a:lnTo>
                    <a:lnTo>
                      <a:pt x="34" y="226"/>
                    </a:lnTo>
                    <a:lnTo>
                      <a:pt x="26" y="218"/>
                    </a:lnTo>
                    <a:lnTo>
                      <a:pt x="18" y="210"/>
                    </a:lnTo>
                    <a:lnTo>
                      <a:pt x="12" y="200"/>
                    </a:lnTo>
                    <a:lnTo>
                      <a:pt x="8" y="190"/>
                    </a:lnTo>
                    <a:lnTo>
                      <a:pt x="4" y="178"/>
                    </a:lnTo>
                    <a:lnTo>
                      <a:pt x="2" y="164"/>
                    </a:lnTo>
                    <a:lnTo>
                      <a:pt x="0" y="150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2" y="106"/>
                    </a:lnTo>
                    <a:lnTo>
                      <a:pt x="4" y="92"/>
                    </a:lnTo>
                    <a:lnTo>
                      <a:pt x="8" y="80"/>
                    </a:lnTo>
                    <a:lnTo>
                      <a:pt x="14" y="68"/>
                    </a:lnTo>
                    <a:lnTo>
                      <a:pt x="20" y="58"/>
                    </a:lnTo>
                    <a:lnTo>
                      <a:pt x="26" y="48"/>
                    </a:lnTo>
                    <a:lnTo>
                      <a:pt x="34" y="40"/>
                    </a:lnTo>
                    <a:lnTo>
                      <a:pt x="44" y="32"/>
                    </a:lnTo>
                    <a:lnTo>
                      <a:pt x="64" y="18"/>
                    </a:lnTo>
                    <a:lnTo>
                      <a:pt x="86" y="8"/>
                    </a:lnTo>
                    <a:lnTo>
                      <a:pt x="110" y="2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4" y="2"/>
                    </a:lnTo>
                    <a:lnTo>
                      <a:pt x="170" y="4"/>
                    </a:lnTo>
                    <a:lnTo>
                      <a:pt x="184" y="6"/>
                    </a:lnTo>
                    <a:lnTo>
                      <a:pt x="196" y="12"/>
                    </a:lnTo>
                    <a:lnTo>
                      <a:pt x="208" y="18"/>
                    </a:lnTo>
                    <a:lnTo>
                      <a:pt x="218" y="24"/>
                    </a:lnTo>
                    <a:lnTo>
                      <a:pt x="228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46" y="60"/>
                    </a:lnTo>
                    <a:lnTo>
                      <a:pt x="250" y="72"/>
                    </a:lnTo>
                    <a:lnTo>
                      <a:pt x="254" y="84"/>
                    </a:lnTo>
                    <a:lnTo>
                      <a:pt x="256" y="112"/>
                    </a:lnTo>
                    <a:lnTo>
                      <a:pt x="254" y="142"/>
                    </a:lnTo>
                    <a:lnTo>
                      <a:pt x="86" y="142"/>
                    </a:lnTo>
                    <a:close/>
                    <a:moveTo>
                      <a:pt x="172" y="98"/>
                    </a:moveTo>
                    <a:lnTo>
                      <a:pt x="172" y="98"/>
                    </a:lnTo>
                    <a:lnTo>
                      <a:pt x="172" y="88"/>
                    </a:lnTo>
                    <a:lnTo>
                      <a:pt x="170" y="78"/>
                    </a:lnTo>
                    <a:lnTo>
                      <a:pt x="168" y="70"/>
                    </a:lnTo>
                    <a:lnTo>
                      <a:pt x="164" y="62"/>
                    </a:lnTo>
                    <a:lnTo>
                      <a:pt x="164" y="62"/>
                    </a:lnTo>
                    <a:lnTo>
                      <a:pt x="158" y="56"/>
                    </a:lnTo>
                    <a:lnTo>
                      <a:pt x="150" y="50"/>
                    </a:lnTo>
                    <a:lnTo>
                      <a:pt x="142" y="48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22" y="48"/>
                    </a:lnTo>
                    <a:lnTo>
                      <a:pt x="114" y="52"/>
                    </a:lnTo>
                    <a:lnTo>
                      <a:pt x="106" y="56"/>
                    </a:lnTo>
                    <a:lnTo>
                      <a:pt x="102" y="62"/>
                    </a:lnTo>
                    <a:lnTo>
                      <a:pt x="96" y="70"/>
                    </a:lnTo>
                    <a:lnTo>
                      <a:pt x="94" y="78"/>
                    </a:lnTo>
                    <a:lnTo>
                      <a:pt x="90" y="98"/>
                    </a:lnTo>
                    <a:lnTo>
                      <a:pt x="172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16"/>
              <p:cNvSpPr>
                <a:spLocks/>
              </p:cNvSpPr>
              <p:nvPr/>
            </p:nvSpPr>
            <p:spPr bwMode="auto">
              <a:xfrm>
                <a:off x="1314450" y="352425"/>
                <a:ext cx="196850" cy="542925"/>
              </a:xfrm>
              <a:custGeom>
                <a:avLst/>
                <a:gdLst>
                  <a:gd name="T0" fmla="*/ 24 w 124"/>
                  <a:gd name="T1" fmla="*/ 0 h 342"/>
                  <a:gd name="T2" fmla="*/ 124 w 124"/>
                  <a:gd name="T3" fmla="*/ 0 h 342"/>
                  <a:gd name="T4" fmla="*/ 100 w 124"/>
                  <a:gd name="T5" fmla="*/ 342 h 342"/>
                  <a:gd name="T6" fmla="*/ 0 w 124"/>
                  <a:gd name="T7" fmla="*/ 342 h 342"/>
                  <a:gd name="T8" fmla="*/ 24 w 124"/>
                  <a:gd name="T9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342">
                    <a:moveTo>
                      <a:pt x="24" y="0"/>
                    </a:moveTo>
                    <a:lnTo>
                      <a:pt x="124" y="0"/>
                    </a:lnTo>
                    <a:lnTo>
                      <a:pt x="100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17"/>
              <p:cNvSpPr>
                <a:spLocks/>
              </p:cNvSpPr>
              <p:nvPr/>
            </p:nvSpPr>
            <p:spPr bwMode="auto">
              <a:xfrm>
                <a:off x="1498600" y="352425"/>
                <a:ext cx="368300" cy="542925"/>
              </a:xfrm>
              <a:custGeom>
                <a:avLst/>
                <a:gdLst>
                  <a:gd name="T0" fmla="*/ 120 w 232"/>
                  <a:gd name="T1" fmla="*/ 0 h 342"/>
                  <a:gd name="T2" fmla="*/ 0 w 232"/>
                  <a:gd name="T3" fmla="*/ 152 h 342"/>
                  <a:gd name="T4" fmla="*/ 106 w 232"/>
                  <a:gd name="T5" fmla="*/ 342 h 342"/>
                  <a:gd name="T6" fmla="*/ 226 w 232"/>
                  <a:gd name="T7" fmla="*/ 342 h 342"/>
                  <a:gd name="T8" fmla="*/ 106 w 232"/>
                  <a:gd name="T9" fmla="*/ 148 h 342"/>
                  <a:gd name="T10" fmla="*/ 232 w 232"/>
                  <a:gd name="T11" fmla="*/ 0 h 342"/>
                  <a:gd name="T12" fmla="*/ 120 w 232"/>
                  <a:gd name="T13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2" h="342">
                    <a:moveTo>
                      <a:pt x="120" y="0"/>
                    </a:moveTo>
                    <a:lnTo>
                      <a:pt x="0" y="152"/>
                    </a:lnTo>
                    <a:lnTo>
                      <a:pt x="106" y="342"/>
                    </a:lnTo>
                    <a:lnTo>
                      <a:pt x="226" y="342"/>
                    </a:lnTo>
                    <a:lnTo>
                      <a:pt x="106" y="148"/>
                    </a:lnTo>
                    <a:lnTo>
                      <a:pt x="232" y="0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18"/>
              <p:cNvSpPr>
                <a:spLocks/>
              </p:cNvSpPr>
              <p:nvPr/>
            </p:nvSpPr>
            <p:spPr bwMode="auto">
              <a:xfrm>
                <a:off x="1876425" y="517525"/>
                <a:ext cx="158750" cy="377825"/>
              </a:xfrm>
              <a:custGeom>
                <a:avLst/>
                <a:gdLst>
                  <a:gd name="T0" fmla="*/ 16 w 100"/>
                  <a:gd name="T1" fmla="*/ 0 h 238"/>
                  <a:gd name="T2" fmla="*/ 100 w 100"/>
                  <a:gd name="T3" fmla="*/ 0 h 238"/>
                  <a:gd name="T4" fmla="*/ 84 w 100"/>
                  <a:gd name="T5" fmla="*/ 238 h 238"/>
                  <a:gd name="T6" fmla="*/ 0 w 100"/>
                  <a:gd name="T7" fmla="*/ 238 h 238"/>
                  <a:gd name="T8" fmla="*/ 16 w 100"/>
                  <a:gd name="T9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238">
                    <a:moveTo>
                      <a:pt x="16" y="0"/>
                    </a:moveTo>
                    <a:lnTo>
                      <a:pt x="100" y="0"/>
                    </a:lnTo>
                    <a:lnTo>
                      <a:pt x="84" y="238"/>
                    </a:lnTo>
                    <a:lnTo>
                      <a:pt x="0" y="238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19"/>
              <p:cNvSpPr>
                <a:spLocks/>
              </p:cNvSpPr>
              <p:nvPr/>
            </p:nvSpPr>
            <p:spPr bwMode="auto">
              <a:xfrm>
                <a:off x="2038350" y="504825"/>
                <a:ext cx="692150" cy="390525"/>
              </a:xfrm>
              <a:custGeom>
                <a:avLst/>
                <a:gdLst>
                  <a:gd name="T0" fmla="*/ 106 w 436"/>
                  <a:gd name="T1" fmla="*/ 40 h 246"/>
                  <a:gd name="T2" fmla="*/ 106 w 436"/>
                  <a:gd name="T3" fmla="*/ 40 h 246"/>
                  <a:gd name="T4" fmla="*/ 128 w 436"/>
                  <a:gd name="T5" fmla="*/ 20 h 246"/>
                  <a:gd name="T6" fmla="*/ 150 w 436"/>
                  <a:gd name="T7" fmla="*/ 8 h 246"/>
                  <a:gd name="T8" fmla="*/ 172 w 436"/>
                  <a:gd name="T9" fmla="*/ 2 h 246"/>
                  <a:gd name="T10" fmla="*/ 192 w 436"/>
                  <a:gd name="T11" fmla="*/ 2 h 246"/>
                  <a:gd name="T12" fmla="*/ 216 w 436"/>
                  <a:gd name="T13" fmla="*/ 6 h 246"/>
                  <a:gd name="T14" fmla="*/ 238 w 436"/>
                  <a:gd name="T15" fmla="*/ 14 h 246"/>
                  <a:gd name="T16" fmla="*/ 254 w 436"/>
                  <a:gd name="T17" fmla="*/ 28 h 246"/>
                  <a:gd name="T18" fmla="*/ 264 w 436"/>
                  <a:gd name="T19" fmla="*/ 44 h 246"/>
                  <a:gd name="T20" fmla="*/ 272 w 436"/>
                  <a:gd name="T21" fmla="*/ 34 h 246"/>
                  <a:gd name="T22" fmla="*/ 290 w 436"/>
                  <a:gd name="T23" fmla="*/ 18 h 246"/>
                  <a:gd name="T24" fmla="*/ 312 w 436"/>
                  <a:gd name="T25" fmla="*/ 8 h 246"/>
                  <a:gd name="T26" fmla="*/ 338 w 436"/>
                  <a:gd name="T27" fmla="*/ 2 h 246"/>
                  <a:gd name="T28" fmla="*/ 352 w 436"/>
                  <a:gd name="T29" fmla="*/ 0 h 246"/>
                  <a:gd name="T30" fmla="*/ 386 w 436"/>
                  <a:gd name="T31" fmla="*/ 6 h 246"/>
                  <a:gd name="T32" fmla="*/ 414 w 436"/>
                  <a:gd name="T33" fmla="*/ 24 h 246"/>
                  <a:gd name="T34" fmla="*/ 432 w 436"/>
                  <a:gd name="T35" fmla="*/ 50 h 246"/>
                  <a:gd name="T36" fmla="*/ 436 w 436"/>
                  <a:gd name="T37" fmla="*/ 86 h 246"/>
                  <a:gd name="T38" fmla="*/ 332 w 436"/>
                  <a:gd name="T39" fmla="*/ 246 h 246"/>
                  <a:gd name="T40" fmla="*/ 342 w 436"/>
                  <a:gd name="T41" fmla="*/ 106 h 246"/>
                  <a:gd name="T42" fmla="*/ 342 w 436"/>
                  <a:gd name="T43" fmla="*/ 80 h 246"/>
                  <a:gd name="T44" fmla="*/ 336 w 436"/>
                  <a:gd name="T45" fmla="*/ 66 h 246"/>
                  <a:gd name="T46" fmla="*/ 322 w 436"/>
                  <a:gd name="T47" fmla="*/ 58 h 246"/>
                  <a:gd name="T48" fmla="*/ 312 w 436"/>
                  <a:gd name="T49" fmla="*/ 58 h 246"/>
                  <a:gd name="T50" fmla="*/ 288 w 436"/>
                  <a:gd name="T51" fmla="*/ 66 h 246"/>
                  <a:gd name="T52" fmla="*/ 276 w 436"/>
                  <a:gd name="T53" fmla="*/ 82 h 246"/>
                  <a:gd name="T54" fmla="*/ 270 w 436"/>
                  <a:gd name="T55" fmla="*/ 100 h 246"/>
                  <a:gd name="T56" fmla="*/ 260 w 436"/>
                  <a:gd name="T57" fmla="*/ 246 h 246"/>
                  <a:gd name="T58" fmla="*/ 180 w 436"/>
                  <a:gd name="T59" fmla="*/ 106 h 246"/>
                  <a:gd name="T60" fmla="*/ 178 w 436"/>
                  <a:gd name="T61" fmla="*/ 88 h 246"/>
                  <a:gd name="T62" fmla="*/ 174 w 436"/>
                  <a:gd name="T63" fmla="*/ 72 h 246"/>
                  <a:gd name="T64" fmla="*/ 164 w 436"/>
                  <a:gd name="T65" fmla="*/ 62 h 246"/>
                  <a:gd name="T66" fmla="*/ 148 w 436"/>
                  <a:gd name="T67" fmla="*/ 58 h 246"/>
                  <a:gd name="T68" fmla="*/ 132 w 436"/>
                  <a:gd name="T69" fmla="*/ 60 h 246"/>
                  <a:gd name="T70" fmla="*/ 114 w 436"/>
                  <a:gd name="T71" fmla="*/ 72 h 246"/>
                  <a:gd name="T72" fmla="*/ 104 w 436"/>
                  <a:gd name="T73" fmla="*/ 92 h 246"/>
                  <a:gd name="T74" fmla="*/ 102 w 436"/>
                  <a:gd name="T75" fmla="*/ 110 h 246"/>
                  <a:gd name="T76" fmla="*/ 0 w 436"/>
                  <a:gd name="T77" fmla="*/ 246 h 246"/>
                  <a:gd name="T78" fmla="*/ 106 w 436"/>
                  <a:gd name="T79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36" h="246">
                    <a:moveTo>
                      <a:pt x="106" y="8"/>
                    </a:moveTo>
                    <a:lnTo>
                      <a:pt x="106" y="40"/>
                    </a:lnTo>
                    <a:lnTo>
                      <a:pt x="106" y="40"/>
                    </a:lnTo>
                    <a:lnTo>
                      <a:pt x="106" y="40"/>
                    </a:lnTo>
                    <a:lnTo>
                      <a:pt x="118" y="28"/>
                    </a:lnTo>
                    <a:lnTo>
                      <a:pt x="128" y="20"/>
                    </a:lnTo>
                    <a:lnTo>
                      <a:pt x="140" y="12"/>
                    </a:lnTo>
                    <a:lnTo>
                      <a:pt x="150" y="8"/>
                    </a:lnTo>
                    <a:lnTo>
                      <a:pt x="162" y="4"/>
                    </a:lnTo>
                    <a:lnTo>
                      <a:pt x="172" y="2"/>
                    </a:lnTo>
                    <a:lnTo>
                      <a:pt x="192" y="2"/>
                    </a:lnTo>
                    <a:lnTo>
                      <a:pt x="192" y="2"/>
                    </a:lnTo>
                    <a:lnTo>
                      <a:pt x="204" y="2"/>
                    </a:lnTo>
                    <a:lnTo>
                      <a:pt x="216" y="6"/>
                    </a:lnTo>
                    <a:lnTo>
                      <a:pt x="228" y="8"/>
                    </a:lnTo>
                    <a:lnTo>
                      <a:pt x="238" y="14"/>
                    </a:lnTo>
                    <a:lnTo>
                      <a:pt x="246" y="20"/>
                    </a:lnTo>
                    <a:lnTo>
                      <a:pt x="254" y="28"/>
                    </a:lnTo>
                    <a:lnTo>
                      <a:pt x="260" y="36"/>
                    </a:lnTo>
                    <a:lnTo>
                      <a:pt x="264" y="44"/>
                    </a:lnTo>
                    <a:lnTo>
                      <a:pt x="264" y="44"/>
                    </a:lnTo>
                    <a:lnTo>
                      <a:pt x="272" y="34"/>
                    </a:lnTo>
                    <a:lnTo>
                      <a:pt x="280" y="26"/>
                    </a:lnTo>
                    <a:lnTo>
                      <a:pt x="290" y="18"/>
                    </a:lnTo>
                    <a:lnTo>
                      <a:pt x="302" y="12"/>
                    </a:lnTo>
                    <a:lnTo>
                      <a:pt x="312" y="8"/>
                    </a:lnTo>
                    <a:lnTo>
                      <a:pt x="326" y="4"/>
                    </a:lnTo>
                    <a:lnTo>
                      <a:pt x="338" y="2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70" y="2"/>
                    </a:lnTo>
                    <a:lnTo>
                      <a:pt x="386" y="6"/>
                    </a:lnTo>
                    <a:lnTo>
                      <a:pt x="402" y="14"/>
                    </a:lnTo>
                    <a:lnTo>
                      <a:pt x="414" y="24"/>
                    </a:lnTo>
                    <a:lnTo>
                      <a:pt x="424" y="36"/>
                    </a:lnTo>
                    <a:lnTo>
                      <a:pt x="432" y="50"/>
                    </a:lnTo>
                    <a:lnTo>
                      <a:pt x="436" y="68"/>
                    </a:lnTo>
                    <a:lnTo>
                      <a:pt x="436" y="86"/>
                    </a:lnTo>
                    <a:lnTo>
                      <a:pt x="424" y="246"/>
                    </a:lnTo>
                    <a:lnTo>
                      <a:pt x="332" y="246"/>
                    </a:lnTo>
                    <a:lnTo>
                      <a:pt x="342" y="106"/>
                    </a:lnTo>
                    <a:lnTo>
                      <a:pt x="342" y="106"/>
                    </a:lnTo>
                    <a:lnTo>
                      <a:pt x="342" y="88"/>
                    </a:lnTo>
                    <a:lnTo>
                      <a:pt x="342" y="80"/>
                    </a:lnTo>
                    <a:lnTo>
                      <a:pt x="340" y="74"/>
                    </a:lnTo>
                    <a:lnTo>
                      <a:pt x="336" y="66"/>
                    </a:lnTo>
                    <a:lnTo>
                      <a:pt x="330" y="62"/>
                    </a:lnTo>
                    <a:lnTo>
                      <a:pt x="322" y="58"/>
                    </a:lnTo>
                    <a:lnTo>
                      <a:pt x="312" y="58"/>
                    </a:lnTo>
                    <a:lnTo>
                      <a:pt x="312" y="58"/>
                    </a:lnTo>
                    <a:lnTo>
                      <a:pt x="298" y="60"/>
                    </a:lnTo>
                    <a:lnTo>
                      <a:pt x="288" y="66"/>
                    </a:lnTo>
                    <a:lnTo>
                      <a:pt x="280" y="72"/>
                    </a:lnTo>
                    <a:lnTo>
                      <a:pt x="276" y="82"/>
                    </a:lnTo>
                    <a:lnTo>
                      <a:pt x="272" y="92"/>
                    </a:lnTo>
                    <a:lnTo>
                      <a:pt x="270" y="100"/>
                    </a:lnTo>
                    <a:lnTo>
                      <a:pt x="270" y="110"/>
                    </a:lnTo>
                    <a:lnTo>
                      <a:pt x="260" y="246"/>
                    </a:lnTo>
                    <a:lnTo>
                      <a:pt x="170" y="246"/>
                    </a:lnTo>
                    <a:lnTo>
                      <a:pt x="180" y="106"/>
                    </a:lnTo>
                    <a:lnTo>
                      <a:pt x="180" y="106"/>
                    </a:lnTo>
                    <a:lnTo>
                      <a:pt x="178" y="88"/>
                    </a:lnTo>
                    <a:lnTo>
                      <a:pt x="178" y="80"/>
                    </a:lnTo>
                    <a:lnTo>
                      <a:pt x="174" y="72"/>
                    </a:lnTo>
                    <a:lnTo>
                      <a:pt x="170" y="66"/>
                    </a:lnTo>
                    <a:lnTo>
                      <a:pt x="164" y="62"/>
                    </a:lnTo>
                    <a:lnTo>
                      <a:pt x="15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32" y="60"/>
                    </a:lnTo>
                    <a:lnTo>
                      <a:pt x="122" y="66"/>
                    </a:lnTo>
                    <a:lnTo>
                      <a:pt x="114" y="72"/>
                    </a:lnTo>
                    <a:lnTo>
                      <a:pt x="108" y="82"/>
                    </a:lnTo>
                    <a:lnTo>
                      <a:pt x="104" y="92"/>
                    </a:lnTo>
                    <a:lnTo>
                      <a:pt x="104" y="100"/>
                    </a:lnTo>
                    <a:lnTo>
                      <a:pt x="102" y="110"/>
                    </a:lnTo>
                    <a:lnTo>
                      <a:pt x="94" y="246"/>
                    </a:lnTo>
                    <a:lnTo>
                      <a:pt x="0" y="246"/>
                    </a:lnTo>
                    <a:lnTo>
                      <a:pt x="16" y="8"/>
                    </a:lnTo>
                    <a:lnTo>
                      <a:pt x="106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20"/>
              <p:cNvSpPr>
                <a:spLocks/>
              </p:cNvSpPr>
              <p:nvPr/>
            </p:nvSpPr>
            <p:spPr bwMode="auto">
              <a:xfrm>
                <a:off x="4064000" y="517525"/>
                <a:ext cx="454025" cy="558800"/>
              </a:xfrm>
              <a:custGeom>
                <a:avLst/>
                <a:gdLst>
                  <a:gd name="T0" fmla="*/ 116 w 286"/>
                  <a:gd name="T1" fmla="*/ 352 h 352"/>
                  <a:gd name="T2" fmla="*/ 34 w 286"/>
                  <a:gd name="T3" fmla="*/ 352 h 352"/>
                  <a:gd name="T4" fmla="*/ 86 w 286"/>
                  <a:gd name="T5" fmla="*/ 242 h 352"/>
                  <a:gd name="T6" fmla="*/ 0 w 286"/>
                  <a:gd name="T7" fmla="*/ 0 h 352"/>
                  <a:gd name="T8" fmla="*/ 100 w 286"/>
                  <a:gd name="T9" fmla="*/ 0 h 352"/>
                  <a:gd name="T10" fmla="*/ 140 w 286"/>
                  <a:gd name="T11" fmla="*/ 148 h 352"/>
                  <a:gd name="T12" fmla="*/ 202 w 286"/>
                  <a:gd name="T13" fmla="*/ 0 h 352"/>
                  <a:gd name="T14" fmla="*/ 286 w 286"/>
                  <a:gd name="T15" fmla="*/ 0 h 352"/>
                  <a:gd name="T16" fmla="*/ 116 w 286"/>
                  <a:gd name="T17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6" h="352">
                    <a:moveTo>
                      <a:pt x="116" y="352"/>
                    </a:moveTo>
                    <a:lnTo>
                      <a:pt x="34" y="352"/>
                    </a:lnTo>
                    <a:lnTo>
                      <a:pt x="86" y="242"/>
                    </a:lnTo>
                    <a:lnTo>
                      <a:pt x="0" y="0"/>
                    </a:lnTo>
                    <a:lnTo>
                      <a:pt x="100" y="0"/>
                    </a:lnTo>
                    <a:lnTo>
                      <a:pt x="140" y="148"/>
                    </a:lnTo>
                    <a:lnTo>
                      <a:pt x="202" y="0"/>
                    </a:lnTo>
                    <a:lnTo>
                      <a:pt x="286" y="0"/>
                    </a:lnTo>
                    <a:lnTo>
                      <a:pt x="116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21"/>
              <p:cNvSpPr>
                <a:spLocks/>
              </p:cNvSpPr>
              <p:nvPr/>
            </p:nvSpPr>
            <p:spPr bwMode="auto">
              <a:xfrm>
                <a:off x="4473575" y="593725"/>
                <a:ext cx="241300" cy="117475"/>
              </a:xfrm>
              <a:custGeom>
                <a:avLst/>
                <a:gdLst>
                  <a:gd name="T0" fmla="*/ 36 w 152"/>
                  <a:gd name="T1" fmla="*/ 0 h 74"/>
                  <a:gd name="T2" fmla="*/ 152 w 152"/>
                  <a:gd name="T3" fmla="*/ 0 h 74"/>
                  <a:gd name="T4" fmla="*/ 114 w 152"/>
                  <a:gd name="T5" fmla="*/ 74 h 74"/>
                  <a:gd name="T6" fmla="*/ 0 w 152"/>
                  <a:gd name="T7" fmla="*/ 74 h 74"/>
                  <a:gd name="T8" fmla="*/ 36 w 152"/>
                  <a:gd name="T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74">
                    <a:moveTo>
                      <a:pt x="36" y="0"/>
                    </a:moveTo>
                    <a:lnTo>
                      <a:pt x="152" y="0"/>
                    </a:lnTo>
                    <a:lnTo>
                      <a:pt x="114" y="74"/>
                    </a:lnTo>
                    <a:lnTo>
                      <a:pt x="0" y="7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" name="Freeform 22"/>
              <p:cNvSpPr>
                <a:spLocks/>
              </p:cNvSpPr>
              <p:nvPr/>
            </p:nvSpPr>
            <p:spPr bwMode="auto">
              <a:xfrm>
                <a:off x="4721225" y="339725"/>
                <a:ext cx="504825" cy="558800"/>
              </a:xfrm>
              <a:custGeom>
                <a:avLst/>
                <a:gdLst>
                  <a:gd name="T0" fmla="*/ 180 w 318"/>
                  <a:gd name="T1" fmla="*/ 0 h 352"/>
                  <a:gd name="T2" fmla="*/ 232 w 318"/>
                  <a:gd name="T3" fmla="*/ 6 h 352"/>
                  <a:gd name="T4" fmla="*/ 266 w 318"/>
                  <a:gd name="T5" fmla="*/ 20 h 352"/>
                  <a:gd name="T6" fmla="*/ 286 w 318"/>
                  <a:gd name="T7" fmla="*/ 32 h 352"/>
                  <a:gd name="T8" fmla="*/ 302 w 318"/>
                  <a:gd name="T9" fmla="*/ 50 h 352"/>
                  <a:gd name="T10" fmla="*/ 312 w 318"/>
                  <a:gd name="T11" fmla="*/ 74 h 352"/>
                  <a:gd name="T12" fmla="*/ 318 w 318"/>
                  <a:gd name="T13" fmla="*/ 100 h 352"/>
                  <a:gd name="T14" fmla="*/ 222 w 318"/>
                  <a:gd name="T15" fmla="*/ 116 h 352"/>
                  <a:gd name="T16" fmla="*/ 222 w 318"/>
                  <a:gd name="T17" fmla="*/ 108 h 352"/>
                  <a:gd name="T18" fmla="*/ 216 w 318"/>
                  <a:gd name="T19" fmla="*/ 90 h 352"/>
                  <a:gd name="T20" fmla="*/ 204 w 318"/>
                  <a:gd name="T21" fmla="*/ 76 h 352"/>
                  <a:gd name="T22" fmla="*/ 188 w 318"/>
                  <a:gd name="T23" fmla="*/ 68 h 352"/>
                  <a:gd name="T24" fmla="*/ 176 w 318"/>
                  <a:gd name="T25" fmla="*/ 68 h 352"/>
                  <a:gd name="T26" fmla="*/ 150 w 318"/>
                  <a:gd name="T27" fmla="*/ 72 h 352"/>
                  <a:gd name="T28" fmla="*/ 128 w 318"/>
                  <a:gd name="T29" fmla="*/ 88 h 352"/>
                  <a:gd name="T30" fmla="*/ 108 w 318"/>
                  <a:gd name="T31" fmla="*/ 118 h 352"/>
                  <a:gd name="T32" fmla="*/ 98 w 318"/>
                  <a:gd name="T33" fmla="*/ 162 h 352"/>
                  <a:gd name="T34" fmla="*/ 96 w 318"/>
                  <a:gd name="T35" fmla="*/ 188 h 352"/>
                  <a:gd name="T36" fmla="*/ 98 w 318"/>
                  <a:gd name="T37" fmla="*/ 234 h 352"/>
                  <a:gd name="T38" fmla="*/ 112 w 318"/>
                  <a:gd name="T39" fmla="*/ 266 h 352"/>
                  <a:gd name="T40" fmla="*/ 122 w 318"/>
                  <a:gd name="T41" fmla="*/ 278 h 352"/>
                  <a:gd name="T42" fmla="*/ 138 w 318"/>
                  <a:gd name="T43" fmla="*/ 284 h 352"/>
                  <a:gd name="T44" fmla="*/ 158 w 318"/>
                  <a:gd name="T45" fmla="*/ 288 h 352"/>
                  <a:gd name="T46" fmla="*/ 174 w 318"/>
                  <a:gd name="T47" fmla="*/ 286 h 352"/>
                  <a:gd name="T48" fmla="*/ 198 w 318"/>
                  <a:gd name="T49" fmla="*/ 274 h 352"/>
                  <a:gd name="T50" fmla="*/ 212 w 318"/>
                  <a:gd name="T51" fmla="*/ 256 h 352"/>
                  <a:gd name="T52" fmla="*/ 218 w 318"/>
                  <a:gd name="T53" fmla="*/ 236 h 352"/>
                  <a:gd name="T54" fmla="*/ 314 w 318"/>
                  <a:gd name="T55" fmla="*/ 236 h 352"/>
                  <a:gd name="T56" fmla="*/ 306 w 318"/>
                  <a:gd name="T57" fmla="*/ 270 h 352"/>
                  <a:gd name="T58" fmla="*/ 290 w 318"/>
                  <a:gd name="T59" fmla="*/ 300 h 352"/>
                  <a:gd name="T60" fmla="*/ 272 w 318"/>
                  <a:gd name="T61" fmla="*/ 318 h 352"/>
                  <a:gd name="T62" fmla="*/ 248 w 318"/>
                  <a:gd name="T63" fmla="*/ 334 h 352"/>
                  <a:gd name="T64" fmla="*/ 216 w 318"/>
                  <a:gd name="T65" fmla="*/ 346 h 352"/>
                  <a:gd name="T66" fmla="*/ 176 w 318"/>
                  <a:gd name="T67" fmla="*/ 352 h 352"/>
                  <a:gd name="T68" fmla="*/ 152 w 318"/>
                  <a:gd name="T69" fmla="*/ 352 h 352"/>
                  <a:gd name="T70" fmla="*/ 106 w 318"/>
                  <a:gd name="T71" fmla="*/ 348 h 352"/>
                  <a:gd name="T72" fmla="*/ 70 w 318"/>
                  <a:gd name="T73" fmla="*/ 336 h 352"/>
                  <a:gd name="T74" fmla="*/ 42 w 318"/>
                  <a:gd name="T75" fmla="*/ 316 h 352"/>
                  <a:gd name="T76" fmla="*/ 22 w 318"/>
                  <a:gd name="T77" fmla="*/ 292 h 352"/>
                  <a:gd name="T78" fmla="*/ 8 w 318"/>
                  <a:gd name="T79" fmla="*/ 262 h 352"/>
                  <a:gd name="T80" fmla="*/ 2 w 318"/>
                  <a:gd name="T81" fmla="*/ 230 h 352"/>
                  <a:gd name="T82" fmla="*/ 0 w 318"/>
                  <a:gd name="T83" fmla="*/ 194 h 352"/>
                  <a:gd name="T84" fmla="*/ 2 w 318"/>
                  <a:gd name="T85" fmla="*/ 160 h 352"/>
                  <a:gd name="T86" fmla="*/ 18 w 318"/>
                  <a:gd name="T87" fmla="*/ 102 h 352"/>
                  <a:gd name="T88" fmla="*/ 32 w 318"/>
                  <a:gd name="T89" fmla="*/ 74 h 352"/>
                  <a:gd name="T90" fmla="*/ 52 w 318"/>
                  <a:gd name="T91" fmla="*/ 50 h 352"/>
                  <a:gd name="T92" fmla="*/ 76 w 318"/>
                  <a:gd name="T93" fmla="*/ 30 h 352"/>
                  <a:gd name="T94" fmla="*/ 106 w 318"/>
                  <a:gd name="T95" fmla="*/ 14 h 352"/>
                  <a:gd name="T96" fmla="*/ 140 w 318"/>
                  <a:gd name="T97" fmla="*/ 4 h 352"/>
                  <a:gd name="T98" fmla="*/ 180 w 318"/>
                  <a:gd name="T99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18" h="352">
                    <a:moveTo>
                      <a:pt x="180" y="0"/>
                    </a:moveTo>
                    <a:lnTo>
                      <a:pt x="180" y="0"/>
                    </a:lnTo>
                    <a:lnTo>
                      <a:pt x="206" y="0"/>
                    </a:lnTo>
                    <a:lnTo>
                      <a:pt x="232" y="6"/>
                    </a:lnTo>
                    <a:lnTo>
                      <a:pt x="256" y="14"/>
                    </a:lnTo>
                    <a:lnTo>
                      <a:pt x="266" y="20"/>
                    </a:lnTo>
                    <a:lnTo>
                      <a:pt x="276" y="26"/>
                    </a:lnTo>
                    <a:lnTo>
                      <a:pt x="286" y="32"/>
                    </a:lnTo>
                    <a:lnTo>
                      <a:pt x="294" y="42"/>
                    </a:lnTo>
                    <a:lnTo>
                      <a:pt x="302" y="50"/>
                    </a:lnTo>
                    <a:lnTo>
                      <a:pt x="308" y="62"/>
                    </a:lnTo>
                    <a:lnTo>
                      <a:pt x="312" y="74"/>
                    </a:lnTo>
                    <a:lnTo>
                      <a:pt x="316" y="86"/>
                    </a:lnTo>
                    <a:lnTo>
                      <a:pt x="318" y="100"/>
                    </a:lnTo>
                    <a:lnTo>
                      <a:pt x="318" y="116"/>
                    </a:lnTo>
                    <a:lnTo>
                      <a:pt x="222" y="116"/>
                    </a:lnTo>
                    <a:lnTo>
                      <a:pt x="222" y="116"/>
                    </a:lnTo>
                    <a:lnTo>
                      <a:pt x="222" y="108"/>
                    </a:lnTo>
                    <a:lnTo>
                      <a:pt x="220" y="98"/>
                    </a:lnTo>
                    <a:lnTo>
                      <a:pt x="216" y="90"/>
                    </a:lnTo>
                    <a:lnTo>
                      <a:pt x="212" y="84"/>
                    </a:lnTo>
                    <a:lnTo>
                      <a:pt x="204" y="76"/>
                    </a:lnTo>
                    <a:lnTo>
                      <a:pt x="198" y="72"/>
                    </a:lnTo>
                    <a:lnTo>
                      <a:pt x="188" y="68"/>
                    </a:lnTo>
                    <a:lnTo>
                      <a:pt x="176" y="68"/>
                    </a:lnTo>
                    <a:lnTo>
                      <a:pt x="176" y="68"/>
                    </a:lnTo>
                    <a:lnTo>
                      <a:pt x="164" y="68"/>
                    </a:lnTo>
                    <a:lnTo>
                      <a:pt x="150" y="72"/>
                    </a:lnTo>
                    <a:lnTo>
                      <a:pt x="138" y="80"/>
                    </a:lnTo>
                    <a:lnTo>
                      <a:pt x="128" y="88"/>
                    </a:lnTo>
                    <a:lnTo>
                      <a:pt x="118" y="102"/>
                    </a:lnTo>
                    <a:lnTo>
                      <a:pt x="108" y="118"/>
                    </a:lnTo>
                    <a:lnTo>
                      <a:pt x="102" y="138"/>
                    </a:lnTo>
                    <a:lnTo>
                      <a:pt x="98" y="162"/>
                    </a:lnTo>
                    <a:lnTo>
                      <a:pt x="98" y="162"/>
                    </a:lnTo>
                    <a:lnTo>
                      <a:pt x="96" y="188"/>
                    </a:lnTo>
                    <a:lnTo>
                      <a:pt x="96" y="212"/>
                    </a:lnTo>
                    <a:lnTo>
                      <a:pt x="98" y="234"/>
                    </a:lnTo>
                    <a:lnTo>
                      <a:pt x="104" y="252"/>
                    </a:lnTo>
                    <a:lnTo>
                      <a:pt x="112" y="266"/>
                    </a:lnTo>
                    <a:lnTo>
                      <a:pt x="116" y="272"/>
                    </a:lnTo>
                    <a:lnTo>
                      <a:pt x="122" y="278"/>
                    </a:lnTo>
                    <a:lnTo>
                      <a:pt x="130" y="282"/>
                    </a:lnTo>
                    <a:lnTo>
                      <a:pt x="138" y="284"/>
                    </a:lnTo>
                    <a:lnTo>
                      <a:pt x="148" y="286"/>
                    </a:lnTo>
                    <a:lnTo>
                      <a:pt x="158" y="288"/>
                    </a:lnTo>
                    <a:lnTo>
                      <a:pt x="158" y="288"/>
                    </a:lnTo>
                    <a:lnTo>
                      <a:pt x="174" y="286"/>
                    </a:lnTo>
                    <a:lnTo>
                      <a:pt x="188" y="280"/>
                    </a:lnTo>
                    <a:lnTo>
                      <a:pt x="198" y="274"/>
                    </a:lnTo>
                    <a:lnTo>
                      <a:pt x="206" y="264"/>
                    </a:lnTo>
                    <a:lnTo>
                      <a:pt x="212" y="256"/>
                    </a:lnTo>
                    <a:lnTo>
                      <a:pt x="214" y="248"/>
                    </a:lnTo>
                    <a:lnTo>
                      <a:pt x="218" y="236"/>
                    </a:lnTo>
                    <a:lnTo>
                      <a:pt x="314" y="236"/>
                    </a:lnTo>
                    <a:lnTo>
                      <a:pt x="314" y="236"/>
                    </a:lnTo>
                    <a:lnTo>
                      <a:pt x="312" y="252"/>
                    </a:lnTo>
                    <a:lnTo>
                      <a:pt x="306" y="270"/>
                    </a:lnTo>
                    <a:lnTo>
                      <a:pt x="296" y="290"/>
                    </a:lnTo>
                    <a:lnTo>
                      <a:pt x="290" y="300"/>
                    </a:lnTo>
                    <a:lnTo>
                      <a:pt x="282" y="308"/>
                    </a:lnTo>
                    <a:lnTo>
                      <a:pt x="272" y="318"/>
                    </a:lnTo>
                    <a:lnTo>
                      <a:pt x="260" y="326"/>
                    </a:lnTo>
                    <a:lnTo>
                      <a:pt x="248" y="334"/>
                    </a:lnTo>
                    <a:lnTo>
                      <a:pt x="232" y="340"/>
                    </a:lnTo>
                    <a:lnTo>
                      <a:pt x="216" y="346"/>
                    </a:lnTo>
                    <a:lnTo>
                      <a:pt x="196" y="350"/>
                    </a:lnTo>
                    <a:lnTo>
                      <a:pt x="176" y="352"/>
                    </a:lnTo>
                    <a:lnTo>
                      <a:pt x="152" y="352"/>
                    </a:lnTo>
                    <a:lnTo>
                      <a:pt x="152" y="352"/>
                    </a:lnTo>
                    <a:lnTo>
                      <a:pt x="128" y="352"/>
                    </a:lnTo>
                    <a:lnTo>
                      <a:pt x="106" y="348"/>
                    </a:lnTo>
                    <a:lnTo>
                      <a:pt x="86" y="342"/>
                    </a:lnTo>
                    <a:lnTo>
                      <a:pt x="70" y="336"/>
                    </a:lnTo>
                    <a:lnTo>
                      <a:pt x="54" y="326"/>
                    </a:lnTo>
                    <a:lnTo>
                      <a:pt x="42" y="316"/>
                    </a:lnTo>
                    <a:lnTo>
                      <a:pt x="30" y="304"/>
                    </a:lnTo>
                    <a:lnTo>
                      <a:pt x="22" y="292"/>
                    </a:lnTo>
                    <a:lnTo>
                      <a:pt x="14" y="276"/>
                    </a:lnTo>
                    <a:lnTo>
                      <a:pt x="8" y="262"/>
                    </a:lnTo>
                    <a:lnTo>
                      <a:pt x="4" y="246"/>
                    </a:lnTo>
                    <a:lnTo>
                      <a:pt x="2" y="230"/>
                    </a:lnTo>
                    <a:lnTo>
                      <a:pt x="0" y="212"/>
                    </a:lnTo>
                    <a:lnTo>
                      <a:pt x="0" y="194"/>
                    </a:lnTo>
                    <a:lnTo>
                      <a:pt x="2" y="160"/>
                    </a:lnTo>
                    <a:lnTo>
                      <a:pt x="2" y="160"/>
                    </a:lnTo>
                    <a:lnTo>
                      <a:pt x="8" y="130"/>
                    </a:lnTo>
                    <a:lnTo>
                      <a:pt x="18" y="102"/>
                    </a:lnTo>
                    <a:lnTo>
                      <a:pt x="24" y="88"/>
                    </a:lnTo>
                    <a:lnTo>
                      <a:pt x="32" y="74"/>
                    </a:lnTo>
                    <a:lnTo>
                      <a:pt x="42" y="62"/>
                    </a:lnTo>
                    <a:lnTo>
                      <a:pt x="52" y="50"/>
                    </a:lnTo>
                    <a:lnTo>
                      <a:pt x="64" y="40"/>
                    </a:lnTo>
                    <a:lnTo>
                      <a:pt x="76" y="30"/>
                    </a:lnTo>
                    <a:lnTo>
                      <a:pt x="90" y="20"/>
                    </a:lnTo>
                    <a:lnTo>
                      <a:pt x="106" y="14"/>
                    </a:lnTo>
                    <a:lnTo>
                      <a:pt x="122" y="8"/>
                    </a:lnTo>
                    <a:lnTo>
                      <a:pt x="140" y="4"/>
                    </a:lnTo>
                    <a:lnTo>
                      <a:pt x="160" y="0"/>
                    </a:lnTo>
                    <a:lnTo>
                      <a:pt x="180" y="0"/>
                    </a:lnTo>
                    <a:lnTo>
                      <a:pt x="18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23"/>
              <p:cNvSpPr>
                <a:spLocks/>
              </p:cNvSpPr>
              <p:nvPr/>
            </p:nvSpPr>
            <p:spPr bwMode="auto">
              <a:xfrm>
                <a:off x="5229225" y="352425"/>
                <a:ext cx="177800" cy="542925"/>
              </a:xfrm>
              <a:custGeom>
                <a:avLst/>
                <a:gdLst>
                  <a:gd name="T0" fmla="*/ 0 w 112"/>
                  <a:gd name="T1" fmla="*/ 342 h 342"/>
                  <a:gd name="T2" fmla="*/ 24 w 112"/>
                  <a:gd name="T3" fmla="*/ 0 h 342"/>
                  <a:gd name="T4" fmla="*/ 112 w 112"/>
                  <a:gd name="T5" fmla="*/ 0 h 342"/>
                  <a:gd name="T6" fmla="*/ 88 w 112"/>
                  <a:gd name="T7" fmla="*/ 342 h 342"/>
                  <a:gd name="T8" fmla="*/ 0 w 112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2" y="0"/>
                    </a:lnTo>
                    <a:lnTo>
                      <a:pt x="88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Freeform 24"/>
              <p:cNvSpPr>
                <a:spLocks/>
              </p:cNvSpPr>
              <p:nvPr/>
            </p:nvSpPr>
            <p:spPr bwMode="auto">
              <a:xfrm>
                <a:off x="5803900" y="517525"/>
                <a:ext cx="295275" cy="377825"/>
              </a:xfrm>
              <a:custGeom>
                <a:avLst/>
                <a:gdLst>
                  <a:gd name="T0" fmla="*/ 106 w 186"/>
                  <a:gd name="T1" fmla="*/ 34 h 238"/>
                  <a:gd name="T2" fmla="*/ 106 w 186"/>
                  <a:gd name="T3" fmla="*/ 34 h 238"/>
                  <a:gd name="T4" fmla="*/ 106 w 186"/>
                  <a:gd name="T5" fmla="*/ 34 h 238"/>
                  <a:gd name="T6" fmla="*/ 116 w 186"/>
                  <a:gd name="T7" fmla="*/ 24 h 238"/>
                  <a:gd name="T8" fmla="*/ 124 w 186"/>
                  <a:gd name="T9" fmla="*/ 16 h 238"/>
                  <a:gd name="T10" fmla="*/ 134 w 186"/>
                  <a:gd name="T11" fmla="*/ 10 h 238"/>
                  <a:gd name="T12" fmla="*/ 144 w 186"/>
                  <a:gd name="T13" fmla="*/ 6 h 238"/>
                  <a:gd name="T14" fmla="*/ 154 w 186"/>
                  <a:gd name="T15" fmla="*/ 4 h 238"/>
                  <a:gd name="T16" fmla="*/ 164 w 186"/>
                  <a:gd name="T17" fmla="*/ 2 h 238"/>
                  <a:gd name="T18" fmla="*/ 186 w 186"/>
                  <a:gd name="T19" fmla="*/ 0 h 238"/>
                  <a:gd name="T20" fmla="*/ 180 w 186"/>
                  <a:gd name="T21" fmla="*/ 76 h 238"/>
                  <a:gd name="T22" fmla="*/ 180 w 186"/>
                  <a:gd name="T23" fmla="*/ 76 h 238"/>
                  <a:gd name="T24" fmla="*/ 162 w 186"/>
                  <a:gd name="T25" fmla="*/ 76 h 238"/>
                  <a:gd name="T26" fmla="*/ 162 w 186"/>
                  <a:gd name="T27" fmla="*/ 76 h 238"/>
                  <a:gd name="T28" fmla="*/ 142 w 186"/>
                  <a:gd name="T29" fmla="*/ 78 h 238"/>
                  <a:gd name="T30" fmla="*/ 126 w 186"/>
                  <a:gd name="T31" fmla="*/ 82 h 238"/>
                  <a:gd name="T32" fmla="*/ 116 w 186"/>
                  <a:gd name="T33" fmla="*/ 88 h 238"/>
                  <a:gd name="T34" fmla="*/ 108 w 186"/>
                  <a:gd name="T35" fmla="*/ 98 h 238"/>
                  <a:gd name="T36" fmla="*/ 104 w 186"/>
                  <a:gd name="T37" fmla="*/ 108 h 238"/>
                  <a:gd name="T38" fmla="*/ 100 w 186"/>
                  <a:gd name="T39" fmla="*/ 120 h 238"/>
                  <a:gd name="T40" fmla="*/ 98 w 186"/>
                  <a:gd name="T41" fmla="*/ 148 h 238"/>
                  <a:gd name="T42" fmla="*/ 92 w 186"/>
                  <a:gd name="T43" fmla="*/ 238 h 238"/>
                  <a:gd name="T44" fmla="*/ 0 w 186"/>
                  <a:gd name="T45" fmla="*/ 238 h 238"/>
                  <a:gd name="T46" fmla="*/ 14 w 186"/>
                  <a:gd name="T47" fmla="*/ 62 h 238"/>
                  <a:gd name="T48" fmla="*/ 14 w 186"/>
                  <a:gd name="T49" fmla="*/ 62 h 238"/>
                  <a:gd name="T50" fmla="*/ 14 w 186"/>
                  <a:gd name="T51" fmla="*/ 32 h 238"/>
                  <a:gd name="T52" fmla="*/ 14 w 186"/>
                  <a:gd name="T53" fmla="*/ 0 h 238"/>
                  <a:gd name="T54" fmla="*/ 102 w 186"/>
                  <a:gd name="T55" fmla="*/ 0 h 238"/>
                  <a:gd name="T56" fmla="*/ 106 w 186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6" h="238">
                    <a:moveTo>
                      <a:pt x="106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6" y="24"/>
                    </a:lnTo>
                    <a:lnTo>
                      <a:pt x="124" y="16"/>
                    </a:lnTo>
                    <a:lnTo>
                      <a:pt x="134" y="10"/>
                    </a:lnTo>
                    <a:lnTo>
                      <a:pt x="144" y="6"/>
                    </a:lnTo>
                    <a:lnTo>
                      <a:pt x="154" y="4"/>
                    </a:lnTo>
                    <a:lnTo>
                      <a:pt x="164" y="2"/>
                    </a:lnTo>
                    <a:lnTo>
                      <a:pt x="186" y="0"/>
                    </a:lnTo>
                    <a:lnTo>
                      <a:pt x="180" y="76"/>
                    </a:lnTo>
                    <a:lnTo>
                      <a:pt x="180" y="76"/>
                    </a:lnTo>
                    <a:lnTo>
                      <a:pt x="162" y="76"/>
                    </a:lnTo>
                    <a:lnTo>
                      <a:pt x="162" y="76"/>
                    </a:lnTo>
                    <a:lnTo>
                      <a:pt x="142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4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6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31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53074" y="553073"/>
            <a:ext cx="3571665" cy="316888"/>
          </a:xfrm>
        </p:spPr>
        <p:txBody>
          <a:bodyPr>
            <a:noAutofit/>
          </a:bodyPr>
          <a:lstStyle>
            <a:lvl1pPr marL="0" indent="0">
              <a:buNone/>
              <a:defRPr sz="1400" b="0" u="none">
                <a:solidFill>
                  <a:schemeClr val="bg1"/>
                </a:solidFill>
              </a:defRPr>
            </a:lvl1pPr>
            <a:lvl2pPr marL="457200" indent="0">
              <a:buNone/>
              <a:defRPr b="0" u="none"/>
            </a:lvl2pPr>
            <a:lvl3pPr marL="914400" indent="0">
              <a:buNone/>
              <a:defRPr b="0" u="none"/>
            </a:lvl3pPr>
            <a:lvl4pPr marL="1371600" indent="0">
              <a:buNone/>
              <a:defRPr b="0" u="none"/>
            </a:lvl4pPr>
            <a:lvl5pPr marL="1828800" indent="0">
              <a:buNone/>
              <a:defRPr b="0" u="none"/>
            </a:lvl5pPr>
          </a:lstStyle>
          <a:p>
            <a:pPr lvl="0"/>
            <a:r>
              <a:rPr lang="en-US"/>
              <a:t>BU/Function/Region</a:t>
            </a:r>
          </a:p>
        </p:txBody>
      </p:sp>
    </p:spTree>
    <p:extLst>
      <p:ext uri="{BB962C8B-B14F-4D97-AF65-F5344CB8AC3E}">
        <p14:creationId xmlns:p14="http://schemas.microsoft.com/office/powerpoint/2010/main" val="26450188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2"/>
            <a:ext cx="12195050" cy="685628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62399" y="2336800"/>
            <a:ext cx="5788152" cy="2091087"/>
          </a:xfrm>
        </p:spPr>
        <p:txBody>
          <a:bodyPr anchor="ctr">
            <a:normAutofit/>
          </a:bodyPr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2399" y="4427887"/>
            <a:ext cx="5789202" cy="1285515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3E7FBFD-78E1-42FB-85FC-D9CE5E3DEFA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70622" y="276225"/>
            <a:ext cx="2165537" cy="271230"/>
            <a:chOff x="158750" y="276225"/>
            <a:chExt cx="6388100" cy="800100"/>
          </a:xfrm>
          <a:solidFill>
            <a:schemeClr val="accent1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158750" y="276225"/>
              <a:ext cx="857250" cy="736600"/>
            </a:xfrm>
            <a:custGeom>
              <a:avLst/>
              <a:gdLst>
                <a:gd name="T0" fmla="*/ 298 w 540"/>
                <a:gd name="T1" fmla="*/ 0 h 464"/>
                <a:gd name="T2" fmla="*/ 374 w 540"/>
                <a:gd name="T3" fmla="*/ 18 h 464"/>
                <a:gd name="T4" fmla="*/ 442 w 540"/>
                <a:gd name="T5" fmla="*/ 52 h 464"/>
                <a:gd name="T6" fmla="*/ 494 w 540"/>
                <a:gd name="T7" fmla="*/ 102 h 464"/>
                <a:gd name="T8" fmla="*/ 528 w 540"/>
                <a:gd name="T9" fmla="*/ 162 h 464"/>
                <a:gd name="T10" fmla="*/ 540 w 540"/>
                <a:gd name="T11" fmla="*/ 232 h 464"/>
                <a:gd name="T12" fmla="*/ 534 w 540"/>
                <a:gd name="T13" fmla="*/ 278 h 464"/>
                <a:gd name="T14" fmla="*/ 506 w 540"/>
                <a:gd name="T15" fmla="*/ 342 h 464"/>
                <a:gd name="T16" fmla="*/ 460 w 540"/>
                <a:gd name="T17" fmla="*/ 396 h 464"/>
                <a:gd name="T18" fmla="*/ 398 w 540"/>
                <a:gd name="T19" fmla="*/ 436 h 464"/>
                <a:gd name="T20" fmla="*/ 324 w 540"/>
                <a:gd name="T21" fmla="*/ 460 h 464"/>
                <a:gd name="T22" fmla="*/ 270 w 540"/>
                <a:gd name="T23" fmla="*/ 464 h 464"/>
                <a:gd name="T24" fmla="*/ 190 w 540"/>
                <a:gd name="T25" fmla="*/ 454 h 464"/>
                <a:gd name="T26" fmla="*/ 118 w 540"/>
                <a:gd name="T27" fmla="*/ 424 h 464"/>
                <a:gd name="T28" fmla="*/ 62 w 540"/>
                <a:gd name="T29" fmla="*/ 380 h 464"/>
                <a:gd name="T30" fmla="*/ 20 w 540"/>
                <a:gd name="T31" fmla="*/ 322 h 464"/>
                <a:gd name="T32" fmla="*/ 2 w 540"/>
                <a:gd name="T33" fmla="*/ 256 h 464"/>
                <a:gd name="T34" fmla="*/ 2 w 540"/>
                <a:gd name="T35" fmla="*/ 208 h 464"/>
                <a:gd name="T36" fmla="*/ 20 w 540"/>
                <a:gd name="T37" fmla="*/ 142 h 464"/>
                <a:gd name="T38" fmla="*/ 62 w 540"/>
                <a:gd name="T39" fmla="*/ 84 h 464"/>
                <a:gd name="T40" fmla="*/ 118 w 540"/>
                <a:gd name="T41" fmla="*/ 40 h 464"/>
                <a:gd name="T42" fmla="*/ 190 w 540"/>
                <a:gd name="T43" fmla="*/ 10 h 464"/>
                <a:gd name="T44" fmla="*/ 270 w 540"/>
                <a:gd name="T45" fmla="*/ 0 h 464"/>
                <a:gd name="T46" fmla="*/ 270 w 540"/>
                <a:gd name="T47" fmla="*/ 232 h 464"/>
                <a:gd name="T48" fmla="*/ 220 w 540"/>
                <a:gd name="T49" fmla="*/ 196 h 464"/>
                <a:gd name="T50" fmla="*/ 208 w 540"/>
                <a:gd name="T51" fmla="*/ 176 h 464"/>
                <a:gd name="T52" fmla="*/ 156 w 540"/>
                <a:gd name="T53" fmla="*/ 130 h 464"/>
                <a:gd name="T54" fmla="*/ 76 w 540"/>
                <a:gd name="T55" fmla="*/ 152 h 464"/>
                <a:gd name="T56" fmla="*/ 130 w 540"/>
                <a:gd name="T57" fmla="*/ 204 h 464"/>
                <a:gd name="T58" fmla="*/ 138 w 540"/>
                <a:gd name="T59" fmla="*/ 230 h 464"/>
                <a:gd name="T60" fmla="*/ 132 w 540"/>
                <a:gd name="T61" fmla="*/ 244 h 464"/>
                <a:gd name="T62" fmla="*/ 108 w 540"/>
                <a:gd name="T63" fmla="*/ 250 h 464"/>
                <a:gd name="T64" fmla="*/ 38 w 540"/>
                <a:gd name="T65" fmla="*/ 330 h 464"/>
                <a:gd name="T66" fmla="*/ 146 w 540"/>
                <a:gd name="T67" fmla="*/ 330 h 464"/>
                <a:gd name="T68" fmla="*/ 186 w 540"/>
                <a:gd name="T69" fmla="*/ 320 h 464"/>
                <a:gd name="T70" fmla="*/ 214 w 540"/>
                <a:gd name="T71" fmla="*/ 296 h 464"/>
                <a:gd name="T72" fmla="*/ 320 w 540"/>
                <a:gd name="T73" fmla="*/ 390 h 464"/>
                <a:gd name="T74" fmla="*/ 326 w 540"/>
                <a:gd name="T75" fmla="*/ 296 h 464"/>
                <a:gd name="T76" fmla="*/ 352 w 540"/>
                <a:gd name="T77" fmla="*/ 320 h 464"/>
                <a:gd name="T78" fmla="*/ 392 w 540"/>
                <a:gd name="T79" fmla="*/ 330 h 464"/>
                <a:gd name="T80" fmla="*/ 500 w 540"/>
                <a:gd name="T81" fmla="*/ 250 h 464"/>
                <a:gd name="T82" fmla="*/ 432 w 540"/>
                <a:gd name="T83" fmla="*/ 250 h 464"/>
                <a:gd name="T84" fmla="*/ 408 w 540"/>
                <a:gd name="T85" fmla="*/ 244 h 464"/>
                <a:gd name="T86" fmla="*/ 400 w 540"/>
                <a:gd name="T87" fmla="*/ 230 h 464"/>
                <a:gd name="T88" fmla="*/ 410 w 540"/>
                <a:gd name="T89" fmla="*/ 204 h 464"/>
                <a:gd name="T90" fmla="*/ 462 w 540"/>
                <a:gd name="T91" fmla="*/ 152 h 464"/>
                <a:gd name="T92" fmla="*/ 382 w 540"/>
                <a:gd name="T93" fmla="*/ 130 h 464"/>
                <a:gd name="T94" fmla="*/ 330 w 540"/>
                <a:gd name="T95" fmla="*/ 176 h 464"/>
                <a:gd name="T96" fmla="*/ 320 w 540"/>
                <a:gd name="T97" fmla="*/ 19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40" h="464">
                  <a:moveTo>
                    <a:pt x="270" y="0"/>
                  </a:moveTo>
                  <a:lnTo>
                    <a:pt x="270" y="0"/>
                  </a:lnTo>
                  <a:lnTo>
                    <a:pt x="298" y="0"/>
                  </a:lnTo>
                  <a:lnTo>
                    <a:pt x="324" y="4"/>
                  </a:lnTo>
                  <a:lnTo>
                    <a:pt x="350" y="10"/>
                  </a:lnTo>
                  <a:lnTo>
                    <a:pt x="374" y="18"/>
                  </a:lnTo>
                  <a:lnTo>
                    <a:pt x="398" y="28"/>
                  </a:lnTo>
                  <a:lnTo>
                    <a:pt x="420" y="40"/>
                  </a:lnTo>
                  <a:lnTo>
                    <a:pt x="442" y="52"/>
                  </a:lnTo>
                  <a:lnTo>
                    <a:pt x="460" y="68"/>
                  </a:lnTo>
                  <a:lnTo>
                    <a:pt x="478" y="84"/>
                  </a:lnTo>
                  <a:lnTo>
                    <a:pt x="494" y="102"/>
                  </a:lnTo>
                  <a:lnTo>
                    <a:pt x="506" y="122"/>
                  </a:lnTo>
                  <a:lnTo>
                    <a:pt x="518" y="142"/>
                  </a:lnTo>
                  <a:lnTo>
                    <a:pt x="528" y="162"/>
                  </a:lnTo>
                  <a:lnTo>
                    <a:pt x="534" y="184"/>
                  </a:lnTo>
                  <a:lnTo>
                    <a:pt x="538" y="208"/>
                  </a:lnTo>
                  <a:lnTo>
                    <a:pt x="540" y="232"/>
                  </a:lnTo>
                  <a:lnTo>
                    <a:pt x="540" y="232"/>
                  </a:lnTo>
                  <a:lnTo>
                    <a:pt x="538" y="256"/>
                  </a:lnTo>
                  <a:lnTo>
                    <a:pt x="534" y="278"/>
                  </a:lnTo>
                  <a:lnTo>
                    <a:pt x="528" y="300"/>
                  </a:lnTo>
                  <a:lnTo>
                    <a:pt x="518" y="322"/>
                  </a:lnTo>
                  <a:lnTo>
                    <a:pt x="506" y="342"/>
                  </a:lnTo>
                  <a:lnTo>
                    <a:pt x="494" y="362"/>
                  </a:lnTo>
                  <a:lnTo>
                    <a:pt x="478" y="380"/>
                  </a:lnTo>
                  <a:lnTo>
                    <a:pt x="460" y="396"/>
                  </a:lnTo>
                  <a:lnTo>
                    <a:pt x="442" y="410"/>
                  </a:lnTo>
                  <a:lnTo>
                    <a:pt x="420" y="424"/>
                  </a:lnTo>
                  <a:lnTo>
                    <a:pt x="398" y="436"/>
                  </a:lnTo>
                  <a:lnTo>
                    <a:pt x="374" y="446"/>
                  </a:lnTo>
                  <a:lnTo>
                    <a:pt x="350" y="454"/>
                  </a:lnTo>
                  <a:lnTo>
                    <a:pt x="324" y="460"/>
                  </a:lnTo>
                  <a:lnTo>
                    <a:pt x="298" y="462"/>
                  </a:lnTo>
                  <a:lnTo>
                    <a:pt x="270" y="464"/>
                  </a:lnTo>
                  <a:lnTo>
                    <a:pt x="270" y="464"/>
                  </a:lnTo>
                  <a:lnTo>
                    <a:pt x="242" y="462"/>
                  </a:lnTo>
                  <a:lnTo>
                    <a:pt x="216" y="458"/>
                  </a:lnTo>
                  <a:lnTo>
                    <a:pt x="190" y="454"/>
                  </a:lnTo>
                  <a:lnTo>
                    <a:pt x="164" y="446"/>
                  </a:lnTo>
                  <a:lnTo>
                    <a:pt x="140" y="436"/>
                  </a:lnTo>
                  <a:lnTo>
                    <a:pt x="118" y="424"/>
                  </a:lnTo>
                  <a:lnTo>
                    <a:pt x="98" y="410"/>
                  </a:lnTo>
                  <a:lnTo>
                    <a:pt x="78" y="396"/>
                  </a:lnTo>
                  <a:lnTo>
                    <a:pt x="62" y="380"/>
                  </a:lnTo>
                  <a:lnTo>
                    <a:pt x="46" y="362"/>
                  </a:lnTo>
                  <a:lnTo>
                    <a:pt x="32" y="342"/>
                  </a:lnTo>
                  <a:lnTo>
                    <a:pt x="20" y="322"/>
                  </a:lnTo>
                  <a:lnTo>
                    <a:pt x="12" y="300"/>
                  </a:lnTo>
                  <a:lnTo>
                    <a:pt x="6" y="278"/>
                  </a:lnTo>
                  <a:lnTo>
                    <a:pt x="2" y="256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08"/>
                  </a:lnTo>
                  <a:lnTo>
                    <a:pt x="6" y="184"/>
                  </a:lnTo>
                  <a:lnTo>
                    <a:pt x="12" y="162"/>
                  </a:lnTo>
                  <a:lnTo>
                    <a:pt x="20" y="142"/>
                  </a:lnTo>
                  <a:lnTo>
                    <a:pt x="32" y="120"/>
                  </a:lnTo>
                  <a:lnTo>
                    <a:pt x="46" y="102"/>
                  </a:lnTo>
                  <a:lnTo>
                    <a:pt x="62" y="84"/>
                  </a:lnTo>
                  <a:lnTo>
                    <a:pt x="78" y="68"/>
                  </a:lnTo>
                  <a:lnTo>
                    <a:pt x="98" y="52"/>
                  </a:lnTo>
                  <a:lnTo>
                    <a:pt x="118" y="40"/>
                  </a:lnTo>
                  <a:lnTo>
                    <a:pt x="140" y="28"/>
                  </a:lnTo>
                  <a:lnTo>
                    <a:pt x="164" y="18"/>
                  </a:lnTo>
                  <a:lnTo>
                    <a:pt x="190" y="10"/>
                  </a:lnTo>
                  <a:lnTo>
                    <a:pt x="216" y="4"/>
                  </a:lnTo>
                  <a:lnTo>
                    <a:pt x="242" y="0"/>
                  </a:lnTo>
                  <a:lnTo>
                    <a:pt x="270" y="0"/>
                  </a:lnTo>
                  <a:lnTo>
                    <a:pt x="270" y="0"/>
                  </a:lnTo>
                  <a:close/>
                  <a:moveTo>
                    <a:pt x="270" y="232"/>
                  </a:moveTo>
                  <a:lnTo>
                    <a:pt x="270" y="232"/>
                  </a:lnTo>
                  <a:close/>
                  <a:moveTo>
                    <a:pt x="220" y="50"/>
                  </a:moveTo>
                  <a:lnTo>
                    <a:pt x="220" y="50"/>
                  </a:lnTo>
                  <a:lnTo>
                    <a:pt x="220" y="196"/>
                  </a:lnTo>
                  <a:lnTo>
                    <a:pt x="220" y="196"/>
                  </a:lnTo>
                  <a:lnTo>
                    <a:pt x="214" y="186"/>
                  </a:lnTo>
                  <a:lnTo>
                    <a:pt x="208" y="176"/>
                  </a:lnTo>
                  <a:lnTo>
                    <a:pt x="194" y="160"/>
                  </a:lnTo>
                  <a:lnTo>
                    <a:pt x="176" y="144"/>
                  </a:lnTo>
                  <a:lnTo>
                    <a:pt x="156" y="130"/>
                  </a:lnTo>
                  <a:lnTo>
                    <a:pt x="48" y="130"/>
                  </a:lnTo>
                  <a:lnTo>
                    <a:pt x="48" y="130"/>
                  </a:lnTo>
                  <a:lnTo>
                    <a:pt x="76" y="152"/>
                  </a:lnTo>
                  <a:lnTo>
                    <a:pt x="106" y="178"/>
                  </a:lnTo>
                  <a:lnTo>
                    <a:pt x="120" y="192"/>
                  </a:lnTo>
                  <a:lnTo>
                    <a:pt x="130" y="204"/>
                  </a:lnTo>
                  <a:lnTo>
                    <a:pt x="136" y="218"/>
                  </a:lnTo>
                  <a:lnTo>
                    <a:pt x="138" y="230"/>
                  </a:lnTo>
                  <a:lnTo>
                    <a:pt x="138" y="230"/>
                  </a:lnTo>
                  <a:lnTo>
                    <a:pt x="138" y="236"/>
                  </a:lnTo>
                  <a:lnTo>
                    <a:pt x="136" y="240"/>
                  </a:lnTo>
                  <a:lnTo>
                    <a:pt x="132" y="244"/>
                  </a:lnTo>
                  <a:lnTo>
                    <a:pt x="128" y="246"/>
                  </a:lnTo>
                  <a:lnTo>
                    <a:pt x="11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38" y="25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146" y="330"/>
                  </a:lnTo>
                  <a:lnTo>
                    <a:pt x="146" y="330"/>
                  </a:lnTo>
                  <a:lnTo>
                    <a:pt x="166" y="328"/>
                  </a:lnTo>
                  <a:lnTo>
                    <a:pt x="176" y="324"/>
                  </a:lnTo>
                  <a:lnTo>
                    <a:pt x="186" y="320"/>
                  </a:lnTo>
                  <a:lnTo>
                    <a:pt x="196" y="314"/>
                  </a:lnTo>
                  <a:lnTo>
                    <a:pt x="206" y="306"/>
                  </a:lnTo>
                  <a:lnTo>
                    <a:pt x="214" y="296"/>
                  </a:lnTo>
                  <a:lnTo>
                    <a:pt x="220" y="284"/>
                  </a:lnTo>
                  <a:lnTo>
                    <a:pt x="220" y="390"/>
                  </a:lnTo>
                  <a:lnTo>
                    <a:pt x="320" y="390"/>
                  </a:lnTo>
                  <a:lnTo>
                    <a:pt x="320" y="284"/>
                  </a:lnTo>
                  <a:lnTo>
                    <a:pt x="320" y="284"/>
                  </a:lnTo>
                  <a:lnTo>
                    <a:pt x="326" y="296"/>
                  </a:lnTo>
                  <a:lnTo>
                    <a:pt x="334" y="306"/>
                  </a:lnTo>
                  <a:lnTo>
                    <a:pt x="342" y="314"/>
                  </a:lnTo>
                  <a:lnTo>
                    <a:pt x="352" y="320"/>
                  </a:lnTo>
                  <a:lnTo>
                    <a:pt x="362" y="324"/>
                  </a:lnTo>
                  <a:lnTo>
                    <a:pt x="372" y="328"/>
                  </a:lnTo>
                  <a:lnTo>
                    <a:pt x="392" y="330"/>
                  </a:lnTo>
                  <a:lnTo>
                    <a:pt x="392" y="330"/>
                  </a:lnTo>
                  <a:lnTo>
                    <a:pt x="500" y="330"/>
                  </a:lnTo>
                  <a:lnTo>
                    <a:pt x="500" y="250"/>
                  </a:lnTo>
                  <a:lnTo>
                    <a:pt x="500" y="250"/>
                  </a:lnTo>
                  <a:lnTo>
                    <a:pt x="432" y="250"/>
                  </a:lnTo>
                  <a:lnTo>
                    <a:pt x="432" y="250"/>
                  </a:lnTo>
                  <a:lnTo>
                    <a:pt x="422" y="250"/>
                  </a:lnTo>
                  <a:lnTo>
                    <a:pt x="412" y="246"/>
                  </a:lnTo>
                  <a:lnTo>
                    <a:pt x="408" y="244"/>
                  </a:lnTo>
                  <a:lnTo>
                    <a:pt x="404" y="240"/>
                  </a:lnTo>
                  <a:lnTo>
                    <a:pt x="402" y="236"/>
                  </a:lnTo>
                  <a:lnTo>
                    <a:pt x="400" y="230"/>
                  </a:lnTo>
                  <a:lnTo>
                    <a:pt x="400" y="230"/>
                  </a:lnTo>
                  <a:lnTo>
                    <a:pt x="402" y="218"/>
                  </a:lnTo>
                  <a:lnTo>
                    <a:pt x="410" y="204"/>
                  </a:lnTo>
                  <a:lnTo>
                    <a:pt x="420" y="192"/>
                  </a:lnTo>
                  <a:lnTo>
                    <a:pt x="432" y="178"/>
                  </a:lnTo>
                  <a:lnTo>
                    <a:pt x="462" y="152"/>
                  </a:lnTo>
                  <a:lnTo>
                    <a:pt x="492" y="130"/>
                  </a:lnTo>
                  <a:lnTo>
                    <a:pt x="382" y="130"/>
                  </a:lnTo>
                  <a:lnTo>
                    <a:pt x="382" y="130"/>
                  </a:lnTo>
                  <a:lnTo>
                    <a:pt x="364" y="144"/>
                  </a:lnTo>
                  <a:lnTo>
                    <a:pt x="346" y="160"/>
                  </a:lnTo>
                  <a:lnTo>
                    <a:pt x="330" y="176"/>
                  </a:lnTo>
                  <a:lnTo>
                    <a:pt x="324" y="186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20" y="50"/>
                  </a:lnTo>
                  <a:lnTo>
                    <a:pt x="22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1314450" y="339725"/>
              <a:ext cx="5232400" cy="736600"/>
              <a:chOff x="1314450" y="339725"/>
              <a:chExt cx="5232400" cy="736600"/>
            </a:xfrm>
            <a:grpFill/>
          </p:grpSpPr>
          <p:sp>
            <p:nvSpPr>
              <p:cNvPr id="11" name="Freeform 9"/>
              <p:cNvSpPr>
                <a:spLocks/>
              </p:cNvSpPr>
              <p:nvPr/>
            </p:nvSpPr>
            <p:spPr bwMode="auto">
              <a:xfrm>
                <a:off x="1908175" y="352425"/>
                <a:ext cx="139700" cy="98425"/>
              </a:xfrm>
              <a:custGeom>
                <a:avLst/>
                <a:gdLst>
                  <a:gd name="T0" fmla="*/ 4 w 88"/>
                  <a:gd name="T1" fmla="*/ 0 h 62"/>
                  <a:gd name="T2" fmla="*/ 88 w 88"/>
                  <a:gd name="T3" fmla="*/ 0 h 62"/>
                  <a:gd name="T4" fmla="*/ 84 w 88"/>
                  <a:gd name="T5" fmla="*/ 62 h 62"/>
                  <a:gd name="T6" fmla="*/ 0 w 88"/>
                  <a:gd name="T7" fmla="*/ 62 h 62"/>
                  <a:gd name="T8" fmla="*/ 4 w 88"/>
                  <a:gd name="T9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" h="62">
                    <a:moveTo>
                      <a:pt x="4" y="0"/>
                    </a:moveTo>
                    <a:lnTo>
                      <a:pt x="88" y="0"/>
                    </a:lnTo>
                    <a:lnTo>
                      <a:pt x="84" y="62"/>
                    </a:lnTo>
                    <a:lnTo>
                      <a:pt x="0" y="6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10"/>
              <p:cNvSpPr>
                <a:spLocks noEditPoints="1"/>
              </p:cNvSpPr>
              <p:nvPr/>
            </p:nvSpPr>
            <p:spPr bwMode="auto">
              <a:xfrm>
                <a:off x="5397500" y="504825"/>
                <a:ext cx="393700" cy="393700"/>
              </a:xfrm>
              <a:custGeom>
                <a:avLst/>
                <a:gdLst>
                  <a:gd name="T0" fmla="*/ 152 w 248"/>
                  <a:gd name="T1" fmla="*/ 216 h 248"/>
                  <a:gd name="T2" fmla="*/ 138 w 248"/>
                  <a:gd name="T3" fmla="*/ 228 h 248"/>
                  <a:gd name="T4" fmla="*/ 112 w 248"/>
                  <a:gd name="T5" fmla="*/ 242 h 248"/>
                  <a:gd name="T6" fmla="*/ 92 w 248"/>
                  <a:gd name="T7" fmla="*/ 246 h 248"/>
                  <a:gd name="T8" fmla="*/ 80 w 248"/>
                  <a:gd name="T9" fmla="*/ 248 h 248"/>
                  <a:gd name="T10" fmla="*/ 44 w 248"/>
                  <a:gd name="T11" fmla="*/ 242 h 248"/>
                  <a:gd name="T12" fmla="*/ 18 w 248"/>
                  <a:gd name="T13" fmla="*/ 226 h 248"/>
                  <a:gd name="T14" fmla="*/ 4 w 248"/>
                  <a:gd name="T15" fmla="*/ 202 h 248"/>
                  <a:gd name="T16" fmla="*/ 0 w 248"/>
                  <a:gd name="T17" fmla="*/ 174 h 248"/>
                  <a:gd name="T18" fmla="*/ 2 w 248"/>
                  <a:gd name="T19" fmla="*/ 156 h 248"/>
                  <a:gd name="T20" fmla="*/ 20 w 248"/>
                  <a:gd name="T21" fmla="*/ 128 h 248"/>
                  <a:gd name="T22" fmla="*/ 54 w 248"/>
                  <a:gd name="T23" fmla="*/ 108 h 248"/>
                  <a:gd name="T24" fmla="*/ 104 w 248"/>
                  <a:gd name="T25" fmla="*/ 98 h 248"/>
                  <a:gd name="T26" fmla="*/ 162 w 248"/>
                  <a:gd name="T27" fmla="*/ 96 h 248"/>
                  <a:gd name="T28" fmla="*/ 164 w 248"/>
                  <a:gd name="T29" fmla="*/ 78 h 248"/>
                  <a:gd name="T30" fmla="*/ 162 w 248"/>
                  <a:gd name="T31" fmla="*/ 60 h 248"/>
                  <a:gd name="T32" fmla="*/ 154 w 248"/>
                  <a:gd name="T33" fmla="*/ 46 h 248"/>
                  <a:gd name="T34" fmla="*/ 136 w 248"/>
                  <a:gd name="T35" fmla="*/ 40 h 248"/>
                  <a:gd name="T36" fmla="*/ 126 w 248"/>
                  <a:gd name="T37" fmla="*/ 42 h 248"/>
                  <a:gd name="T38" fmla="*/ 114 w 248"/>
                  <a:gd name="T39" fmla="*/ 48 h 248"/>
                  <a:gd name="T40" fmla="*/ 106 w 248"/>
                  <a:gd name="T41" fmla="*/ 66 h 248"/>
                  <a:gd name="T42" fmla="*/ 22 w 248"/>
                  <a:gd name="T43" fmla="*/ 76 h 248"/>
                  <a:gd name="T44" fmla="*/ 24 w 248"/>
                  <a:gd name="T45" fmla="*/ 66 h 248"/>
                  <a:gd name="T46" fmla="*/ 28 w 248"/>
                  <a:gd name="T47" fmla="*/ 46 h 248"/>
                  <a:gd name="T48" fmla="*/ 38 w 248"/>
                  <a:gd name="T49" fmla="*/ 30 h 248"/>
                  <a:gd name="T50" fmla="*/ 54 w 248"/>
                  <a:gd name="T51" fmla="*/ 18 h 248"/>
                  <a:gd name="T52" fmla="*/ 62 w 248"/>
                  <a:gd name="T53" fmla="*/ 14 h 248"/>
                  <a:gd name="T54" fmla="*/ 102 w 248"/>
                  <a:gd name="T55" fmla="*/ 2 h 248"/>
                  <a:gd name="T56" fmla="*/ 144 w 248"/>
                  <a:gd name="T57" fmla="*/ 0 h 248"/>
                  <a:gd name="T58" fmla="*/ 164 w 248"/>
                  <a:gd name="T59" fmla="*/ 0 h 248"/>
                  <a:gd name="T60" fmla="*/ 200 w 248"/>
                  <a:gd name="T61" fmla="*/ 10 h 248"/>
                  <a:gd name="T62" fmla="*/ 230 w 248"/>
                  <a:gd name="T63" fmla="*/ 30 h 248"/>
                  <a:gd name="T64" fmla="*/ 240 w 248"/>
                  <a:gd name="T65" fmla="*/ 44 h 248"/>
                  <a:gd name="T66" fmla="*/ 246 w 248"/>
                  <a:gd name="T67" fmla="*/ 62 h 248"/>
                  <a:gd name="T68" fmla="*/ 248 w 248"/>
                  <a:gd name="T69" fmla="*/ 82 h 248"/>
                  <a:gd name="T70" fmla="*/ 242 w 248"/>
                  <a:gd name="T71" fmla="*/ 196 h 248"/>
                  <a:gd name="T72" fmla="*/ 242 w 248"/>
                  <a:gd name="T73" fmla="*/ 246 h 248"/>
                  <a:gd name="T74" fmla="*/ 152 w 248"/>
                  <a:gd name="T75" fmla="*/ 216 h 248"/>
                  <a:gd name="T76" fmla="*/ 114 w 248"/>
                  <a:gd name="T77" fmla="*/ 200 h 248"/>
                  <a:gd name="T78" fmla="*/ 138 w 248"/>
                  <a:gd name="T79" fmla="*/ 194 h 248"/>
                  <a:gd name="T80" fmla="*/ 152 w 248"/>
                  <a:gd name="T81" fmla="*/ 176 h 248"/>
                  <a:gd name="T82" fmla="*/ 158 w 248"/>
                  <a:gd name="T83" fmla="*/ 154 h 248"/>
                  <a:gd name="T84" fmla="*/ 160 w 248"/>
                  <a:gd name="T85" fmla="*/ 130 h 248"/>
                  <a:gd name="T86" fmla="*/ 122 w 248"/>
                  <a:gd name="T87" fmla="*/ 132 h 248"/>
                  <a:gd name="T88" fmla="*/ 110 w 248"/>
                  <a:gd name="T89" fmla="*/ 134 h 248"/>
                  <a:gd name="T90" fmla="*/ 94 w 248"/>
                  <a:gd name="T91" fmla="*/ 148 h 248"/>
                  <a:gd name="T92" fmla="*/ 86 w 248"/>
                  <a:gd name="T93" fmla="*/ 170 h 248"/>
                  <a:gd name="T94" fmla="*/ 86 w 248"/>
                  <a:gd name="T95" fmla="*/ 176 h 248"/>
                  <a:gd name="T96" fmla="*/ 92 w 248"/>
                  <a:gd name="T97" fmla="*/ 192 h 248"/>
                  <a:gd name="T98" fmla="*/ 102 w 248"/>
                  <a:gd name="T99" fmla="*/ 198 h 248"/>
                  <a:gd name="T100" fmla="*/ 114 w 248"/>
                  <a:gd name="T101" fmla="*/ 20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8" h="248">
                    <a:moveTo>
                      <a:pt x="152" y="216"/>
                    </a:moveTo>
                    <a:lnTo>
                      <a:pt x="152" y="216"/>
                    </a:lnTo>
                    <a:lnTo>
                      <a:pt x="152" y="216"/>
                    </a:lnTo>
                    <a:lnTo>
                      <a:pt x="138" y="228"/>
                    </a:lnTo>
                    <a:lnTo>
                      <a:pt x="122" y="238"/>
                    </a:lnTo>
                    <a:lnTo>
                      <a:pt x="112" y="242"/>
                    </a:lnTo>
                    <a:lnTo>
                      <a:pt x="102" y="246"/>
                    </a:lnTo>
                    <a:lnTo>
                      <a:pt x="92" y="246"/>
                    </a:lnTo>
                    <a:lnTo>
                      <a:pt x="80" y="248"/>
                    </a:lnTo>
                    <a:lnTo>
                      <a:pt x="80" y="248"/>
                    </a:lnTo>
                    <a:lnTo>
                      <a:pt x="60" y="246"/>
                    </a:lnTo>
                    <a:lnTo>
                      <a:pt x="44" y="242"/>
                    </a:lnTo>
                    <a:lnTo>
                      <a:pt x="30" y="234"/>
                    </a:lnTo>
                    <a:lnTo>
                      <a:pt x="18" y="226"/>
                    </a:lnTo>
                    <a:lnTo>
                      <a:pt x="10" y="216"/>
                    </a:lnTo>
                    <a:lnTo>
                      <a:pt x="4" y="202"/>
                    </a:lnTo>
                    <a:lnTo>
                      <a:pt x="0" y="188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2" y="156"/>
                    </a:lnTo>
                    <a:lnTo>
                      <a:pt x="8" y="142"/>
                    </a:lnTo>
                    <a:lnTo>
                      <a:pt x="20" y="128"/>
                    </a:lnTo>
                    <a:lnTo>
                      <a:pt x="34" y="116"/>
                    </a:lnTo>
                    <a:lnTo>
                      <a:pt x="54" y="108"/>
                    </a:lnTo>
                    <a:lnTo>
                      <a:pt x="76" y="102"/>
                    </a:lnTo>
                    <a:lnTo>
                      <a:pt x="104" y="98"/>
                    </a:lnTo>
                    <a:lnTo>
                      <a:pt x="134" y="96"/>
                    </a:lnTo>
                    <a:lnTo>
                      <a:pt x="162" y="96"/>
                    </a:lnTo>
                    <a:lnTo>
                      <a:pt x="162" y="96"/>
                    </a:lnTo>
                    <a:lnTo>
                      <a:pt x="164" y="78"/>
                    </a:lnTo>
                    <a:lnTo>
                      <a:pt x="164" y="70"/>
                    </a:lnTo>
                    <a:lnTo>
                      <a:pt x="162" y="60"/>
                    </a:lnTo>
                    <a:lnTo>
                      <a:pt x="160" y="52"/>
                    </a:lnTo>
                    <a:lnTo>
                      <a:pt x="154" y="46"/>
                    </a:lnTo>
                    <a:lnTo>
                      <a:pt x="146" y="42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26" y="42"/>
                    </a:lnTo>
                    <a:lnTo>
                      <a:pt x="120" y="44"/>
                    </a:lnTo>
                    <a:lnTo>
                      <a:pt x="114" y="48"/>
                    </a:lnTo>
                    <a:lnTo>
                      <a:pt x="110" y="54"/>
                    </a:lnTo>
                    <a:lnTo>
                      <a:pt x="106" y="66"/>
                    </a:lnTo>
                    <a:lnTo>
                      <a:pt x="104" y="76"/>
                    </a:lnTo>
                    <a:lnTo>
                      <a:pt x="22" y="76"/>
                    </a:lnTo>
                    <a:lnTo>
                      <a:pt x="22" y="76"/>
                    </a:lnTo>
                    <a:lnTo>
                      <a:pt x="24" y="66"/>
                    </a:lnTo>
                    <a:lnTo>
                      <a:pt x="26" y="54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38" y="30"/>
                    </a:lnTo>
                    <a:lnTo>
                      <a:pt x="46" y="24"/>
                    </a:lnTo>
                    <a:lnTo>
                      <a:pt x="54" y="18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2" y="6"/>
                    </a:lnTo>
                    <a:lnTo>
                      <a:pt x="102" y="2"/>
                    </a:lnTo>
                    <a:lnTo>
                      <a:pt x="124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64" y="0"/>
                    </a:lnTo>
                    <a:lnTo>
                      <a:pt x="182" y="4"/>
                    </a:lnTo>
                    <a:lnTo>
                      <a:pt x="200" y="10"/>
                    </a:lnTo>
                    <a:lnTo>
                      <a:pt x="216" y="18"/>
                    </a:lnTo>
                    <a:lnTo>
                      <a:pt x="230" y="30"/>
                    </a:lnTo>
                    <a:lnTo>
                      <a:pt x="236" y="38"/>
                    </a:lnTo>
                    <a:lnTo>
                      <a:pt x="240" y="44"/>
                    </a:lnTo>
                    <a:lnTo>
                      <a:pt x="244" y="52"/>
                    </a:lnTo>
                    <a:lnTo>
                      <a:pt x="246" y="62"/>
                    </a:lnTo>
                    <a:lnTo>
                      <a:pt x="248" y="72"/>
                    </a:lnTo>
                    <a:lnTo>
                      <a:pt x="248" y="82"/>
                    </a:lnTo>
                    <a:lnTo>
                      <a:pt x="242" y="196"/>
                    </a:lnTo>
                    <a:lnTo>
                      <a:pt x="242" y="196"/>
                    </a:lnTo>
                    <a:lnTo>
                      <a:pt x="240" y="214"/>
                    </a:lnTo>
                    <a:lnTo>
                      <a:pt x="242" y="246"/>
                    </a:lnTo>
                    <a:lnTo>
                      <a:pt x="158" y="246"/>
                    </a:lnTo>
                    <a:lnTo>
                      <a:pt x="152" y="216"/>
                    </a:lnTo>
                    <a:close/>
                    <a:moveTo>
                      <a:pt x="114" y="200"/>
                    </a:moveTo>
                    <a:lnTo>
                      <a:pt x="114" y="200"/>
                    </a:lnTo>
                    <a:lnTo>
                      <a:pt x="128" y="198"/>
                    </a:lnTo>
                    <a:lnTo>
                      <a:pt x="138" y="194"/>
                    </a:lnTo>
                    <a:lnTo>
                      <a:pt x="146" y="186"/>
                    </a:lnTo>
                    <a:lnTo>
                      <a:pt x="152" y="176"/>
                    </a:lnTo>
                    <a:lnTo>
                      <a:pt x="156" y="166"/>
                    </a:lnTo>
                    <a:lnTo>
                      <a:pt x="158" y="154"/>
                    </a:lnTo>
                    <a:lnTo>
                      <a:pt x="160" y="130"/>
                    </a:lnTo>
                    <a:lnTo>
                      <a:pt x="160" y="130"/>
                    </a:lnTo>
                    <a:lnTo>
                      <a:pt x="134" y="130"/>
                    </a:lnTo>
                    <a:lnTo>
                      <a:pt x="122" y="132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2" y="140"/>
                    </a:lnTo>
                    <a:lnTo>
                      <a:pt x="94" y="148"/>
                    </a:lnTo>
                    <a:lnTo>
                      <a:pt x="88" y="158"/>
                    </a:lnTo>
                    <a:lnTo>
                      <a:pt x="86" y="170"/>
                    </a:lnTo>
                    <a:lnTo>
                      <a:pt x="86" y="170"/>
                    </a:lnTo>
                    <a:lnTo>
                      <a:pt x="86" y="176"/>
                    </a:lnTo>
                    <a:lnTo>
                      <a:pt x="88" y="182"/>
                    </a:lnTo>
                    <a:lnTo>
                      <a:pt x="92" y="192"/>
                    </a:lnTo>
                    <a:lnTo>
                      <a:pt x="96" y="194"/>
                    </a:lnTo>
                    <a:lnTo>
                      <a:pt x="102" y="198"/>
                    </a:lnTo>
                    <a:lnTo>
                      <a:pt x="108" y="200"/>
                    </a:lnTo>
                    <a:lnTo>
                      <a:pt x="114" y="200"/>
                    </a:lnTo>
                    <a:lnTo>
                      <a:pt x="114" y="2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11"/>
              <p:cNvSpPr>
                <a:spLocks noEditPoints="1"/>
              </p:cNvSpPr>
              <p:nvPr/>
            </p:nvSpPr>
            <p:spPr bwMode="auto">
              <a:xfrm>
                <a:off x="6092825" y="352425"/>
                <a:ext cx="454025" cy="542925"/>
              </a:xfrm>
              <a:custGeom>
                <a:avLst/>
                <a:gdLst>
                  <a:gd name="T0" fmla="*/ 0 w 286"/>
                  <a:gd name="T1" fmla="*/ 342 h 342"/>
                  <a:gd name="T2" fmla="*/ 24 w 286"/>
                  <a:gd name="T3" fmla="*/ 0 h 342"/>
                  <a:gd name="T4" fmla="*/ 114 w 286"/>
                  <a:gd name="T5" fmla="*/ 0 h 342"/>
                  <a:gd name="T6" fmla="*/ 90 w 286"/>
                  <a:gd name="T7" fmla="*/ 342 h 342"/>
                  <a:gd name="T8" fmla="*/ 0 w 286"/>
                  <a:gd name="T9" fmla="*/ 342 h 342"/>
                  <a:gd name="T10" fmla="*/ 100 w 286"/>
                  <a:gd name="T11" fmla="*/ 210 h 342"/>
                  <a:gd name="T12" fmla="*/ 184 w 286"/>
                  <a:gd name="T13" fmla="*/ 104 h 342"/>
                  <a:gd name="T14" fmla="*/ 286 w 286"/>
                  <a:gd name="T15" fmla="*/ 104 h 342"/>
                  <a:gd name="T16" fmla="*/ 194 w 286"/>
                  <a:gd name="T17" fmla="*/ 204 h 342"/>
                  <a:gd name="T18" fmla="*/ 282 w 286"/>
                  <a:gd name="T19" fmla="*/ 342 h 342"/>
                  <a:gd name="T20" fmla="*/ 170 w 286"/>
                  <a:gd name="T21" fmla="*/ 342 h 342"/>
                  <a:gd name="T22" fmla="*/ 100 w 286"/>
                  <a:gd name="T23" fmla="*/ 21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6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4" y="0"/>
                    </a:lnTo>
                    <a:lnTo>
                      <a:pt x="90" y="342"/>
                    </a:lnTo>
                    <a:lnTo>
                      <a:pt x="0" y="342"/>
                    </a:lnTo>
                    <a:close/>
                    <a:moveTo>
                      <a:pt x="100" y="210"/>
                    </a:moveTo>
                    <a:lnTo>
                      <a:pt x="184" y="104"/>
                    </a:lnTo>
                    <a:lnTo>
                      <a:pt x="286" y="104"/>
                    </a:lnTo>
                    <a:lnTo>
                      <a:pt x="194" y="204"/>
                    </a:lnTo>
                    <a:lnTo>
                      <a:pt x="282" y="342"/>
                    </a:lnTo>
                    <a:lnTo>
                      <a:pt x="170" y="342"/>
                    </a:lnTo>
                    <a:lnTo>
                      <a:pt x="10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12"/>
              <p:cNvSpPr>
                <a:spLocks/>
              </p:cNvSpPr>
              <p:nvPr/>
            </p:nvSpPr>
            <p:spPr bwMode="auto">
              <a:xfrm>
                <a:off x="3606800" y="517525"/>
                <a:ext cx="292100" cy="377825"/>
              </a:xfrm>
              <a:custGeom>
                <a:avLst/>
                <a:gdLst>
                  <a:gd name="T0" fmla="*/ 104 w 184"/>
                  <a:gd name="T1" fmla="*/ 34 h 238"/>
                  <a:gd name="T2" fmla="*/ 106 w 184"/>
                  <a:gd name="T3" fmla="*/ 34 h 238"/>
                  <a:gd name="T4" fmla="*/ 106 w 184"/>
                  <a:gd name="T5" fmla="*/ 34 h 238"/>
                  <a:gd name="T6" fmla="*/ 114 w 184"/>
                  <a:gd name="T7" fmla="*/ 24 h 238"/>
                  <a:gd name="T8" fmla="*/ 124 w 184"/>
                  <a:gd name="T9" fmla="*/ 16 h 238"/>
                  <a:gd name="T10" fmla="*/ 132 w 184"/>
                  <a:gd name="T11" fmla="*/ 10 h 238"/>
                  <a:gd name="T12" fmla="*/ 142 w 184"/>
                  <a:gd name="T13" fmla="*/ 6 h 238"/>
                  <a:gd name="T14" fmla="*/ 152 w 184"/>
                  <a:gd name="T15" fmla="*/ 4 h 238"/>
                  <a:gd name="T16" fmla="*/ 162 w 184"/>
                  <a:gd name="T17" fmla="*/ 2 h 238"/>
                  <a:gd name="T18" fmla="*/ 184 w 184"/>
                  <a:gd name="T19" fmla="*/ 0 h 238"/>
                  <a:gd name="T20" fmla="*/ 178 w 184"/>
                  <a:gd name="T21" fmla="*/ 76 h 238"/>
                  <a:gd name="T22" fmla="*/ 178 w 184"/>
                  <a:gd name="T23" fmla="*/ 76 h 238"/>
                  <a:gd name="T24" fmla="*/ 160 w 184"/>
                  <a:gd name="T25" fmla="*/ 76 h 238"/>
                  <a:gd name="T26" fmla="*/ 160 w 184"/>
                  <a:gd name="T27" fmla="*/ 76 h 238"/>
                  <a:gd name="T28" fmla="*/ 140 w 184"/>
                  <a:gd name="T29" fmla="*/ 78 h 238"/>
                  <a:gd name="T30" fmla="*/ 126 w 184"/>
                  <a:gd name="T31" fmla="*/ 82 h 238"/>
                  <a:gd name="T32" fmla="*/ 116 w 184"/>
                  <a:gd name="T33" fmla="*/ 88 h 238"/>
                  <a:gd name="T34" fmla="*/ 108 w 184"/>
                  <a:gd name="T35" fmla="*/ 98 h 238"/>
                  <a:gd name="T36" fmla="*/ 102 w 184"/>
                  <a:gd name="T37" fmla="*/ 108 h 238"/>
                  <a:gd name="T38" fmla="*/ 100 w 184"/>
                  <a:gd name="T39" fmla="*/ 120 h 238"/>
                  <a:gd name="T40" fmla="*/ 98 w 184"/>
                  <a:gd name="T41" fmla="*/ 148 h 238"/>
                  <a:gd name="T42" fmla="*/ 92 w 184"/>
                  <a:gd name="T43" fmla="*/ 238 h 238"/>
                  <a:gd name="T44" fmla="*/ 0 w 184"/>
                  <a:gd name="T45" fmla="*/ 238 h 238"/>
                  <a:gd name="T46" fmla="*/ 12 w 184"/>
                  <a:gd name="T47" fmla="*/ 62 h 238"/>
                  <a:gd name="T48" fmla="*/ 12 w 184"/>
                  <a:gd name="T49" fmla="*/ 62 h 238"/>
                  <a:gd name="T50" fmla="*/ 14 w 184"/>
                  <a:gd name="T51" fmla="*/ 32 h 238"/>
                  <a:gd name="T52" fmla="*/ 14 w 184"/>
                  <a:gd name="T53" fmla="*/ 0 h 238"/>
                  <a:gd name="T54" fmla="*/ 102 w 184"/>
                  <a:gd name="T55" fmla="*/ 0 h 238"/>
                  <a:gd name="T56" fmla="*/ 104 w 184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4" h="238">
                    <a:moveTo>
                      <a:pt x="104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4" y="24"/>
                    </a:lnTo>
                    <a:lnTo>
                      <a:pt x="124" y="16"/>
                    </a:lnTo>
                    <a:lnTo>
                      <a:pt x="132" y="10"/>
                    </a:lnTo>
                    <a:lnTo>
                      <a:pt x="142" y="6"/>
                    </a:lnTo>
                    <a:lnTo>
                      <a:pt x="152" y="4"/>
                    </a:lnTo>
                    <a:lnTo>
                      <a:pt x="162" y="2"/>
                    </a:lnTo>
                    <a:lnTo>
                      <a:pt x="184" y="0"/>
                    </a:lnTo>
                    <a:lnTo>
                      <a:pt x="178" y="76"/>
                    </a:lnTo>
                    <a:lnTo>
                      <a:pt x="178" y="76"/>
                    </a:lnTo>
                    <a:lnTo>
                      <a:pt x="160" y="76"/>
                    </a:lnTo>
                    <a:lnTo>
                      <a:pt x="160" y="76"/>
                    </a:lnTo>
                    <a:lnTo>
                      <a:pt x="140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2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4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13"/>
              <p:cNvSpPr>
                <a:spLocks/>
              </p:cNvSpPr>
              <p:nvPr/>
            </p:nvSpPr>
            <p:spPr bwMode="auto">
              <a:xfrm>
                <a:off x="3889375" y="352425"/>
                <a:ext cx="174625" cy="542925"/>
              </a:xfrm>
              <a:custGeom>
                <a:avLst/>
                <a:gdLst>
                  <a:gd name="T0" fmla="*/ 0 w 110"/>
                  <a:gd name="T1" fmla="*/ 342 h 342"/>
                  <a:gd name="T2" fmla="*/ 24 w 110"/>
                  <a:gd name="T3" fmla="*/ 0 h 342"/>
                  <a:gd name="T4" fmla="*/ 110 w 110"/>
                  <a:gd name="T5" fmla="*/ 0 h 342"/>
                  <a:gd name="T6" fmla="*/ 86 w 110"/>
                  <a:gd name="T7" fmla="*/ 342 h 342"/>
                  <a:gd name="T8" fmla="*/ 0 w 110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0" y="0"/>
                    </a:lnTo>
                    <a:lnTo>
                      <a:pt x="86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14"/>
              <p:cNvSpPr>
                <a:spLocks noEditPoints="1"/>
              </p:cNvSpPr>
              <p:nvPr/>
            </p:nvSpPr>
            <p:spPr bwMode="auto">
              <a:xfrm>
                <a:off x="2740025" y="352425"/>
                <a:ext cx="438150" cy="546100"/>
              </a:xfrm>
              <a:custGeom>
                <a:avLst/>
                <a:gdLst>
                  <a:gd name="T0" fmla="*/ 112 w 276"/>
                  <a:gd name="T1" fmla="*/ 0 h 344"/>
                  <a:gd name="T2" fmla="*/ 104 w 276"/>
                  <a:gd name="T3" fmla="*/ 136 h 344"/>
                  <a:gd name="T4" fmla="*/ 120 w 276"/>
                  <a:gd name="T5" fmla="*/ 122 h 344"/>
                  <a:gd name="T6" fmla="*/ 146 w 276"/>
                  <a:gd name="T7" fmla="*/ 104 h 344"/>
                  <a:gd name="T8" fmla="*/ 168 w 276"/>
                  <a:gd name="T9" fmla="*/ 98 h 344"/>
                  <a:gd name="T10" fmla="*/ 180 w 276"/>
                  <a:gd name="T11" fmla="*/ 98 h 344"/>
                  <a:gd name="T12" fmla="*/ 206 w 276"/>
                  <a:gd name="T13" fmla="*/ 100 h 344"/>
                  <a:gd name="T14" fmla="*/ 226 w 276"/>
                  <a:gd name="T15" fmla="*/ 108 h 344"/>
                  <a:gd name="T16" fmla="*/ 244 w 276"/>
                  <a:gd name="T17" fmla="*/ 120 h 344"/>
                  <a:gd name="T18" fmla="*/ 258 w 276"/>
                  <a:gd name="T19" fmla="*/ 136 h 344"/>
                  <a:gd name="T20" fmla="*/ 274 w 276"/>
                  <a:gd name="T21" fmla="*/ 176 h 344"/>
                  <a:gd name="T22" fmla="*/ 276 w 276"/>
                  <a:gd name="T23" fmla="*/ 220 h 344"/>
                  <a:gd name="T24" fmla="*/ 274 w 276"/>
                  <a:gd name="T25" fmla="*/ 242 h 344"/>
                  <a:gd name="T26" fmla="*/ 260 w 276"/>
                  <a:gd name="T27" fmla="*/ 284 h 344"/>
                  <a:gd name="T28" fmla="*/ 240 w 276"/>
                  <a:gd name="T29" fmla="*/ 312 h 344"/>
                  <a:gd name="T30" fmla="*/ 222 w 276"/>
                  <a:gd name="T31" fmla="*/ 328 h 344"/>
                  <a:gd name="T32" fmla="*/ 202 w 276"/>
                  <a:gd name="T33" fmla="*/ 338 h 344"/>
                  <a:gd name="T34" fmla="*/ 176 w 276"/>
                  <a:gd name="T35" fmla="*/ 344 h 344"/>
                  <a:gd name="T36" fmla="*/ 160 w 276"/>
                  <a:gd name="T37" fmla="*/ 344 h 344"/>
                  <a:gd name="T38" fmla="*/ 140 w 276"/>
                  <a:gd name="T39" fmla="*/ 342 h 344"/>
                  <a:gd name="T40" fmla="*/ 106 w 276"/>
                  <a:gd name="T41" fmla="*/ 324 h 344"/>
                  <a:gd name="T42" fmla="*/ 92 w 276"/>
                  <a:gd name="T43" fmla="*/ 312 h 344"/>
                  <a:gd name="T44" fmla="*/ 0 w 276"/>
                  <a:gd name="T45" fmla="*/ 342 h 344"/>
                  <a:gd name="T46" fmla="*/ 94 w 276"/>
                  <a:gd name="T47" fmla="*/ 226 h 344"/>
                  <a:gd name="T48" fmla="*/ 96 w 276"/>
                  <a:gd name="T49" fmla="*/ 250 h 344"/>
                  <a:gd name="T50" fmla="*/ 102 w 276"/>
                  <a:gd name="T51" fmla="*/ 272 h 344"/>
                  <a:gd name="T52" fmla="*/ 114 w 276"/>
                  <a:gd name="T53" fmla="*/ 288 h 344"/>
                  <a:gd name="T54" fmla="*/ 134 w 276"/>
                  <a:gd name="T55" fmla="*/ 296 h 344"/>
                  <a:gd name="T56" fmla="*/ 148 w 276"/>
                  <a:gd name="T57" fmla="*/ 294 h 344"/>
                  <a:gd name="T58" fmla="*/ 168 w 276"/>
                  <a:gd name="T59" fmla="*/ 282 h 344"/>
                  <a:gd name="T60" fmla="*/ 180 w 276"/>
                  <a:gd name="T61" fmla="*/ 260 h 344"/>
                  <a:gd name="T62" fmla="*/ 186 w 276"/>
                  <a:gd name="T63" fmla="*/ 222 h 344"/>
                  <a:gd name="T64" fmla="*/ 186 w 276"/>
                  <a:gd name="T65" fmla="*/ 198 h 344"/>
                  <a:gd name="T66" fmla="*/ 180 w 276"/>
                  <a:gd name="T67" fmla="*/ 174 h 344"/>
                  <a:gd name="T68" fmla="*/ 168 w 276"/>
                  <a:gd name="T69" fmla="*/ 156 h 344"/>
                  <a:gd name="T70" fmla="*/ 146 w 276"/>
                  <a:gd name="T71" fmla="*/ 150 h 344"/>
                  <a:gd name="T72" fmla="*/ 132 w 276"/>
                  <a:gd name="T73" fmla="*/ 152 h 344"/>
                  <a:gd name="T74" fmla="*/ 112 w 276"/>
                  <a:gd name="T75" fmla="*/ 166 h 344"/>
                  <a:gd name="T76" fmla="*/ 100 w 276"/>
                  <a:gd name="T77" fmla="*/ 188 h 344"/>
                  <a:gd name="T78" fmla="*/ 94 w 276"/>
                  <a:gd name="T79" fmla="*/ 226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6" h="344">
                    <a:moveTo>
                      <a:pt x="24" y="0"/>
                    </a:moveTo>
                    <a:lnTo>
                      <a:pt x="112" y="0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20" y="122"/>
                    </a:lnTo>
                    <a:lnTo>
                      <a:pt x="138" y="108"/>
                    </a:lnTo>
                    <a:lnTo>
                      <a:pt x="146" y="104"/>
                    </a:lnTo>
                    <a:lnTo>
                      <a:pt x="158" y="100"/>
                    </a:lnTo>
                    <a:lnTo>
                      <a:pt x="168" y="98"/>
                    </a:lnTo>
                    <a:lnTo>
                      <a:pt x="180" y="98"/>
                    </a:lnTo>
                    <a:lnTo>
                      <a:pt x="180" y="98"/>
                    </a:lnTo>
                    <a:lnTo>
                      <a:pt x="194" y="98"/>
                    </a:lnTo>
                    <a:lnTo>
                      <a:pt x="206" y="100"/>
                    </a:lnTo>
                    <a:lnTo>
                      <a:pt x="216" y="104"/>
                    </a:lnTo>
                    <a:lnTo>
                      <a:pt x="226" y="108"/>
                    </a:lnTo>
                    <a:lnTo>
                      <a:pt x="236" y="114"/>
                    </a:lnTo>
                    <a:lnTo>
                      <a:pt x="244" y="120"/>
                    </a:lnTo>
                    <a:lnTo>
                      <a:pt x="250" y="128"/>
                    </a:lnTo>
                    <a:lnTo>
                      <a:pt x="258" y="136"/>
                    </a:lnTo>
                    <a:lnTo>
                      <a:pt x="266" y="156"/>
                    </a:lnTo>
                    <a:lnTo>
                      <a:pt x="274" y="176"/>
                    </a:lnTo>
                    <a:lnTo>
                      <a:pt x="276" y="198"/>
                    </a:lnTo>
                    <a:lnTo>
                      <a:pt x="276" y="220"/>
                    </a:lnTo>
                    <a:lnTo>
                      <a:pt x="276" y="220"/>
                    </a:lnTo>
                    <a:lnTo>
                      <a:pt x="274" y="242"/>
                    </a:lnTo>
                    <a:lnTo>
                      <a:pt x="268" y="264"/>
                    </a:lnTo>
                    <a:lnTo>
                      <a:pt x="260" y="284"/>
                    </a:lnTo>
                    <a:lnTo>
                      <a:pt x="248" y="304"/>
                    </a:lnTo>
                    <a:lnTo>
                      <a:pt x="240" y="312"/>
                    </a:lnTo>
                    <a:lnTo>
                      <a:pt x="232" y="320"/>
                    </a:lnTo>
                    <a:lnTo>
                      <a:pt x="222" y="328"/>
                    </a:lnTo>
                    <a:lnTo>
                      <a:pt x="212" y="334"/>
                    </a:lnTo>
                    <a:lnTo>
                      <a:pt x="202" y="338"/>
                    </a:lnTo>
                    <a:lnTo>
                      <a:pt x="188" y="342"/>
                    </a:lnTo>
                    <a:lnTo>
                      <a:pt x="176" y="344"/>
                    </a:lnTo>
                    <a:lnTo>
                      <a:pt x="160" y="344"/>
                    </a:lnTo>
                    <a:lnTo>
                      <a:pt x="160" y="344"/>
                    </a:lnTo>
                    <a:lnTo>
                      <a:pt x="150" y="344"/>
                    </a:lnTo>
                    <a:lnTo>
                      <a:pt x="140" y="342"/>
                    </a:lnTo>
                    <a:lnTo>
                      <a:pt x="122" y="336"/>
                    </a:lnTo>
                    <a:lnTo>
                      <a:pt x="106" y="324"/>
                    </a:lnTo>
                    <a:lnTo>
                      <a:pt x="94" y="312"/>
                    </a:lnTo>
                    <a:lnTo>
                      <a:pt x="92" y="312"/>
                    </a:lnTo>
                    <a:lnTo>
                      <a:pt x="88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  <a:moveTo>
                      <a:pt x="94" y="226"/>
                    </a:moveTo>
                    <a:lnTo>
                      <a:pt x="94" y="226"/>
                    </a:lnTo>
                    <a:lnTo>
                      <a:pt x="96" y="250"/>
                    </a:lnTo>
                    <a:lnTo>
                      <a:pt x="98" y="260"/>
                    </a:lnTo>
                    <a:lnTo>
                      <a:pt x="102" y="272"/>
                    </a:lnTo>
                    <a:lnTo>
                      <a:pt x="106" y="282"/>
                    </a:lnTo>
                    <a:lnTo>
                      <a:pt x="114" y="288"/>
                    </a:lnTo>
                    <a:lnTo>
                      <a:pt x="122" y="294"/>
                    </a:lnTo>
                    <a:lnTo>
                      <a:pt x="134" y="296"/>
                    </a:lnTo>
                    <a:lnTo>
                      <a:pt x="134" y="296"/>
                    </a:lnTo>
                    <a:lnTo>
                      <a:pt x="148" y="294"/>
                    </a:lnTo>
                    <a:lnTo>
                      <a:pt x="158" y="288"/>
                    </a:lnTo>
                    <a:lnTo>
                      <a:pt x="168" y="282"/>
                    </a:lnTo>
                    <a:lnTo>
                      <a:pt x="174" y="272"/>
                    </a:lnTo>
                    <a:lnTo>
                      <a:pt x="180" y="260"/>
                    </a:lnTo>
                    <a:lnTo>
                      <a:pt x="184" y="248"/>
                    </a:lnTo>
                    <a:lnTo>
                      <a:pt x="186" y="222"/>
                    </a:lnTo>
                    <a:lnTo>
                      <a:pt x="186" y="222"/>
                    </a:lnTo>
                    <a:lnTo>
                      <a:pt x="186" y="198"/>
                    </a:lnTo>
                    <a:lnTo>
                      <a:pt x="184" y="186"/>
                    </a:lnTo>
                    <a:lnTo>
                      <a:pt x="180" y="174"/>
                    </a:lnTo>
                    <a:lnTo>
                      <a:pt x="176" y="164"/>
                    </a:lnTo>
                    <a:lnTo>
                      <a:pt x="168" y="156"/>
                    </a:lnTo>
                    <a:lnTo>
                      <a:pt x="158" y="152"/>
                    </a:lnTo>
                    <a:lnTo>
                      <a:pt x="146" y="150"/>
                    </a:lnTo>
                    <a:lnTo>
                      <a:pt x="146" y="150"/>
                    </a:lnTo>
                    <a:lnTo>
                      <a:pt x="132" y="152"/>
                    </a:lnTo>
                    <a:lnTo>
                      <a:pt x="120" y="156"/>
                    </a:lnTo>
                    <a:lnTo>
                      <a:pt x="112" y="166"/>
                    </a:lnTo>
                    <a:lnTo>
                      <a:pt x="104" y="176"/>
                    </a:lnTo>
                    <a:lnTo>
                      <a:pt x="100" y="188"/>
                    </a:lnTo>
                    <a:lnTo>
                      <a:pt x="98" y="200"/>
                    </a:lnTo>
                    <a:lnTo>
                      <a:pt x="94" y="226"/>
                    </a:lnTo>
                    <a:lnTo>
                      <a:pt x="94" y="2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15"/>
              <p:cNvSpPr>
                <a:spLocks noEditPoints="1"/>
              </p:cNvSpPr>
              <p:nvPr/>
            </p:nvSpPr>
            <p:spPr bwMode="auto">
              <a:xfrm>
                <a:off x="3197225" y="504825"/>
                <a:ext cx="406400" cy="396875"/>
              </a:xfrm>
              <a:custGeom>
                <a:avLst/>
                <a:gdLst>
                  <a:gd name="T0" fmla="*/ 86 w 256"/>
                  <a:gd name="T1" fmla="*/ 142 h 250"/>
                  <a:gd name="T2" fmla="*/ 86 w 256"/>
                  <a:gd name="T3" fmla="*/ 166 h 250"/>
                  <a:gd name="T4" fmla="*/ 90 w 256"/>
                  <a:gd name="T5" fmla="*/ 184 h 250"/>
                  <a:gd name="T6" fmla="*/ 102 w 256"/>
                  <a:gd name="T7" fmla="*/ 196 h 250"/>
                  <a:gd name="T8" fmla="*/ 124 w 256"/>
                  <a:gd name="T9" fmla="*/ 202 h 250"/>
                  <a:gd name="T10" fmla="*/ 132 w 256"/>
                  <a:gd name="T11" fmla="*/ 200 h 250"/>
                  <a:gd name="T12" fmla="*/ 148 w 256"/>
                  <a:gd name="T13" fmla="*/ 196 h 250"/>
                  <a:gd name="T14" fmla="*/ 158 w 256"/>
                  <a:gd name="T15" fmla="*/ 186 h 250"/>
                  <a:gd name="T16" fmla="*/ 164 w 256"/>
                  <a:gd name="T17" fmla="*/ 174 h 250"/>
                  <a:gd name="T18" fmla="*/ 248 w 256"/>
                  <a:gd name="T19" fmla="*/ 170 h 250"/>
                  <a:gd name="T20" fmla="*/ 246 w 256"/>
                  <a:gd name="T21" fmla="*/ 180 h 250"/>
                  <a:gd name="T22" fmla="*/ 238 w 256"/>
                  <a:gd name="T23" fmla="*/ 198 h 250"/>
                  <a:gd name="T24" fmla="*/ 218 w 256"/>
                  <a:gd name="T25" fmla="*/ 222 h 250"/>
                  <a:gd name="T26" fmla="*/ 202 w 256"/>
                  <a:gd name="T27" fmla="*/ 234 h 250"/>
                  <a:gd name="T28" fmla="*/ 168 w 256"/>
                  <a:gd name="T29" fmla="*/ 246 h 250"/>
                  <a:gd name="T30" fmla="*/ 128 w 256"/>
                  <a:gd name="T31" fmla="*/ 250 h 250"/>
                  <a:gd name="T32" fmla="*/ 96 w 256"/>
                  <a:gd name="T33" fmla="*/ 248 h 250"/>
                  <a:gd name="T34" fmla="*/ 66 w 256"/>
                  <a:gd name="T35" fmla="*/ 242 h 250"/>
                  <a:gd name="T36" fmla="*/ 44 w 256"/>
                  <a:gd name="T37" fmla="*/ 232 h 250"/>
                  <a:gd name="T38" fmla="*/ 26 w 256"/>
                  <a:gd name="T39" fmla="*/ 218 h 250"/>
                  <a:gd name="T40" fmla="*/ 12 w 256"/>
                  <a:gd name="T41" fmla="*/ 200 h 250"/>
                  <a:gd name="T42" fmla="*/ 4 w 256"/>
                  <a:gd name="T43" fmla="*/ 178 h 250"/>
                  <a:gd name="T44" fmla="*/ 0 w 256"/>
                  <a:gd name="T45" fmla="*/ 150 h 250"/>
                  <a:gd name="T46" fmla="*/ 0 w 256"/>
                  <a:gd name="T47" fmla="*/ 118 h 250"/>
                  <a:gd name="T48" fmla="*/ 4 w 256"/>
                  <a:gd name="T49" fmla="*/ 92 h 250"/>
                  <a:gd name="T50" fmla="*/ 14 w 256"/>
                  <a:gd name="T51" fmla="*/ 68 h 250"/>
                  <a:gd name="T52" fmla="*/ 26 w 256"/>
                  <a:gd name="T53" fmla="*/ 48 h 250"/>
                  <a:gd name="T54" fmla="*/ 44 w 256"/>
                  <a:gd name="T55" fmla="*/ 32 h 250"/>
                  <a:gd name="T56" fmla="*/ 86 w 256"/>
                  <a:gd name="T57" fmla="*/ 8 h 250"/>
                  <a:gd name="T58" fmla="*/ 138 w 256"/>
                  <a:gd name="T59" fmla="*/ 0 h 250"/>
                  <a:gd name="T60" fmla="*/ 154 w 256"/>
                  <a:gd name="T61" fmla="*/ 2 h 250"/>
                  <a:gd name="T62" fmla="*/ 184 w 256"/>
                  <a:gd name="T63" fmla="*/ 6 h 250"/>
                  <a:gd name="T64" fmla="*/ 208 w 256"/>
                  <a:gd name="T65" fmla="*/ 18 h 250"/>
                  <a:gd name="T66" fmla="*/ 228 w 256"/>
                  <a:gd name="T67" fmla="*/ 32 h 250"/>
                  <a:gd name="T68" fmla="*/ 242 w 256"/>
                  <a:gd name="T69" fmla="*/ 50 h 250"/>
                  <a:gd name="T70" fmla="*/ 250 w 256"/>
                  <a:gd name="T71" fmla="*/ 72 h 250"/>
                  <a:gd name="T72" fmla="*/ 256 w 256"/>
                  <a:gd name="T73" fmla="*/ 112 h 250"/>
                  <a:gd name="T74" fmla="*/ 86 w 256"/>
                  <a:gd name="T75" fmla="*/ 142 h 250"/>
                  <a:gd name="T76" fmla="*/ 172 w 256"/>
                  <a:gd name="T77" fmla="*/ 98 h 250"/>
                  <a:gd name="T78" fmla="*/ 170 w 256"/>
                  <a:gd name="T79" fmla="*/ 78 h 250"/>
                  <a:gd name="T80" fmla="*/ 164 w 256"/>
                  <a:gd name="T81" fmla="*/ 62 h 250"/>
                  <a:gd name="T82" fmla="*/ 158 w 256"/>
                  <a:gd name="T83" fmla="*/ 56 h 250"/>
                  <a:gd name="T84" fmla="*/ 142 w 256"/>
                  <a:gd name="T85" fmla="*/ 48 h 250"/>
                  <a:gd name="T86" fmla="*/ 134 w 256"/>
                  <a:gd name="T87" fmla="*/ 46 h 250"/>
                  <a:gd name="T88" fmla="*/ 114 w 256"/>
                  <a:gd name="T89" fmla="*/ 52 h 250"/>
                  <a:gd name="T90" fmla="*/ 102 w 256"/>
                  <a:gd name="T91" fmla="*/ 62 h 250"/>
                  <a:gd name="T92" fmla="*/ 94 w 256"/>
                  <a:gd name="T93" fmla="*/ 78 h 250"/>
                  <a:gd name="T94" fmla="*/ 172 w 256"/>
                  <a:gd name="T95" fmla="*/ 98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6" h="250">
                    <a:moveTo>
                      <a:pt x="86" y="142"/>
                    </a:moveTo>
                    <a:lnTo>
                      <a:pt x="86" y="142"/>
                    </a:lnTo>
                    <a:lnTo>
                      <a:pt x="84" y="154"/>
                    </a:lnTo>
                    <a:lnTo>
                      <a:pt x="86" y="166"/>
                    </a:lnTo>
                    <a:lnTo>
                      <a:pt x="88" y="176"/>
                    </a:lnTo>
                    <a:lnTo>
                      <a:pt x="90" y="184"/>
                    </a:lnTo>
                    <a:lnTo>
                      <a:pt x="96" y="192"/>
                    </a:lnTo>
                    <a:lnTo>
                      <a:pt x="102" y="196"/>
                    </a:lnTo>
                    <a:lnTo>
                      <a:pt x="112" y="200"/>
                    </a:lnTo>
                    <a:lnTo>
                      <a:pt x="124" y="202"/>
                    </a:lnTo>
                    <a:lnTo>
                      <a:pt x="124" y="202"/>
                    </a:lnTo>
                    <a:lnTo>
                      <a:pt x="132" y="200"/>
                    </a:lnTo>
                    <a:lnTo>
                      <a:pt x="140" y="198"/>
                    </a:lnTo>
                    <a:lnTo>
                      <a:pt x="148" y="196"/>
                    </a:lnTo>
                    <a:lnTo>
                      <a:pt x="154" y="192"/>
                    </a:lnTo>
                    <a:lnTo>
                      <a:pt x="158" y="186"/>
                    </a:lnTo>
                    <a:lnTo>
                      <a:pt x="162" y="180"/>
                    </a:lnTo>
                    <a:lnTo>
                      <a:pt x="164" y="174"/>
                    </a:lnTo>
                    <a:lnTo>
                      <a:pt x="164" y="170"/>
                    </a:lnTo>
                    <a:lnTo>
                      <a:pt x="248" y="170"/>
                    </a:lnTo>
                    <a:lnTo>
                      <a:pt x="248" y="170"/>
                    </a:lnTo>
                    <a:lnTo>
                      <a:pt x="246" y="180"/>
                    </a:lnTo>
                    <a:lnTo>
                      <a:pt x="242" y="190"/>
                    </a:lnTo>
                    <a:lnTo>
                      <a:pt x="238" y="198"/>
                    </a:lnTo>
                    <a:lnTo>
                      <a:pt x="232" y="208"/>
                    </a:lnTo>
                    <a:lnTo>
                      <a:pt x="218" y="222"/>
                    </a:lnTo>
                    <a:lnTo>
                      <a:pt x="202" y="234"/>
                    </a:lnTo>
                    <a:lnTo>
                      <a:pt x="202" y="234"/>
                    </a:lnTo>
                    <a:lnTo>
                      <a:pt x="186" y="242"/>
                    </a:lnTo>
                    <a:lnTo>
                      <a:pt x="168" y="246"/>
                    </a:lnTo>
                    <a:lnTo>
                      <a:pt x="148" y="248"/>
                    </a:lnTo>
                    <a:lnTo>
                      <a:pt x="128" y="250"/>
                    </a:lnTo>
                    <a:lnTo>
                      <a:pt x="128" y="250"/>
                    </a:lnTo>
                    <a:lnTo>
                      <a:pt x="96" y="248"/>
                    </a:lnTo>
                    <a:lnTo>
                      <a:pt x="80" y="244"/>
                    </a:lnTo>
                    <a:lnTo>
                      <a:pt x="66" y="242"/>
                    </a:lnTo>
                    <a:lnTo>
                      <a:pt x="54" y="238"/>
                    </a:lnTo>
                    <a:lnTo>
                      <a:pt x="44" y="232"/>
                    </a:lnTo>
                    <a:lnTo>
                      <a:pt x="34" y="226"/>
                    </a:lnTo>
                    <a:lnTo>
                      <a:pt x="26" y="218"/>
                    </a:lnTo>
                    <a:lnTo>
                      <a:pt x="18" y="210"/>
                    </a:lnTo>
                    <a:lnTo>
                      <a:pt x="12" y="200"/>
                    </a:lnTo>
                    <a:lnTo>
                      <a:pt x="8" y="190"/>
                    </a:lnTo>
                    <a:lnTo>
                      <a:pt x="4" y="178"/>
                    </a:lnTo>
                    <a:lnTo>
                      <a:pt x="2" y="164"/>
                    </a:lnTo>
                    <a:lnTo>
                      <a:pt x="0" y="150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2" y="106"/>
                    </a:lnTo>
                    <a:lnTo>
                      <a:pt x="4" y="92"/>
                    </a:lnTo>
                    <a:lnTo>
                      <a:pt x="8" y="80"/>
                    </a:lnTo>
                    <a:lnTo>
                      <a:pt x="14" y="68"/>
                    </a:lnTo>
                    <a:lnTo>
                      <a:pt x="20" y="58"/>
                    </a:lnTo>
                    <a:lnTo>
                      <a:pt x="26" y="48"/>
                    </a:lnTo>
                    <a:lnTo>
                      <a:pt x="34" y="40"/>
                    </a:lnTo>
                    <a:lnTo>
                      <a:pt x="44" y="32"/>
                    </a:lnTo>
                    <a:lnTo>
                      <a:pt x="64" y="18"/>
                    </a:lnTo>
                    <a:lnTo>
                      <a:pt x="86" y="8"/>
                    </a:lnTo>
                    <a:lnTo>
                      <a:pt x="110" y="2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4" y="2"/>
                    </a:lnTo>
                    <a:lnTo>
                      <a:pt x="170" y="4"/>
                    </a:lnTo>
                    <a:lnTo>
                      <a:pt x="184" y="6"/>
                    </a:lnTo>
                    <a:lnTo>
                      <a:pt x="196" y="12"/>
                    </a:lnTo>
                    <a:lnTo>
                      <a:pt x="208" y="18"/>
                    </a:lnTo>
                    <a:lnTo>
                      <a:pt x="218" y="24"/>
                    </a:lnTo>
                    <a:lnTo>
                      <a:pt x="228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46" y="60"/>
                    </a:lnTo>
                    <a:lnTo>
                      <a:pt x="250" y="72"/>
                    </a:lnTo>
                    <a:lnTo>
                      <a:pt x="254" y="84"/>
                    </a:lnTo>
                    <a:lnTo>
                      <a:pt x="256" y="112"/>
                    </a:lnTo>
                    <a:lnTo>
                      <a:pt x="254" y="142"/>
                    </a:lnTo>
                    <a:lnTo>
                      <a:pt x="86" y="142"/>
                    </a:lnTo>
                    <a:close/>
                    <a:moveTo>
                      <a:pt x="172" y="98"/>
                    </a:moveTo>
                    <a:lnTo>
                      <a:pt x="172" y="98"/>
                    </a:lnTo>
                    <a:lnTo>
                      <a:pt x="172" y="88"/>
                    </a:lnTo>
                    <a:lnTo>
                      <a:pt x="170" y="78"/>
                    </a:lnTo>
                    <a:lnTo>
                      <a:pt x="168" y="70"/>
                    </a:lnTo>
                    <a:lnTo>
                      <a:pt x="164" y="62"/>
                    </a:lnTo>
                    <a:lnTo>
                      <a:pt x="164" y="62"/>
                    </a:lnTo>
                    <a:lnTo>
                      <a:pt x="158" y="56"/>
                    </a:lnTo>
                    <a:lnTo>
                      <a:pt x="150" y="50"/>
                    </a:lnTo>
                    <a:lnTo>
                      <a:pt x="142" y="48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22" y="48"/>
                    </a:lnTo>
                    <a:lnTo>
                      <a:pt x="114" y="52"/>
                    </a:lnTo>
                    <a:lnTo>
                      <a:pt x="106" y="56"/>
                    </a:lnTo>
                    <a:lnTo>
                      <a:pt x="102" y="62"/>
                    </a:lnTo>
                    <a:lnTo>
                      <a:pt x="96" y="70"/>
                    </a:lnTo>
                    <a:lnTo>
                      <a:pt x="94" y="78"/>
                    </a:lnTo>
                    <a:lnTo>
                      <a:pt x="90" y="98"/>
                    </a:lnTo>
                    <a:lnTo>
                      <a:pt x="172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16"/>
              <p:cNvSpPr>
                <a:spLocks/>
              </p:cNvSpPr>
              <p:nvPr/>
            </p:nvSpPr>
            <p:spPr bwMode="auto">
              <a:xfrm>
                <a:off x="1314450" y="352425"/>
                <a:ext cx="196850" cy="542925"/>
              </a:xfrm>
              <a:custGeom>
                <a:avLst/>
                <a:gdLst>
                  <a:gd name="T0" fmla="*/ 24 w 124"/>
                  <a:gd name="T1" fmla="*/ 0 h 342"/>
                  <a:gd name="T2" fmla="*/ 124 w 124"/>
                  <a:gd name="T3" fmla="*/ 0 h 342"/>
                  <a:gd name="T4" fmla="*/ 100 w 124"/>
                  <a:gd name="T5" fmla="*/ 342 h 342"/>
                  <a:gd name="T6" fmla="*/ 0 w 124"/>
                  <a:gd name="T7" fmla="*/ 342 h 342"/>
                  <a:gd name="T8" fmla="*/ 24 w 124"/>
                  <a:gd name="T9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342">
                    <a:moveTo>
                      <a:pt x="24" y="0"/>
                    </a:moveTo>
                    <a:lnTo>
                      <a:pt x="124" y="0"/>
                    </a:lnTo>
                    <a:lnTo>
                      <a:pt x="100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17"/>
              <p:cNvSpPr>
                <a:spLocks/>
              </p:cNvSpPr>
              <p:nvPr/>
            </p:nvSpPr>
            <p:spPr bwMode="auto">
              <a:xfrm>
                <a:off x="1498600" y="352425"/>
                <a:ext cx="368300" cy="542925"/>
              </a:xfrm>
              <a:custGeom>
                <a:avLst/>
                <a:gdLst>
                  <a:gd name="T0" fmla="*/ 120 w 232"/>
                  <a:gd name="T1" fmla="*/ 0 h 342"/>
                  <a:gd name="T2" fmla="*/ 0 w 232"/>
                  <a:gd name="T3" fmla="*/ 152 h 342"/>
                  <a:gd name="T4" fmla="*/ 106 w 232"/>
                  <a:gd name="T5" fmla="*/ 342 h 342"/>
                  <a:gd name="T6" fmla="*/ 226 w 232"/>
                  <a:gd name="T7" fmla="*/ 342 h 342"/>
                  <a:gd name="T8" fmla="*/ 106 w 232"/>
                  <a:gd name="T9" fmla="*/ 148 h 342"/>
                  <a:gd name="T10" fmla="*/ 232 w 232"/>
                  <a:gd name="T11" fmla="*/ 0 h 342"/>
                  <a:gd name="T12" fmla="*/ 120 w 232"/>
                  <a:gd name="T13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2" h="342">
                    <a:moveTo>
                      <a:pt x="120" y="0"/>
                    </a:moveTo>
                    <a:lnTo>
                      <a:pt x="0" y="152"/>
                    </a:lnTo>
                    <a:lnTo>
                      <a:pt x="106" y="342"/>
                    </a:lnTo>
                    <a:lnTo>
                      <a:pt x="226" y="342"/>
                    </a:lnTo>
                    <a:lnTo>
                      <a:pt x="106" y="148"/>
                    </a:lnTo>
                    <a:lnTo>
                      <a:pt x="232" y="0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18"/>
              <p:cNvSpPr>
                <a:spLocks/>
              </p:cNvSpPr>
              <p:nvPr/>
            </p:nvSpPr>
            <p:spPr bwMode="auto">
              <a:xfrm>
                <a:off x="1876425" y="517525"/>
                <a:ext cx="158750" cy="377825"/>
              </a:xfrm>
              <a:custGeom>
                <a:avLst/>
                <a:gdLst>
                  <a:gd name="T0" fmla="*/ 16 w 100"/>
                  <a:gd name="T1" fmla="*/ 0 h 238"/>
                  <a:gd name="T2" fmla="*/ 100 w 100"/>
                  <a:gd name="T3" fmla="*/ 0 h 238"/>
                  <a:gd name="T4" fmla="*/ 84 w 100"/>
                  <a:gd name="T5" fmla="*/ 238 h 238"/>
                  <a:gd name="T6" fmla="*/ 0 w 100"/>
                  <a:gd name="T7" fmla="*/ 238 h 238"/>
                  <a:gd name="T8" fmla="*/ 16 w 100"/>
                  <a:gd name="T9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238">
                    <a:moveTo>
                      <a:pt x="16" y="0"/>
                    </a:moveTo>
                    <a:lnTo>
                      <a:pt x="100" y="0"/>
                    </a:lnTo>
                    <a:lnTo>
                      <a:pt x="84" y="238"/>
                    </a:lnTo>
                    <a:lnTo>
                      <a:pt x="0" y="238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19"/>
              <p:cNvSpPr>
                <a:spLocks/>
              </p:cNvSpPr>
              <p:nvPr/>
            </p:nvSpPr>
            <p:spPr bwMode="auto">
              <a:xfrm>
                <a:off x="2038350" y="504825"/>
                <a:ext cx="692150" cy="390525"/>
              </a:xfrm>
              <a:custGeom>
                <a:avLst/>
                <a:gdLst>
                  <a:gd name="T0" fmla="*/ 106 w 436"/>
                  <a:gd name="T1" fmla="*/ 40 h 246"/>
                  <a:gd name="T2" fmla="*/ 106 w 436"/>
                  <a:gd name="T3" fmla="*/ 40 h 246"/>
                  <a:gd name="T4" fmla="*/ 128 w 436"/>
                  <a:gd name="T5" fmla="*/ 20 h 246"/>
                  <a:gd name="T6" fmla="*/ 150 w 436"/>
                  <a:gd name="T7" fmla="*/ 8 h 246"/>
                  <a:gd name="T8" fmla="*/ 172 w 436"/>
                  <a:gd name="T9" fmla="*/ 2 h 246"/>
                  <a:gd name="T10" fmla="*/ 192 w 436"/>
                  <a:gd name="T11" fmla="*/ 2 h 246"/>
                  <a:gd name="T12" fmla="*/ 216 w 436"/>
                  <a:gd name="T13" fmla="*/ 6 h 246"/>
                  <a:gd name="T14" fmla="*/ 238 w 436"/>
                  <a:gd name="T15" fmla="*/ 14 h 246"/>
                  <a:gd name="T16" fmla="*/ 254 w 436"/>
                  <a:gd name="T17" fmla="*/ 28 h 246"/>
                  <a:gd name="T18" fmla="*/ 264 w 436"/>
                  <a:gd name="T19" fmla="*/ 44 h 246"/>
                  <a:gd name="T20" fmla="*/ 272 w 436"/>
                  <a:gd name="T21" fmla="*/ 34 h 246"/>
                  <a:gd name="T22" fmla="*/ 290 w 436"/>
                  <a:gd name="T23" fmla="*/ 18 h 246"/>
                  <a:gd name="T24" fmla="*/ 312 w 436"/>
                  <a:gd name="T25" fmla="*/ 8 h 246"/>
                  <a:gd name="T26" fmla="*/ 338 w 436"/>
                  <a:gd name="T27" fmla="*/ 2 h 246"/>
                  <a:gd name="T28" fmla="*/ 352 w 436"/>
                  <a:gd name="T29" fmla="*/ 0 h 246"/>
                  <a:gd name="T30" fmla="*/ 386 w 436"/>
                  <a:gd name="T31" fmla="*/ 6 h 246"/>
                  <a:gd name="T32" fmla="*/ 414 w 436"/>
                  <a:gd name="T33" fmla="*/ 24 h 246"/>
                  <a:gd name="T34" fmla="*/ 432 w 436"/>
                  <a:gd name="T35" fmla="*/ 50 h 246"/>
                  <a:gd name="T36" fmla="*/ 436 w 436"/>
                  <a:gd name="T37" fmla="*/ 86 h 246"/>
                  <a:gd name="T38" fmla="*/ 332 w 436"/>
                  <a:gd name="T39" fmla="*/ 246 h 246"/>
                  <a:gd name="T40" fmla="*/ 342 w 436"/>
                  <a:gd name="T41" fmla="*/ 106 h 246"/>
                  <a:gd name="T42" fmla="*/ 342 w 436"/>
                  <a:gd name="T43" fmla="*/ 80 h 246"/>
                  <a:gd name="T44" fmla="*/ 336 w 436"/>
                  <a:gd name="T45" fmla="*/ 66 h 246"/>
                  <a:gd name="T46" fmla="*/ 322 w 436"/>
                  <a:gd name="T47" fmla="*/ 58 h 246"/>
                  <a:gd name="T48" fmla="*/ 312 w 436"/>
                  <a:gd name="T49" fmla="*/ 58 h 246"/>
                  <a:gd name="T50" fmla="*/ 288 w 436"/>
                  <a:gd name="T51" fmla="*/ 66 h 246"/>
                  <a:gd name="T52" fmla="*/ 276 w 436"/>
                  <a:gd name="T53" fmla="*/ 82 h 246"/>
                  <a:gd name="T54" fmla="*/ 270 w 436"/>
                  <a:gd name="T55" fmla="*/ 100 h 246"/>
                  <a:gd name="T56" fmla="*/ 260 w 436"/>
                  <a:gd name="T57" fmla="*/ 246 h 246"/>
                  <a:gd name="T58" fmla="*/ 180 w 436"/>
                  <a:gd name="T59" fmla="*/ 106 h 246"/>
                  <a:gd name="T60" fmla="*/ 178 w 436"/>
                  <a:gd name="T61" fmla="*/ 88 h 246"/>
                  <a:gd name="T62" fmla="*/ 174 w 436"/>
                  <a:gd name="T63" fmla="*/ 72 h 246"/>
                  <a:gd name="T64" fmla="*/ 164 w 436"/>
                  <a:gd name="T65" fmla="*/ 62 h 246"/>
                  <a:gd name="T66" fmla="*/ 148 w 436"/>
                  <a:gd name="T67" fmla="*/ 58 h 246"/>
                  <a:gd name="T68" fmla="*/ 132 w 436"/>
                  <a:gd name="T69" fmla="*/ 60 h 246"/>
                  <a:gd name="T70" fmla="*/ 114 w 436"/>
                  <a:gd name="T71" fmla="*/ 72 h 246"/>
                  <a:gd name="T72" fmla="*/ 104 w 436"/>
                  <a:gd name="T73" fmla="*/ 92 h 246"/>
                  <a:gd name="T74" fmla="*/ 102 w 436"/>
                  <a:gd name="T75" fmla="*/ 110 h 246"/>
                  <a:gd name="T76" fmla="*/ 0 w 436"/>
                  <a:gd name="T77" fmla="*/ 246 h 246"/>
                  <a:gd name="T78" fmla="*/ 106 w 436"/>
                  <a:gd name="T79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36" h="246">
                    <a:moveTo>
                      <a:pt x="106" y="8"/>
                    </a:moveTo>
                    <a:lnTo>
                      <a:pt x="106" y="40"/>
                    </a:lnTo>
                    <a:lnTo>
                      <a:pt x="106" y="40"/>
                    </a:lnTo>
                    <a:lnTo>
                      <a:pt x="106" y="40"/>
                    </a:lnTo>
                    <a:lnTo>
                      <a:pt x="118" y="28"/>
                    </a:lnTo>
                    <a:lnTo>
                      <a:pt x="128" y="20"/>
                    </a:lnTo>
                    <a:lnTo>
                      <a:pt x="140" y="12"/>
                    </a:lnTo>
                    <a:lnTo>
                      <a:pt x="150" y="8"/>
                    </a:lnTo>
                    <a:lnTo>
                      <a:pt x="162" y="4"/>
                    </a:lnTo>
                    <a:lnTo>
                      <a:pt x="172" y="2"/>
                    </a:lnTo>
                    <a:lnTo>
                      <a:pt x="192" y="2"/>
                    </a:lnTo>
                    <a:lnTo>
                      <a:pt x="192" y="2"/>
                    </a:lnTo>
                    <a:lnTo>
                      <a:pt x="204" y="2"/>
                    </a:lnTo>
                    <a:lnTo>
                      <a:pt x="216" y="6"/>
                    </a:lnTo>
                    <a:lnTo>
                      <a:pt x="228" y="8"/>
                    </a:lnTo>
                    <a:lnTo>
                      <a:pt x="238" y="14"/>
                    </a:lnTo>
                    <a:lnTo>
                      <a:pt x="246" y="20"/>
                    </a:lnTo>
                    <a:lnTo>
                      <a:pt x="254" y="28"/>
                    </a:lnTo>
                    <a:lnTo>
                      <a:pt x="260" y="36"/>
                    </a:lnTo>
                    <a:lnTo>
                      <a:pt x="264" y="44"/>
                    </a:lnTo>
                    <a:lnTo>
                      <a:pt x="264" y="44"/>
                    </a:lnTo>
                    <a:lnTo>
                      <a:pt x="272" y="34"/>
                    </a:lnTo>
                    <a:lnTo>
                      <a:pt x="280" y="26"/>
                    </a:lnTo>
                    <a:lnTo>
                      <a:pt x="290" y="18"/>
                    </a:lnTo>
                    <a:lnTo>
                      <a:pt x="302" y="12"/>
                    </a:lnTo>
                    <a:lnTo>
                      <a:pt x="312" y="8"/>
                    </a:lnTo>
                    <a:lnTo>
                      <a:pt x="326" y="4"/>
                    </a:lnTo>
                    <a:lnTo>
                      <a:pt x="338" y="2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70" y="2"/>
                    </a:lnTo>
                    <a:lnTo>
                      <a:pt x="386" y="6"/>
                    </a:lnTo>
                    <a:lnTo>
                      <a:pt x="402" y="14"/>
                    </a:lnTo>
                    <a:lnTo>
                      <a:pt x="414" y="24"/>
                    </a:lnTo>
                    <a:lnTo>
                      <a:pt x="424" y="36"/>
                    </a:lnTo>
                    <a:lnTo>
                      <a:pt x="432" y="50"/>
                    </a:lnTo>
                    <a:lnTo>
                      <a:pt x="436" y="68"/>
                    </a:lnTo>
                    <a:lnTo>
                      <a:pt x="436" y="86"/>
                    </a:lnTo>
                    <a:lnTo>
                      <a:pt x="424" y="246"/>
                    </a:lnTo>
                    <a:lnTo>
                      <a:pt x="332" y="246"/>
                    </a:lnTo>
                    <a:lnTo>
                      <a:pt x="342" y="106"/>
                    </a:lnTo>
                    <a:lnTo>
                      <a:pt x="342" y="106"/>
                    </a:lnTo>
                    <a:lnTo>
                      <a:pt x="342" y="88"/>
                    </a:lnTo>
                    <a:lnTo>
                      <a:pt x="342" y="80"/>
                    </a:lnTo>
                    <a:lnTo>
                      <a:pt x="340" y="74"/>
                    </a:lnTo>
                    <a:lnTo>
                      <a:pt x="336" y="66"/>
                    </a:lnTo>
                    <a:lnTo>
                      <a:pt x="330" y="62"/>
                    </a:lnTo>
                    <a:lnTo>
                      <a:pt x="322" y="58"/>
                    </a:lnTo>
                    <a:lnTo>
                      <a:pt x="312" y="58"/>
                    </a:lnTo>
                    <a:lnTo>
                      <a:pt x="312" y="58"/>
                    </a:lnTo>
                    <a:lnTo>
                      <a:pt x="298" y="60"/>
                    </a:lnTo>
                    <a:lnTo>
                      <a:pt x="288" y="66"/>
                    </a:lnTo>
                    <a:lnTo>
                      <a:pt x="280" y="72"/>
                    </a:lnTo>
                    <a:lnTo>
                      <a:pt x="276" y="82"/>
                    </a:lnTo>
                    <a:lnTo>
                      <a:pt x="272" y="92"/>
                    </a:lnTo>
                    <a:lnTo>
                      <a:pt x="270" y="100"/>
                    </a:lnTo>
                    <a:lnTo>
                      <a:pt x="270" y="110"/>
                    </a:lnTo>
                    <a:lnTo>
                      <a:pt x="260" y="246"/>
                    </a:lnTo>
                    <a:lnTo>
                      <a:pt x="170" y="246"/>
                    </a:lnTo>
                    <a:lnTo>
                      <a:pt x="180" y="106"/>
                    </a:lnTo>
                    <a:lnTo>
                      <a:pt x="180" y="106"/>
                    </a:lnTo>
                    <a:lnTo>
                      <a:pt x="178" y="88"/>
                    </a:lnTo>
                    <a:lnTo>
                      <a:pt x="178" y="80"/>
                    </a:lnTo>
                    <a:lnTo>
                      <a:pt x="174" y="72"/>
                    </a:lnTo>
                    <a:lnTo>
                      <a:pt x="170" y="66"/>
                    </a:lnTo>
                    <a:lnTo>
                      <a:pt x="164" y="62"/>
                    </a:lnTo>
                    <a:lnTo>
                      <a:pt x="15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32" y="60"/>
                    </a:lnTo>
                    <a:lnTo>
                      <a:pt x="122" y="66"/>
                    </a:lnTo>
                    <a:lnTo>
                      <a:pt x="114" y="72"/>
                    </a:lnTo>
                    <a:lnTo>
                      <a:pt x="108" y="82"/>
                    </a:lnTo>
                    <a:lnTo>
                      <a:pt x="104" y="92"/>
                    </a:lnTo>
                    <a:lnTo>
                      <a:pt x="104" y="100"/>
                    </a:lnTo>
                    <a:lnTo>
                      <a:pt x="102" y="110"/>
                    </a:lnTo>
                    <a:lnTo>
                      <a:pt x="94" y="246"/>
                    </a:lnTo>
                    <a:lnTo>
                      <a:pt x="0" y="246"/>
                    </a:lnTo>
                    <a:lnTo>
                      <a:pt x="16" y="8"/>
                    </a:lnTo>
                    <a:lnTo>
                      <a:pt x="106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20"/>
              <p:cNvSpPr>
                <a:spLocks/>
              </p:cNvSpPr>
              <p:nvPr/>
            </p:nvSpPr>
            <p:spPr bwMode="auto">
              <a:xfrm>
                <a:off x="4064000" y="517525"/>
                <a:ext cx="454025" cy="558800"/>
              </a:xfrm>
              <a:custGeom>
                <a:avLst/>
                <a:gdLst>
                  <a:gd name="T0" fmla="*/ 116 w 286"/>
                  <a:gd name="T1" fmla="*/ 352 h 352"/>
                  <a:gd name="T2" fmla="*/ 34 w 286"/>
                  <a:gd name="T3" fmla="*/ 352 h 352"/>
                  <a:gd name="T4" fmla="*/ 86 w 286"/>
                  <a:gd name="T5" fmla="*/ 242 h 352"/>
                  <a:gd name="T6" fmla="*/ 0 w 286"/>
                  <a:gd name="T7" fmla="*/ 0 h 352"/>
                  <a:gd name="T8" fmla="*/ 100 w 286"/>
                  <a:gd name="T9" fmla="*/ 0 h 352"/>
                  <a:gd name="T10" fmla="*/ 140 w 286"/>
                  <a:gd name="T11" fmla="*/ 148 h 352"/>
                  <a:gd name="T12" fmla="*/ 202 w 286"/>
                  <a:gd name="T13" fmla="*/ 0 h 352"/>
                  <a:gd name="T14" fmla="*/ 286 w 286"/>
                  <a:gd name="T15" fmla="*/ 0 h 352"/>
                  <a:gd name="T16" fmla="*/ 116 w 286"/>
                  <a:gd name="T17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6" h="352">
                    <a:moveTo>
                      <a:pt x="116" y="352"/>
                    </a:moveTo>
                    <a:lnTo>
                      <a:pt x="34" y="352"/>
                    </a:lnTo>
                    <a:lnTo>
                      <a:pt x="86" y="242"/>
                    </a:lnTo>
                    <a:lnTo>
                      <a:pt x="0" y="0"/>
                    </a:lnTo>
                    <a:lnTo>
                      <a:pt x="100" y="0"/>
                    </a:lnTo>
                    <a:lnTo>
                      <a:pt x="140" y="148"/>
                    </a:lnTo>
                    <a:lnTo>
                      <a:pt x="202" y="0"/>
                    </a:lnTo>
                    <a:lnTo>
                      <a:pt x="286" y="0"/>
                    </a:lnTo>
                    <a:lnTo>
                      <a:pt x="116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21"/>
              <p:cNvSpPr>
                <a:spLocks/>
              </p:cNvSpPr>
              <p:nvPr/>
            </p:nvSpPr>
            <p:spPr bwMode="auto">
              <a:xfrm>
                <a:off x="4473575" y="593725"/>
                <a:ext cx="241300" cy="117475"/>
              </a:xfrm>
              <a:custGeom>
                <a:avLst/>
                <a:gdLst>
                  <a:gd name="T0" fmla="*/ 36 w 152"/>
                  <a:gd name="T1" fmla="*/ 0 h 74"/>
                  <a:gd name="T2" fmla="*/ 152 w 152"/>
                  <a:gd name="T3" fmla="*/ 0 h 74"/>
                  <a:gd name="T4" fmla="*/ 114 w 152"/>
                  <a:gd name="T5" fmla="*/ 74 h 74"/>
                  <a:gd name="T6" fmla="*/ 0 w 152"/>
                  <a:gd name="T7" fmla="*/ 74 h 74"/>
                  <a:gd name="T8" fmla="*/ 36 w 152"/>
                  <a:gd name="T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74">
                    <a:moveTo>
                      <a:pt x="36" y="0"/>
                    </a:moveTo>
                    <a:lnTo>
                      <a:pt x="152" y="0"/>
                    </a:lnTo>
                    <a:lnTo>
                      <a:pt x="114" y="74"/>
                    </a:lnTo>
                    <a:lnTo>
                      <a:pt x="0" y="7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" name="Freeform 22"/>
              <p:cNvSpPr>
                <a:spLocks/>
              </p:cNvSpPr>
              <p:nvPr/>
            </p:nvSpPr>
            <p:spPr bwMode="auto">
              <a:xfrm>
                <a:off x="4721225" y="339725"/>
                <a:ext cx="504825" cy="558800"/>
              </a:xfrm>
              <a:custGeom>
                <a:avLst/>
                <a:gdLst>
                  <a:gd name="T0" fmla="*/ 180 w 318"/>
                  <a:gd name="T1" fmla="*/ 0 h 352"/>
                  <a:gd name="T2" fmla="*/ 232 w 318"/>
                  <a:gd name="T3" fmla="*/ 6 h 352"/>
                  <a:gd name="T4" fmla="*/ 266 w 318"/>
                  <a:gd name="T5" fmla="*/ 20 h 352"/>
                  <a:gd name="T6" fmla="*/ 286 w 318"/>
                  <a:gd name="T7" fmla="*/ 32 h 352"/>
                  <a:gd name="T8" fmla="*/ 302 w 318"/>
                  <a:gd name="T9" fmla="*/ 50 h 352"/>
                  <a:gd name="T10" fmla="*/ 312 w 318"/>
                  <a:gd name="T11" fmla="*/ 74 h 352"/>
                  <a:gd name="T12" fmla="*/ 318 w 318"/>
                  <a:gd name="T13" fmla="*/ 100 h 352"/>
                  <a:gd name="T14" fmla="*/ 222 w 318"/>
                  <a:gd name="T15" fmla="*/ 116 h 352"/>
                  <a:gd name="T16" fmla="*/ 222 w 318"/>
                  <a:gd name="T17" fmla="*/ 108 h 352"/>
                  <a:gd name="T18" fmla="*/ 216 w 318"/>
                  <a:gd name="T19" fmla="*/ 90 h 352"/>
                  <a:gd name="T20" fmla="*/ 204 w 318"/>
                  <a:gd name="T21" fmla="*/ 76 h 352"/>
                  <a:gd name="T22" fmla="*/ 188 w 318"/>
                  <a:gd name="T23" fmla="*/ 68 h 352"/>
                  <a:gd name="T24" fmla="*/ 176 w 318"/>
                  <a:gd name="T25" fmla="*/ 68 h 352"/>
                  <a:gd name="T26" fmla="*/ 150 w 318"/>
                  <a:gd name="T27" fmla="*/ 72 h 352"/>
                  <a:gd name="T28" fmla="*/ 128 w 318"/>
                  <a:gd name="T29" fmla="*/ 88 h 352"/>
                  <a:gd name="T30" fmla="*/ 108 w 318"/>
                  <a:gd name="T31" fmla="*/ 118 h 352"/>
                  <a:gd name="T32" fmla="*/ 98 w 318"/>
                  <a:gd name="T33" fmla="*/ 162 h 352"/>
                  <a:gd name="T34" fmla="*/ 96 w 318"/>
                  <a:gd name="T35" fmla="*/ 188 h 352"/>
                  <a:gd name="T36" fmla="*/ 98 w 318"/>
                  <a:gd name="T37" fmla="*/ 234 h 352"/>
                  <a:gd name="T38" fmla="*/ 112 w 318"/>
                  <a:gd name="T39" fmla="*/ 266 h 352"/>
                  <a:gd name="T40" fmla="*/ 122 w 318"/>
                  <a:gd name="T41" fmla="*/ 278 h 352"/>
                  <a:gd name="T42" fmla="*/ 138 w 318"/>
                  <a:gd name="T43" fmla="*/ 284 h 352"/>
                  <a:gd name="T44" fmla="*/ 158 w 318"/>
                  <a:gd name="T45" fmla="*/ 288 h 352"/>
                  <a:gd name="T46" fmla="*/ 174 w 318"/>
                  <a:gd name="T47" fmla="*/ 286 h 352"/>
                  <a:gd name="T48" fmla="*/ 198 w 318"/>
                  <a:gd name="T49" fmla="*/ 274 h 352"/>
                  <a:gd name="T50" fmla="*/ 212 w 318"/>
                  <a:gd name="T51" fmla="*/ 256 h 352"/>
                  <a:gd name="T52" fmla="*/ 218 w 318"/>
                  <a:gd name="T53" fmla="*/ 236 h 352"/>
                  <a:gd name="T54" fmla="*/ 314 w 318"/>
                  <a:gd name="T55" fmla="*/ 236 h 352"/>
                  <a:gd name="T56" fmla="*/ 306 w 318"/>
                  <a:gd name="T57" fmla="*/ 270 h 352"/>
                  <a:gd name="T58" fmla="*/ 290 w 318"/>
                  <a:gd name="T59" fmla="*/ 300 h 352"/>
                  <a:gd name="T60" fmla="*/ 272 w 318"/>
                  <a:gd name="T61" fmla="*/ 318 h 352"/>
                  <a:gd name="T62" fmla="*/ 248 w 318"/>
                  <a:gd name="T63" fmla="*/ 334 h 352"/>
                  <a:gd name="T64" fmla="*/ 216 w 318"/>
                  <a:gd name="T65" fmla="*/ 346 h 352"/>
                  <a:gd name="T66" fmla="*/ 176 w 318"/>
                  <a:gd name="T67" fmla="*/ 352 h 352"/>
                  <a:gd name="T68" fmla="*/ 152 w 318"/>
                  <a:gd name="T69" fmla="*/ 352 h 352"/>
                  <a:gd name="T70" fmla="*/ 106 w 318"/>
                  <a:gd name="T71" fmla="*/ 348 h 352"/>
                  <a:gd name="T72" fmla="*/ 70 w 318"/>
                  <a:gd name="T73" fmla="*/ 336 h 352"/>
                  <a:gd name="T74" fmla="*/ 42 w 318"/>
                  <a:gd name="T75" fmla="*/ 316 h 352"/>
                  <a:gd name="T76" fmla="*/ 22 w 318"/>
                  <a:gd name="T77" fmla="*/ 292 h 352"/>
                  <a:gd name="T78" fmla="*/ 8 w 318"/>
                  <a:gd name="T79" fmla="*/ 262 h 352"/>
                  <a:gd name="T80" fmla="*/ 2 w 318"/>
                  <a:gd name="T81" fmla="*/ 230 h 352"/>
                  <a:gd name="T82" fmla="*/ 0 w 318"/>
                  <a:gd name="T83" fmla="*/ 194 h 352"/>
                  <a:gd name="T84" fmla="*/ 2 w 318"/>
                  <a:gd name="T85" fmla="*/ 160 h 352"/>
                  <a:gd name="T86" fmla="*/ 18 w 318"/>
                  <a:gd name="T87" fmla="*/ 102 h 352"/>
                  <a:gd name="T88" fmla="*/ 32 w 318"/>
                  <a:gd name="T89" fmla="*/ 74 h 352"/>
                  <a:gd name="T90" fmla="*/ 52 w 318"/>
                  <a:gd name="T91" fmla="*/ 50 h 352"/>
                  <a:gd name="T92" fmla="*/ 76 w 318"/>
                  <a:gd name="T93" fmla="*/ 30 h 352"/>
                  <a:gd name="T94" fmla="*/ 106 w 318"/>
                  <a:gd name="T95" fmla="*/ 14 h 352"/>
                  <a:gd name="T96" fmla="*/ 140 w 318"/>
                  <a:gd name="T97" fmla="*/ 4 h 352"/>
                  <a:gd name="T98" fmla="*/ 180 w 318"/>
                  <a:gd name="T99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18" h="352">
                    <a:moveTo>
                      <a:pt x="180" y="0"/>
                    </a:moveTo>
                    <a:lnTo>
                      <a:pt x="180" y="0"/>
                    </a:lnTo>
                    <a:lnTo>
                      <a:pt x="206" y="0"/>
                    </a:lnTo>
                    <a:lnTo>
                      <a:pt x="232" y="6"/>
                    </a:lnTo>
                    <a:lnTo>
                      <a:pt x="256" y="14"/>
                    </a:lnTo>
                    <a:lnTo>
                      <a:pt x="266" y="20"/>
                    </a:lnTo>
                    <a:lnTo>
                      <a:pt x="276" y="26"/>
                    </a:lnTo>
                    <a:lnTo>
                      <a:pt x="286" y="32"/>
                    </a:lnTo>
                    <a:lnTo>
                      <a:pt x="294" y="42"/>
                    </a:lnTo>
                    <a:lnTo>
                      <a:pt x="302" y="50"/>
                    </a:lnTo>
                    <a:lnTo>
                      <a:pt x="308" y="62"/>
                    </a:lnTo>
                    <a:lnTo>
                      <a:pt x="312" y="74"/>
                    </a:lnTo>
                    <a:lnTo>
                      <a:pt x="316" y="86"/>
                    </a:lnTo>
                    <a:lnTo>
                      <a:pt x="318" y="100"/>
                    </a:lnTo>
                    <a:lnTo>
                      <a:pt x="318" y="116"/>
                    </a:lnTo>
                    <a:lnTo>
                      <a:pt x="222" y="116"/>
                    </a:lnTo>
                    <a:lnTo>
                      <a:pt x="222" y="116"/>
                    </a:lnTo>
                    <a:lnTo>
                      <a:pt x="222" y="108"/>
                    </a:lnTo>
                    <a:lnTo>
                      <a:pt x="220" y="98"/>
                    </a:lnTo>
                    <a:lnTo>
                      <a:pt x="216" y="90"/>
                    </a:lnTo>
                    <a:lnTo>
                      <a:pt x="212" y="84"/>
                    </a:lnTo>
                    <a:lnTo>
                      <a:pt x="204" y="76"/>
                    </a:lnTo>
                    <a:lnTo>
                      <a:pt x="198" y="72"/>
                    </a:lnTo>
                    <a:lnTo>
                      <a:pt x="188" y="68"/>
                    </a:lnTo>
                    <a:lnTo>
                      <a:pt x="176" y="68"/>
                    </a:lnTo>
                    <a:lnTo>
                      <a:pt x="176" y="68"/>
                    </a:lnTo>
                    <a:lnTo>
                      <a:pt x="164" y="68"/>
                    </a:lnTo>
                    <a:lnTo>
                      <a:pt x="150" y="72"/>
                    </a:lnTo>
                    <a:lnTo>
                      <a:pt x="138" y="80"/>
                    </a:lnTo>
                    <a:lnTo>
                      <a:pt x="128" y="88"/>
                    </a:lnTo>
                    <a:lnTo>
                      <a:pt x="118" y="102"/>
                    </a:lnTo>
                    <a:lnTo>
                      <a:pt x="108" y="118"/>
                    </a:lnTo>
                    <a:lnTo>
                      <a:pt x="102" y="138"/>
                    </a:lnTo>
                    <a:lnTo>
                      <a:pt x="98" y="162"/>
                    </a:lnTo>
                    <a:lnTo>
                      <a:pt x="98" y="162"/>
                    </a:lnTo>
                    <a:lnTo>
                      <a:pt x="96" y="188"/>
                    </a:lnTo>
                    <a:lnTo>
                      <a:pt x="96" y="212"/>
                    </a:lnTo>
                    <a:lnTo>
                      <a:pt x="98" y="234"/>
                    </a:lnTo>
                    <a:lnTo>
                      <a:pt x="104" y="252"/>
                    </a:lnTo>
                    <a:lnTo>
                      <a:pt x="112" y="266"/>
                    </a:lnTo>
                    <a:lnTo>
                      <a:pt x="116" y="272"/>
                    </a:lnTo>
                    <a:lnTo>
                      <a:pt x="122" y="278"/>
                    </a:lnTo>
                    <a:lnTo>
                      <a:pt x="130" y="282"/>
                    </a:lnTo>
                    <a:lnTo>
                      <a:pt x="138" y="284"/>
                    </a:lnTo>
                    <a:lnTo>
                      <a:pt x="148" y="286"/>
                    </a:lnTo>
                    <a:lnTo>
                      <a:pt x="158" y="288"/>
                    </a:lnTo>
                    <a:lnTo>
                      <a:pt x="158" y="288"/>
                    </a:lnTo>
                    <a:lnTo>
                      <a:pt x="174" y="286"/>
                    </a:lnTo>
                    <a:lnTo>
                      <a:pt x="188" y="280"/>
                    </a:lnTo>
                    <a:lnTo>
                      <a:pt x="198" y="274"/>
                    </a:lnTo>
                    <a:lnTo>
                      <a:pt x="206" y="264"/>
                    </a:lnTo>
                    <a:lnTo>
                      <a:pt x="212" y="256"/>
                    </a:lnTo>
                    <a:lnTo>
                      <a:pt x="214" y="248"/>
                    </a:lnTo>
                    <a:lnTo>
                      <a:pt x="218" y="236"/>
                    </a:lnTo>
                    <a:lnTo>
                      <a:pt x="314" y="236"/>
                    </a:lnTo>
                    <a:lnTo>
                      <a:pt x="314" y="236"/>
                    </a:lnTo>
                    <a:lnTo>
                      <a:pt x="312" y="252"/>
                    </a:lnTo>
                    <a:lnTo>
                      <a:pt x="306" y="270"/>
                    </a:lnTo>
                    <a:lnTo>
                      <a:pt x="296" y="290"/>
                    </a:lnTo>
                    <a:lnTo>
                      <a:pt x="290" y="300"/>
                    </a:lnTo>
                    <a:lnTo>
                      <a:pt x="282" y="308"/>
                    </a:lnTo>
                    <a:lnTo>
                      <a:pt x="272" y="318"/>
                    </a:lnTo>
                    <a:lnTo>
                      <a:pt x="260" y="326"/>
                    </a:lnTo>
                    <a:lnTo>
                      <a:pt x="248" y="334"/>
                    </a:lnTo>
                    <a:lnTo>
                      <a:pt x="232" y="340"/>
                    </a:lnTo>
                    <a:lnTo>
                      <a:pt x="216" y="346"/>
                    </a:lnTo>
                    <a:lnTo>
                      <a:pt x="196" y="350"/>
                    </a:lnTo>
                    <a:lnTo>
                      <a:pt x="176" y="352"/>
                    </a:lnTo>
                    <a:lnTo>
                      <a:pt x="152" y="352"/>
                    </a:lnTo>
                    <a:lnTo>
                      <a:pt x="152" y="352"/>
                    </a:lnTo>
                    <a:lnTo>
                      <a:pt x="128" y="352"/>
                    </a:lnTo>
                    <a:lnTo>
                      <a:pt x="106" y="348"/>
                    </a:lnTo>
                    <a:lnTo>
                      <a:pt x="86" y="342"/>
                    </a:lnTo>
                    <a:lnTo>
                      <a:pt x="70" y="336"/>
                    </a:lnTo>
                    <a:lnTo>
                      <a:pt x="54" y="326"/>
                    </a:lnTo>
                    <a:lnTo>
                      <a:pt x="42" y="316"/>
                    </a:lnTo>
                    <a:lnTo>
                      <a:pt x="30" y="304"/>
                    </a:lnTo>
                    <a:lnTo>
                      <a:pt x="22" y="292"/>
                    </a:lnTo>
                    <a:lnTo>
                      <a:pt x="14" y="276"/>
                    </a:lnTo>
                    <a:lnTo>
                      <a:pt x="8" y="262"/>
                    </a:lnTo>
                    <a:lnTo>
                      <a:pt x="4" y="246"/>
                    </a:lnTo>
                    <a:lnTo>
                      <a:pt x="2" y="230"/>
                    </a:lnTo>
                    <a:lnTo>
                      <a:pt x="0" y="212"/>
                    </a:lnTo>
                    <a:lnTo>
                      <a:pt x="0" y="194"/>
                    </a:lnTo>
                    <a:lnTo>
                      <a:pt x="2" y="160"/>
                    </a:lnTo>
                    <a:lnTo>
                      <a:pt x="2" y="160"/>
                    </a:lnTo>
                    <a:lnTo>
                      <a:pt x="8" y="130"/>
                    </a:lnTo>
                    <a:lnTo>
                      <a:pt x="18" y="102"/>
                    </a:lnTo>
                    <a:lnTo>
                      <a:pt x="24" y="88"/>
                    </a:lnTo>
                    <a:lnTo>
                      <a:pt x="32" y="74"/>
                    </a:lnTo>
                    <a:lnTo>
                      <a:pt x="42" y="62"/>
                    </a:lnTo>
                    <a:lnTo>
                      <a:pt x="52" y="50"/>
                    </a:lnTo>
                    <a:lnTo>
                      <a:pt x="64" y="40"/>
                    </a:lnTo>
                    <a:lnTo>
                      <a:pt x="76" y="30"/>
                    </a:lnTo>
                    <a:lnTo>
                      <a:pt x="90" y="20"/>
                    </a:lnTo>
                    <a:lnTo>
                      <a:pt x="106" y="14"/>
                    </a:lnTo>
                    <a:lnTo>
                      <a:pt x="122" y="8"/>
                    </a:lnTo>
                    <a:lnTo>
                      <a:pt x="140" y="4"/>
                    </a:lnTo>
                    <a:lnTo>
                      <a:pt x="160" y="0"/>
                    </a:lnTo>
                    <a:lnTo>
                      <a:pt x="180" y="0"/>
                    </a:lnTo>
                    <a:lnTo>
                      <a:pt x="18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23"/>
              <p:cNvSpPr>
                <a:spLocks/>
              </p:cNvSpPr>
              <p:nvPr/>
            </p:nvSpPr>
            <p:spPr bwMode="auto">
              <a:xfrm>
                <a:off x="5229225" y="352425"/>
                <a:ext cx="177800" cy="542925"/>
              </a:xfrm>
              <a:custGeom>
                <a:avLst/>
                <a:gdLst>
                  <a:gd name="T0" fmla="*/ 0 w 112"/>
                  <a:gd name="T1" fmla="*/ 342 h 342"/>
                  <a:gd name="T2" fmla="*/ 24 w 112"/>
                  <a:gd name="T3" fmla="*/ 0 h 342"/>
                  <a:gd name="T4" fmla="*/ 112 w 112"/>
                  <a:gd name="T5" fmla="*/ 0 h 342"/>
                  <a:gd name="T6" fmla="*/ 88 w 112"/>
                  <a:gd name="T7" fmla="*/ 342 h 342"/>
                  <a:gd name="T8" fmla="*/ 0 w 112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2" y="0"/>
                    </a:lnTo>
                    <a:lnTo>
                      <a:pt x="88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Freeform 24"/>
              <p:cNvSpPr>
                <a:spLocks/>
              </p:cNvSpPr>
              <p:nvPr/>
            </p:nvSpPr>
            <p:spPr bwMode="auto">
              <a:xfrm>
                <a:off x="5803900" y="517525"/>
                <a:ext cx="295275" cy="377825"/>
              </a:xfrm>
              <a:custGeom>
                <a:avLst/>
                <a:gdLst>
                  <a:gd name="T0" fmla="*/ 106 w 186"/>
                  <a:gd name="T1" fmla="*/ 34 h 238"/>
                  <a:gd name="T2" fmla="*/ 106 w 186"/>
                  <a:gd name="T3" fmla="*/ 34 h 238"/>
                  <a:gd name="T4" fmla="*/ 106 w 186"/>
                  <a:gd name="T5" fmla="*/ 34 h 238"/>
                  <a:gd name="T6" fmla="*/ 116 w 186"/>
                  <a:gd name="T7" fmla="*/ 24 h 238"/>
                  <a:gd name="T8" fmla="*/ 124 w 186"/>
                  <a:gd name="T9" fmla="*/ 16 h 238"/>
                  <a:gd name="T10" fmla="*/ 134 w 186"/>
                  <a:gd name="T11" fmla="*/ 10 h 238"/>
                  <a:gd name="T12" fmla="*/ 144 w 186"/>
                  <a:gd name="T13" fmla="*/ 6 h 238"/>
                  <a:gd name="T14" fmla="*/ 154 w 186"/>
                  <a:gd name="T15" fmla="*/ 4 h 238"/>
                  <a:gd name="T16" fmla="*/ 164 w 186"/>
                  <a:gd name="T17" fmla="*/ 2 h 238"/>
                  <a:gd name="T18" fmla="*/ 186 w 186"/>
                  <a:gd name="T19" fmla="*/ 0 h 238"/>
                  <a:gd name="T20" fmla="*/ 180 w 186"/>
                  <a:gd name="T21" fmla="*/ 76 h 238"/>
                  <a:gd name="T22" fmla="*/ 180 w 186"/>
                  <a:gd name="T23" fmla="*/ 76 h 238"/>
                  <a:gd name="T24" fmla="*/ 162 w 186"/>
                  <a:gd name="T25" fmla="*/ 76 h 238"/>
                  <a:gd name="T26" fmla="*/ 162 w 186"/>
                  <a:gd name="T27" fmla="*/ 76 h 238"/>
                  <a:gd name="T28" fmla="*/ 142 w 186"/>
                  <a:gd name="T29" fmla="*/ 78 h 238"/>
                  <a:gd name="T30" fmla="*/ 126 w 186"/>
                  <a:gd name="T31" fmla="*/ 82 h 238"/>
                  <a:gd name="T32" fmla="*/ 116 w 186"/>
                  <a:gd name="T33" fmla="*/ 88 h 238"/>
                  <a:gd name="T34" fmla="*/ 108 w 186"/>
                  <a:gd name="T35" fmla="*/ 98 h 238"/>
                  <a:gd name="T36" fmla="*/ 104 w 186"/>
                  <a:gd name="T37" fmla="*/ 108 h 238"/>
                  <a:gd name="T38" fmla="*/ 100 w 186"/>
                  <a:gd name="T39" fmla="*/ 120 h 238"/>
                  <a:gd name="T40" fmla="*/ 98 w 186"/>
                  <a:gd name="T41" fmla="*/ 148 h 238"/>
                  <a:gd name="T42" fmla="*/ 92 w 186"/>
                  <a:gd name="T43" fmla="*/ 238 h 238"/>
                  <a:gd name="T44" fmla="*/ 0 w 186"/>
                  <a:gd name="T45" fmla="*/ 238 h 238"/>
                  <a:gd name="T46" fmla="*/ 14 w 186"/>
                  <a:gd name="T47" fmla="*/ 62 h 238"/>
                  <a:gd name="T48" fmla="*/ 14 w 186"/>
                  <a:gd name="T49" fmla="*/ 62 h 238"/>
                  <a:gd name="T50" fmla="*/ 14 w 186"/>
                  <a:gd name="T51" fmla="*/ 32 h 238"/>
                  <a:gd name="T52" fmla="*/ 14 w 186"/>
                  <a:gd name="T53" fmla="*/ 0 h 238"/>
                  <a:gd name="T54" fmla="*/ 102 w 186"/>
                  <a:gd name="T55" fmla="*/ 0 h 238"/>
                  <a:gd name="T56" fmla="*/ 106 w 186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6" h="238">
                    <a:moveTo>
                      <a:pt x="106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6" y="24"/>
                    </a:lnTo>
                    <a:lnTo>
                      <a:pt x="124" y="16"/>
                    </a:lnTo>
                    <a:lnTo>
                      <a:pt x="134" y="10"/>
                    </a:lnTo>
                    <a:lnTo>
                      <a:pt x="144" y="6"/>
                    </a:lnTo>
                    <a:lnTo>
                      <a:pt x="154" y="4"/>
                    </a:lnTo>
                    <a:lnTo>
                      <a:pt x="164" y="2"/>
                    </a:lnTo>
                    <a:lnTo>
                      <a:pt x="186" y="0"/>
                    </a:lnTo>
                    <a:lnTo>
                      <a:pt x="180" y="76"/>
                    </a:lnTo>
                    <a:lnTo>
                      <a:pt x="180" y="76"/>
                    </a:lnTo>
                    <a:lnTo>
                      <a:pt x="162" y="76"/>
                    </a:lnTo>
                    <a:lnTo>
                      <a:pt x="162" y="76"/>
                    </a:lnTo>
                    <a:lnTo>
                      <a:pt x="142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4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6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31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53074" y="553073"/>
            <a:ext cx="3571665" cy="316888"/>
          </a:xfrm>
        </p:spPr>
        <p:txBody>
          <a:bodyPr>
            <a:noAutofit/>
          </a:bodyPr>
          <a:lstStyle>
            <a:lvl1pPr marL="0" indent="0">
              <a:buNone/>
              <a:defRPr sz="1400" b="0" u="none">
                <a:solidFill>
                  <a:schemeClr val="accent1"/>
                </a:solidFill>
              </a:defRPr>
            </a:lvl1pPr>
            <a:lvl2pPr marL="457200" indent="0">
              <a:buNone/>
              <a:defRPr b="0" u="none"/>
            </a:lvl2pPr>
            <a:lvl3pPr marL="914400" indent="0">
              <a:buNone/>
              <a:defRPr b="0" u="none"/>
            </a:lvl3pPr>
            <a:lvl4pPr marL="1371600" indent="0">
              <a:buNone/>
              <a:defRPr b="0" u="none"/>
            </a:lvl4pPr>
            <a:lvl5pPr marL="1828800" indent="0">
              <a:buNone/>
              <a:defRPr b="0" u="none"/>
            </a:lvl5pPr>
          </a:lstStyle>
          <a:p>
            <a:pPr lvl="0"/>
            <a:r>
              <a:rPr lang="en-US"/>
              <a:t>BU/Function/Region</a:t>
            </a:r>
          </a:p>
        </p:txBody>
      </p:sp>
    </p:spTree>
    <p:extLst>
      <p:ext uri="{BB962C8B-B14F-4D97-AF65-F5344CB8AC3E}">
        <p14:creationId xmlns:p14="http://schemas.microsoft.com/office/powerpoint/2010/main" val="2823352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5988" y="2374112"/>
            <a:ext cx="9144000" cy="1708150"/>
          </a:xfrm>
        </p:spPr>
        <p:txBody>
          <a:bodyPr anchor="ctr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5988" y="4174338"/>
            <a:ext cx="9144000" cy="7413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3E7FBFD-78E1-42FB-85FC-D9CE5E3DEFA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70622" y="276225"/>
            <a:ext cx="2165537" cy="271230"/>
            <a:chOff x="158750" y="276225"/>
            <a:chExt cx="6388100" cy="800100"/>
          </a:xfrm>
          <a:solidFill>
            <a:schemeClr val="bg1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158750" y="276225"/>
              <a:ext cx="857250" cy="736600"/>
            </a:xfrm>
            <a:custGeom>
              <a:avLst/>
              <a:gdLst>
                <a:gd name="T0" fmla="*/ 298 w 540"/>
                <a:gd name="T1" fmla="*/ 0 h 464"/>
                <a:gd name="T2" fmla="*/ 374 w 540"/>
                <a:gd name="T3" fmla="*/ 18 h 464"/>
                <a:gd name="T4" fmla="*/ 442 w 540"/>
                <a:gd name="T5" fmla="*/ 52 h 464"/>
                <a:gd name="T6" fmla="*/ 494 w 540"/>
                <a:gd name="T7" fmla="*/ 102 h 464"/>
                <a:gd name="T8" fmla="*/ 528 w 540"/>
                <a:gd name="T9" fmla="*/ 162 h 464"/>
                <a:gd name="T10" fmla="*/ 540 w 540"/>
                <a:gd name="T11" fmla="*/ 232 h 464"/>
                <a:gd name="T12" fmla="*/ 534 w 540"/>
                <a:gd name="T13" fmla="*/ 278 h 464"/>
                <a:gd name="T14" fmla="*/ 506 w 540"/>
                <a:gd name="T15" fmla="*/ 342 h 464"/>
                <a:gd name="T16" fmla="*/ 460 w 540"/>
                <a:gd name="T17" fmla="*/ 396 h 464"/>
                <a:gd name="T18" fmla="*/ 398 w 540"/>
                <a:gd name="T19" fmla="*/ 436 h 464"/>
                <a:gd name="T20" fmla="*/ 324 w 540"/>
                <a:gd name="T21" fmla="*/ 460 h 464"/>
                <a:gd name="T22" fmla="*/ 270 w 540"/>
                <a:gd name="T23" fmla="*/ 464 h 464"/>
                <a:gd name="T24" fmla="*/ 190 w 540"/>
                <a:gd name="T25" fmla="*/ 454 h 464"/>
                <a:gd name="T26" fmla="*/ 118 w 540"/>
                <a:gd name="T27" fmla="*/ 424 h 464"/>
                <a:gd name="T28" fmla="*/ 62 w 540"/>
                <a:gd name="T29" fmla="*/ 380 h 464"/>
                <a:gd name="T30" fmla="*/ 20 w 540"/>
                <a:gd name="T31" fmla="*/ 322 h 464"/>
                <a:gd name="T32" fmla="*/ 2 w 540"/>
                <a:gd name="T33" fmla="*/ 256 h 464"/>
                <a:gd name="T34" fmla="*/ 2 w 540"/>
                <a:gd name="T35" fmla="*/ 208 h 464"/>
                <a:gd name="T36" fmla="*/ 20 w 540"/>
                <a:gd name="T37" fmla="*/ 142 h 464"/>
                <a:gd name="T38" fmla="*/ 62 w 540"/>
                <a:gd name="T39" fmla="*/ 84 h 464"/>
                <a:gd name="T40" fmla="*/ 118 w 540"/>
                <a:gd name="T41" fmla="*/ 40 h 464"/>
                <a:gd name="T42" fmla="*/ 190 w 540"/>
                <a:gd name="T43" fmla="*/ 10 h 464"/>
                <a:gd name="T44" fmla="*/ 270 w 540"/>
                <a:gd name="T45" fmla="*/ 0 h 464"/>
                <a:gd name="T46" fmla="*/ 270 w 540"/>
                <a:gd name="T47" fmla="*/ 232 h 464"/>
                <a:gd name="T48" fmla="*/ 220 w 540"/>
                <a:gd name="T49" fmla="*/ 196 h 464"/>
                <a:gd name="T50" fmla="*/ 208 w 540"/>
                <a:gd name="T51" fmla="*/ 176 h 464"/>
                <a:gd name="T52" fmla="*/ 156 w 540"/>
                <a:gd name="T53" fmla="*/ 130 h 464"/>
                <a:gd name="T54" fmla="*/ 76 w 540"/>
                <a:gd name="T55" fmla="*/ 152 h 464"/>
                <a:gd name="T56" fmla="*/ 130 w 540"/>
                <a:gd name="T57" fmla="*/ 204 h 464"/>
                <a:gd name="T58" fmla="*/ 138 w 540"/>
                <a:gd name="T59" fmla="*/ 230 h 464"/>
                <a:gd name="T60" fmla="*/ 132 w 540"/>
                <a:gd name="T61" fmla="*/ 244 h 464"/>
                <a:gd name="T62" fmla="*/ 108 w 540"/>
                <a:gd name="T63" fmla="*/ 250 h 464"/>
                <a:gd name="T64" fmla="*/ 38 w 540"/>
                <a:gd name="T65" fmla="*/ 330 h 464"/>
                <a:gd name="T66" fmla="*/ 146 w 540"/>
                <a:gd name="T67" fmla="*/ 330 h 464"/>
                <a:gd name="T68" fmla="*/ 186 w 540"/>
                <a:gd name="T69" fmla="*/ 320 h 464"/>
                <a:gd name="T70" fmla="*/ 214 w 540"/>
                <a:gd name="T71" fmla="*/ 296 h 464"/>
                <a:gd name="T72" fmla="*/ 320 w 540"/>
                <a:gd name="T73" fmla="*/ 390 h 464"/>
                <a:gd name="T74" fmla="*/ 326 w 540"/>
                <a:gd name="T75" fmla="*/ 296 h 464"/>
                <a:gd name="T76" fmla="*/ 352 w 540"/>
                <a:gd name="T77" fmla="*/ 320 h 464"/>
                <a:gd name="T78" fmla="*/ 392 w 540"/>
                <a:gd name="T79" fmla="*/ 330 h 464"/>
                <a:gd name="T80" fmla="*/ 500 w 540"/>
                <a:gd name="T81" fmla="*/ 250 h 464"/>
                <a:gd name="T82" fmla="*/ 432 w 540"/>
                <a:gd name="T83" fmla="*/ 250 h 464"/>
                <a:gd name="T84" fmla="*/ 408 w 540"/>
                <a:gd name="T85" fmla="*/ 244 h 464"/>
                <a:gd name="T86" fmla="*/ 400 w 540"/>
                <a:gd name="T87" fmla="*/ 230 h 464"/>
                <a:gd name="T88" fmla="*/ 410 w 540"/>
                <a:gd name="T89" fmla="*/ 204 h 464"/>
                <a:gd name="T90" fmla="*/ 462 w 540"/>
                <a:gd name="T91" fmla="*/ 152 h 464"/>
                <a:gd name="T92" fmla="*/ 382 w 540"/>
                <a:gd name="T93" fmla="*/ 130 h 464"/>
                <a:gd name="T94" fmla="*/ 330 w 540"/>
                <a:gd name="T95" fmla="*/ 176 h 464"/>
                <a:gd name="T96" fmla="*/ 320 w 540"/>
                <a:gd name="T97" fmla="*/ 19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40" h="464">
                  <a:moveTo>
                    <a:pt x="270" y="0"/>
                  </a:moveTo>
                  <a:lnTo>
                    <a:pt x="270" y="0"/>
                  </a:lnTo>
                  <a:lnTo>
                    <a:pt x="298" y="0"/>
                  </a:lnTo>
                  <a:lnTo>
                    <a:pt x="324" y="4"/>
                  </a:lnTo>
                  <a:lnTo>
                    <a:pt x="350" y="10"/>
                  </a:lnTo>
                  <a:lnTo>
                    <a:pt x="374" y="18"/>
                  </a:lnTo>
                  <a:lnTo>
                    <a:pt x="398" y="28"/>
                  </a:lnTo>
                  <a:lnTo>
                    <a:pt x="420" y="40"/>
                  </a:lnTo>
                  <a:lnTo>
                    <a:pt x="442" y="52"/>
                  </a:lnTo>
                  <a:lnTo>
                    <a:pt x="460" y="68"/>
                  </a:lnTo>
                  <a:lnTo>
                    <a:pt x="478" y="84"/>
                  </a:lnTo>
                  <a:lnTo>
                    <a:pt x="494" y="102"/>
                  </a:lnTo>
                  <a:lnTo>
                    <a:pt x="506" y="122"/>
                  </a:lnTo>
                  <a:lnTo>
                    <a:pt x="518" y="142"/>
                  </a:lnTo>
                  <a:lnTo>
                    <a:pt x="528" y="162"/>
                  </a:lnTo>
                  <a:lnTo>
                    <a:pt x="534" y="184"/>
                  </a:lnTo>
                  <a:lnTo>
                    <a:pt x="538" y="208"/>
                  </a:lnTo>
                  <a:lnTo>
                    <a:pt x="540" y="232"/>
                  </a:lnTo>
                  <a:lnTo>
                    <a:pt x="540" y="232"/>
                  </a:lnTo>
                  <a:lnTo>
                    <a:pt x="538" y="256"/>
                  </a:lnTo>
                  <a:lnTo>
                    <a:pt x="534" y="278"/>
                  </a:lnTo>
                  <a:lnTo>
                    <a:pt x="528" y="300"/>
                  </a:lnTo>
                  <a:lnTo>
                    <a:pt x="518" y="322"/>
                  </a:lnTo>
                  <a:lnTo>
                    <a:pt x="506" y="342"/>
                  </a:lnTo>
                  <a:lnTo>
                    <a:pt x="494" y="362"/>
                  </a:lnTo>
                  <a:lnTo>
                    <a:pt x="478" y="380"/>
                  </a:lnTo>
                  <a:lnTo>
                    <a:pt x="460" y="396"/>
                  </a:lnTo>
                  <a:lnTo>
                    <a:pt x="442" y="410"/>
                  </a:lnTo>
                  <a:lnTo>
                    <a:pt x="420" y="424"/>
                  </a:lnTo>
                  <a:lnTo>
                    <a:pt x="398" y="436"/>
                  </a:lnTo>
                  <a:lnTo>
                    <a:pt x="374" y="446"/>
                  </a:lnTo>
                  <a:lnTo>
                    <a:pt x="350" y="454"/>
                  </a:lnTo>
                  <a:lnTo>
                    <a:pt x="324" y="460"/>
                  </a:lnTo>
                  <a:lnTo>
                    <a:pt x="298" y="462"/>
                  </a:lnTo>
                  <a:lnTo>
                    <a:pt x="270" y="464"/>
                  </a:lnTo>
                  <a:lnTo>
                    <a:pt x="270" y="464"/>
                  </a:lnTo>
                  <a:lnTo>
                    <a:pt x="242" y="462"/>
                  </a:lnTo>
                  <a:lnTo>
                    <a:pt x="216" y="458"/>
                  </a:lnTo>
                  <a:lnTo>
                    <a:pt x="190" y="454"/>
                  </a:lnTo>
                  <a:lnTo>
                    <a:pt x="164" y="446"/>
                  </a:lnTo>
                  <a:lnTo>
                    <a:pt x="140" y="436"/>
                  </a:lnTo>
                  <a:lnTo>
                    <a:pt x="118" y="424"/>
                  </a:lnTo>
                  <a:lnTo>
                    <a:pt x="98" y="410"/>
                  </a:lnTo>
                  <a:lnTo>
                    <a:pt x="78" y="396"/>
                  </a:lnTo>
                  <a:lnTo>
                    <a:pt x="62" y="380"/>
                  </a:lnTo>
                  <a:lnTo>
                    <a:pt x="46" y="362"/>
                  </a:lnTo>
                  <a:lnTo>
                    <a:pt x="32" y="342"/>
                  </a:lnTo>
                  <a:lnTo>
                    <a:pt x="20" y="322"/>
                  </a:lnTo>
                  <a:lnTo>
                    <a:pt x="12" y="300"/>
                  </a:lnTo>
                  <a:lnTo>
                    <a:pt x="6" y="278"/>
                  </a:lnTo>
                  <a:lnTo>
                    <a:pt x="2" y="256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08"/>
                  </a:lnTo>
                  <a:lnTo>
                    <a:pt x="6" y="184"/>
                  </a:lnTo>
                  <a:lnTo>
                    <a:pt x="12" y="162"/>
                  </a:lnTo>
                  <a:lnTo>
                    <a:pt x="20" y="142"/>
                  </a:lnTo>
                  <a:lnTo>
                    <a:pt x="32" y="120"/>
                  </a:lnTo>
                  <a:lnTo>
                    <a:pt x="46" y="102"/>
                  </a:lnTo>
                  <a:lnTo>
                    <a:pt x="62" y="84"/>
                  </a:lnTo>
                  <a:lnTo>
                    <a:pt x="78" y="68"/>
                  </a:lnTo>
                  <a:lnTo>
                    <a:pt x="98" y="52"/>
                  </a:lnTo>
                  <a:lnTo>
                    <a:pt x="118" y="40"/>
                  </a:lnTo>
                  <a:lnTo>
                    <a:pt x="140" y="28"/>
                  </a:lnTo>
                  <a:lnTo>
                    <a:pt x="164" y="18"/>
                  </a:lnTo>
                  <a:lnTo>
                    <a:pt x="190" y="10"/>
                  </a:lnTo>
                  <a:lnTo>
                    <a:pt x="216" y="4"/>
                  </a:lnTo>
                  <a:lnTo>
                    <a:pt x="242" y="0"/>
                  </a:lnTo>
                  <a:lnTo>
                    <a:pt x="270" y="0"/>
                  </a:lnTo>
                  <a:lnTo>
                    <a:pt x="270" y="0"/>
                  </a:lnTo>
                  <a:close/>
                  <a:moveTo>
                    <a:pt x="270" y="232"/>
                  </a:moveTo>
                  <a:lnTo>
                    <a:pt x="270" y="232"/>
                  </a:lnTo>
                  <a:close/>
                  <a:moveTo>
                    <a:pt x="220" y="50"/>
                  </a:moveTo>
                  <a:lnTo>
                    <a:pt x="220" y="50"/>
                  </a:lnTo>
                  <a:lnTo>
                    <a:pt x="220" y="196"/>
                  </a:lnTo>
                  <a:lnTo>
                    <a:pt x="220" y="196"/>
                  </a:lnTo>
                  <a:lnTo>
                    <a:pt x="214" y="186"/>
                  </a:lnTo>
                  <a:lnTo>
                    <a:pt x="208" y="176"/>
                  </a:lnTo>
                  <a:lnTo>
                    <a:pt x="194" y="160"/>
                  </a:lnTo>
                  <a:lnTo>
                    <a:pt x="176" y="144"/>
                  </a:lnTo>
                  <a:lnTo>
                    <a:pt x="156" y="130"/>
                  </a:lnTo>
                  <a:lnTo>
                    <a:pt x="48" y="130"/>
                  </a:lnTo>
                  <a:lnTo>
                    <a:pt x="48" y="130"/>
                  </a:lnTo>
                  <a:lnTo>
                    <a:pt x="76" y="152"/>
                  </a:lnTo>
                  <a:lnTo>
                    <a:pt x="106" y="178"/>
                  </a:lnTo>
                  <a:lnTo>
                    <a:pt x="120" y="192"/>
                  </a:lnTo>
                  <a:lnTo>
                    <a:pt x="130" y="204"/>
                  </a:lnTo>
                  <a:lnTo>
                    <a:pt x="136" y="218"/>
                  </a:lnTo>
                  <a:lnTo>
                    <a:pt x="138" y="230"/>
                  </a:lnTo>
                  <a:lnTo>
                    <a:pt x="138" y="230"/>
                  </a:lnTo>
                  <a:lnTo>
                    <a:pt x="138" y="236"/>
                  </a:lnTo>
                  <a:lnTo>
                    <a:pt x="136" y="240"/>
                  </a:lnTo>
                  <a:lnTo>
                    <a:pt x="132" y="244"/>
                  </a:lnTo>
                  <a:lnTo>
                    <a:pt x="128" y="246"/>
                  </a:lnTo>
                  <a:lnTo>
                    <a:pt x="11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38" y="25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146" y="330"/>
                  </a:lnTo>
                  <a:lnTo>
                    <a:pt x="146" y="330"/>
                  </a:lnTo>
                  <a:lnTo>
                    <a:pt x="166" y="328"/>
                  </a:lnTo>
                  <a:lnTo>
                    <a:pt x="176" y="324"/>
                  </a:lnTo>
                  <a:lnTo>
                    <a:pt x="186" y="320"/>
                  </a:lnTo>
                  <a:lnTo>
                    <a:pt x="196" y="314"/>
                  </a:lnTo>
                  <a:lnTo>
                    <a:pt x="206" y="306"/>
                  </a:lnTo>
                  <a:lnTo>
                    <a:pt x="214" y="296"/>
                  </a:lnTo>
                  <a:lnTo>
                    <a:pt x="220" y="284"/>
                  </a:lnTo>
                  <a:lnTo>
                    <a:pt x="220" y="390"/>
                  </a:lnTo>
                  <a:lnTo>
                    <a:pt x="320" y="390"/>
                  </a:lnTo>
                  <a:lnTo>
                    <a:pt x="320" y="284"/>
                  </a:lnTo>
                  <a:lnTo>
                    <a:pt x="320" y="284"/>
                  </a:lnTo>
                  <a:lnTo>
                    <a:pt x="326" y="296"/>
                  </a:lnTo>
                  <a:lnTo>
                    <a:pt x="334" y="306"/>
                  </a:lnTo>
                  <a:lnTo>
                    <a:pt x="342" y="314"/>
                  </a:lnTo>
                  <a:lnTo>
                    <a:pt x="352" y="320"/>
                  </a:lnTo>
                  <a:lnTo>
                    <a:pt x="362" y="324"/>
                  </a:lnTo>
                  <a:lnTo>
                    <a:pt x="372" y="328"/>
                  </a:lnTo>
                  <a:lnTo>
                    <a:pt x="392" y="330"/>
                  </a:lnTo>
                  <a:lnTo>
                    <a:pt x="392" y="330"/>
                  </a:lnTo>
                  <a:lnTo>
                    <a:pt x="500" y="330"/>
                  </a:lnTo>
                  <a:lnTo>
                    <a:pt x="500" y="250"/>
                  </a:lnTo>
                  <a:lnTo>
                    <a:pt x="500" y="250"/>
                  </a:lnTo>
                  <a:lnTo>
                    <a:pt x="432" y="250"/>
                  </a:lnTo>
                  <a:lnTo>
                    <a:pt x="432" y="250"/>
                  </a:lnTo>
                  <a:lnTo>
                    <a:pt x="422" y="250"/>
                  </a:lnTo>
                  <a:lnTo>
                    <a:pt x="412" y="246"/>
                  </a:lnTo>
                  <a:lnTo>
                    <a:pt x="408" y="244"/>
                  </a:lnTo>
                  <a:lnTo>
                    <a:pt x="404" y="240"/>
                  </a:lnTo>
                  <a:lnTo>
                    <a:pt x="402" y="236"/>
                  </a:lnTo>
                  <a:lnTo>
                    <a:pt x="400" y="230"/>
                  </a:lnTo>
                  <a:lnTo>
                    <a:pt x="400" y="230"/>
                  </a:lnTo>
                  <a:lnTo>
                    <a:pt x="402" y="218"/>
                  </a:lnTo>
                  <a:lnTo>
                    <a:pt x="410" y="204"/>
                  </a:lnTo>
                  <a:lnTo>
                    <a:pt x="420" y="192"/>
                  </a:lnTo>
                  <a:lnTo>
                    <a:pt x="432" y="178"/>
                  </a:lnTo>
                  <a:lnTo>
                    <a:pt x="462" y="152"/>
                  </a:lnTo>
                  <a:lnTo>
                    <a:pt x="492" y="130"/>
                  </a:lnTo>
                  <a:lnTo>
                    <a:pt x="382" y="130"/>
                  </a:lnTo>
                  <a:lnTo>
                    <a:pt x="382" y="130"/>
                  </a:lnTo>
                  <a:lnTo>
                    <a:pt x="364" y="144"/>
                  </a:lnTo>
                  <a:lnTo>
                    <a:pt x="346" y="160"/>
                  </a:lnTo>
                  <a:lnTo>
                    <a:pt x="330" y="176"/>
                  </a:lnTo>
                  <a:lnTo>
                    <a:pt x="324" y="186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20" y="50"/>
                  </a:lnTo>
                  <a:lnTo>
                    <a:pt x="22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1314450" y="339725"/>
              <a:ext cx="5232400" cy="736600"/>
              <a:chOff x="1314450" y="339725"/>
              <a:chExt cx="5232400" cy="736600"/>
            </a:xfrm>
            <a:grpFill/>
          </p:grpSpPr>
          <p:sp>
            <p:nvSpPr>
              <p:cNvPr id="11" name="Freeform 9"/>
              <p:cNvSpPr>
                <a:spLocks/>
              </p:cNvSpPr>
              <p:nvPr/>
            </p:nvSpPr>
            <p:spPr bwMode="auto">
              <a:xfrm>
                <a:off x="1908175" y="352425"/>
                <a:ext cx="139700" cy="98425"/>
              </a:xfrm>
              <a:custGeom>
                <a:avLst/>
                <a:gdLst>
                  <a:gd name="T0" fmla="*/ 4 w 88"/>
                  <a:gd name="T1" fmla="*/ 0 h 62"/>
                  <a:gd name="T2" fmla="*/ 88 w 88"/>
                  <a:gd name="T3" fmla="*/ 0 h 62"/>
                  <a:gd name="T4" fmla="*/ 84 w 88"/>
                  <a:gd name="T5" fmla="*/ 62 h 62"/>
                  <a:gd name="T6" fmla="*/ 0 w 88"/>
                  <a:gd name="T7" fmla="*/ 62 h 62"/>
                  <a:gd name="T8" fmla="*/ 4 w 88"/>
                  <a:gd name="T9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" h="62">
                    <a:moveTo>
                      <a:pt x="4" y="0"/>
                    </a:moveTo>
                    <a:lnTo>
                      <a:pt x="88" y="0"/>
                    </a:lnTo>
                    <a:lnTo>
                      <a:pt x="84" y="62"/>
                    </a:lnTo>
                    <a:lnTo>
                      <a:pt x="0" y="6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10"/>
              <p:cNvSpPr>
                <a:spLocks noEditPoints="1"/>
              </p:cNvSpPr>
              <p:nvPr/>
            </p:nvSpPr>
            <p:spPr bwMode="auto">
              <a:xfrm>
                <a:off x="5397500" y="504825"/>
                <a:ext cx="393700" cy="393700"/>
              </a:xfrm>
              <a:custGeom>
                <a:avLst/>
                <a:gdLst>
                  <a:gd name="T0" fmla="*/ 152 w 248"/>
                  <a:gd name="T1" fmla="*/ 216 h 248"/>
                  <a:gd name="T2" fmla="*/ 138 w 248"/>
                  <a:gd name="T3" fmla="*/ 228 h 248"/>
                  <a:gd name="T4" fmla="*/ 112 w 248"/>
                  <a:gd name="T5" fmla="*/ 242 h 248"/>
                  <a:gd name="T6" fmla="*/ 92 w 248"/>
                  <a:gd name="T7" fmla="*/ 246 h 248"/>
                  <a:gd name="T8" fmla="*/ 80 w 248"/>
                  <a:gd name="T9" fmla="*/ 248 h 248"/>
                  <a:gd name="T10" fmla="*/ 44 w 248"/>
                  <a:gd name="T11" fmla="*/ 242 h 248"/>
                  <a:gd name="T12" fmla="*/ 18 w 248"/>
                  <a:gd name="T13" fmla="*/ 226 h 248"/>
                  <a:gd name="T14" fmla="*/ 4 w 248"/>
                  <a:gd name="T15" fmla="*/ 202 h 248"/>
                  <a:gd name="T16" fmla="*/ 0 w 248"/>
                  <a:gd name="T17" fmla="*/ 174 h 248"/>
                  <a:gd name="T18" fmla="*/ 2 w 248"/>
                  <a:gd name="T19" fmla="*/ 156 h 248"/>
                  <a:gd name="T20" fmla="*/ 20 w 248"/>
                  <a:gd name="T21" fmla="*/ 128 h 248"/>
                  <a:gd name="T22" fmla="*/ 54 w 248"/>
                  <a:gd name="T23" fmla="*/ 108 h 248"/>
                  <a:gd name="T24" fmla="*/ 104 w 248"/>
                  <a:gd name="T25" fmla="*/ 98 h 248"/>
                  <a:gd name="T26" fmla="*/ 162 w 248"/>
                  <a:gd name="T27" fmla="*/ 96 h 248"/>
                  <a:gd name="T28" fmla="*/ 164 w 248"/>
                  <a:gd name="T29" fmla="*/ 78 h 248"/>
                  <a:gd name="T30" fmla="*/ 162 w 248"/>
                  <a:gd name="T31" fmla="*/ 60 h 248"/>
                  <a:gd name="T32" fmla="*/ 154 w 248"/>
                  <a:gd name="T33" fmla="*/ 46 h 248"/>
                  <a:gd name="T34" fmla="*/ 136 w 248"/>
                  <a:gd name="T35" fmla="*/ 40 h 248"/>
                  <a:gd name="T36" fmla="*/ 126 w 248"/>
                  <a:gd name="T37" fmla="*/ 42 h 248"/>
                  <a:gd name="T38" fmla="*/ 114 w 248"/>
                  <a:gd name="T39" fmla="*/ 48 h 248"/>
                  <a:gd name="T40" fmla="*/ 106 w 248"/>
                  <a:gd name="T41" fmla="*/ 66 h 248"/>
                  <a:gd name="T42" fmla="*/ 22 w 248"/>
                  <a:gd name="T43" fmla="*/ 76 h 248"/>
                  <a:gd name="T44" fmla="*/ 24 w 248"/>
                  <a:gd name="T45" fmla="*/ 66 h 248"/>
                  <a:gd name="T46" fmla="*/ 28 w 248"/>
                  <a:gd name="T47" fmla="*/ 46 h 248"/>
                  <a:gd name="T48" fmla="*/ 38 w 248"/>
                  <a:gd name="T49" fmla="*/ 30 h 248"/>
                  <a:gd name="T50" fmla="*/ 54 w 248"/>
                  <a:gd name="T51" fmla="*/ 18 h 248"/>
                  <a:gd name="T52" fmla="*/ 62 w 248"/>
                  <a:gd name="T53" fmla="*/ 14 h 248"/>
                  <a:gd name="T54" fmla="*/ 102 w 248"/>
                  <a:gd name="T55" fmla="*/ 2 h 248"/>
                  <a:gd name="T56" fmla="*/ 144 w 248"/>
                  <a:gd name="T57" fmla="*/ 0 h 248"/>
                  <a:gd name="T58" fmla="*/ 164 w 248"/>
                  <a:gd name="T59" fmla="*/ 0 h 248"/>
                  <a:gd name="T60" fmla="*/ 200 w 248"/>
                  <a:gd name="T61" fmla="*/ 10 h 248"/>
                  <a:gd name="T62" fmla="*/ 230 w 248"/>
                  <a:gd name="T63" fmla="*/ 30 h 248"/>
                  <a:gd name="T64" fmla="*/ 240 w 248"/>
                  <a:gd name="T65" fmla="*/ 44 h 248"/>
                  <a:gd name="T66" fmla="*/ 246 w 248"/>
                  <a:gd name="T67" fmla="*/ 62 h 248"/>
                  <a:gd name="T68" fmla="*/ 248 w 248"/>
                  <a:gd name="T69" fmla="*/ 82 h 248"/>
                  <a:gd name="T70" fmla="*/ 242 w 248"/>
                  <a:gd name="T71" fmla="*/ 196 h 248"/>
                  <a:gd name="T72" fmla="*/ 242 w 248"/>
                  <a:gd name="T73" fmla="*/ 246 h 248"/>
                  <a:gd name="T74" fmla="*/ 152 w 248"/>
                  <a:gd name="T75" fmla="*/ 216 h 248"/>
                  <a:gd name="T76" fmla="*/ 114 w 248"/>
                  <a:gd name="T77" fmla="*/ 200 h 248"/>
                  <a:gd name="T78" fmla="*/ 138 w 248"/>
                  <a:gd name="T79" fmla="*/ 194 h 248"/>
                  <a:gd name="T80" fmla="*/ 152 w 248"/>
                  <a:gd name="T81" fmla="*/ 176 h 248"/>
                  <a:gd name="T82" fmla="*/ 158 w 248"/>
                  <a:gd name="T83" fmla="*/ 154 h 248"/>
                  <a:gd name="T84" fmla="*/ 160 w 248"/>
                  <a:gd name="T85" fmla="*/ 130 h 248"/>
                  <a:gd name="T86" fmla="*/ 122 w 248"/>
                  <a:gd name="T87" fmla="*/ 132 h 248"/>
                  <a:gd name="T88" fmla="*/ 110 w 248"/>
                  <a:gd name="T89" fmla="*/ 134 h 248"/>
                  <a:gd name="T90" fmla="*/ 94 w 248"/>
                  <a:gd name="T91" fmla="*/ 148 h 248"/>
                  <a:gd name="T92" fmla="*/ 86 w 248"/>
                  <a:gd name="T93" fmla="*/ 170 h 248"/>
                  <a:gd name="T94" fmla="*/ 86 w 248"/>
                  <a:gd name="T95" fmla="*/ 176 h 248"/>
                  <a:gd name="T96" fmla="*/ 92 w 248"/>
                  <a:gd name="T97" fmla="*/ 192 h 248"/>
                  <a:gd name="T98" fmla="*/ 102 w 248"/>
                  <a:gd name="T99" fmla="*/ 198 h 248"/>
                  <a:gd name="T100" fmla="*/ 114 w 248"/>
                  <a:gd name="T101" fmla="*/ 20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8" h="248">
                    <a:moveTo>
                      <a:pt x="152" y="216"/>
                    </a:moveTo>
                    <a:lnTo>
                      <a:pt x="152" y="216"/>
                    </a:lnTo>
                    <a:lnTo>
                      <a:pt x="152" y="216"/>
                    </a:lnTo>
                    <a:lnTo>
                      <a:pt x="138" y="228"/>
                    </a:lnTo>
                    <a:lnTo>
                      <a:pt x="122" y="238"/>
                    </a:lnTo>
                    <a:lnTo>
                      <a:pt x="112" y="242"/>
                    </a:lnTo>
                    <a:lnTo>
                      <a:pt x="102" y="246"/>
                    </a:lnTo>
                    <a:lnTo>
                      <a:pt x="92" y="246"/>
                    </a:lnTo>
                    <a:lnTo>
                      <a:pt x="80" y="248"/>
                    </a:lnTo>
                    <a:lnTo>
                      <a:pt x="80" y="248"/>
                    </a:lnTo>
                    <a:lnTo>
                      <a:pt x="60" y="246"/>
                    </a:lnTo>
                    <a:lnTo>
                      <a:pt x="44" y="242"/>
                    </a:lnTo>
                    <a:lnTo>
                      <a:pt x="30" y="234"/>
                    </a:lnTo>
                    <a:lnTo>
                      <a:pt x="18" y="226"/>
                    </a:lnTo>
                    <a:lnTo>
                      <a:pt x="10" y="216"/>
                    </a:lnTo>
                    <a:lnTo>
                      <a:pt x="4" y="202"/>
                    </a:lnTo>
                    <a:lnTo>
                      <a:pt x="0" y="188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2" y="156"/>
                    </a:lnTo>
                    <a:lnTo>
                      <a:pt x="8" y="142"/>
                    </a:lnTo>
                    <a:lnTo>
                      <a:pt x="20" y="128"/>
                    </a:lnTo>
                    <a:lnTo>
                      <a:pt x="34" y="116"/>
                    </a:lnTo>
                    <a:lnTo>
                      <a:pt x="54" y="108"/>
                    </a:lnTo>
                    <a:lnTo>
                      <a:pt x="76" y="102"/>
                    </a:lnTo>
                    <a:lnTo>
                      <a:pt x="104" y="98"/>
                    </a:lnTo>
                    <a:lnTo>
                      <a:pt x="134" y="96"/>
                    </a:lnTo>
                    <a:lnTo>
                      <a:pt x="162" y="96"/>
                    </a:lnTo>
                    <a:lnTo>
                      <a:pt x="162" y="96"/>
                    </a:lnTo>
                    <a:lnTo>
                      <a:pt x="164" y="78"/>
                    </a:lnTo>
                    <a:lnTo>
                      <a:pt x="164" y="70"/>
                    </a:lnTo>
                    <a:lnTo>
                      <a:pt x="162" y="60"/>
                    </a:lnTo>
                    <a:lnTo>
                      <a:pt x="160" y="52"/>
                    </a:lnTo>
                    <a:lnTo>
                      <a:pt x="154" y="46"/>
                    </a:lnTo>
                    <a:lnTo>
                      <a:pt x="146" y="42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26" y="42"/>
                    </a:lnTo>
                    <a:lnTo>
                      <a:pt x="120" y="44"/>
                    </a:lnTo>
                    <a:lnTo>
                      <a:pt x="114" y="48"/>
                    </a:lnTo>
                    <a:lnTo>
                      <a:pt x="110" y="54"/>
                    </a:lnTo>
                    <a:lnTo>
                      <a:pt x="106" y="66"/>
                    </a:lnTo>
                    <a:lnTo>
                      <a:pt x="104" y="76"/>
                    </a:lnTo>
                    <a:lnTo>
                      <a:pt x="22" y="76"/>
                    </a:lnTo>
                    <a:lnTo>
                      <a:pt x="22" y="76"/>
                    </a:lnTo>
                    <a:lnTo>
                      <a:pt x="24" y="66"/>
                    </a:lnTo>
                    <a:lnTo>
                      <a:pt x="26" y="54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38" y="30"/>
                    </a:lnTo>
                    <a:lnTo>
                      <a:pt x="46" y="24"/>
                    </a:lnTo>
                    <a:lnTo>
                      <a:pt x="54" y="18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2" y="6"/>
                    </a:lnTo>
                    <a:lnTo>
                      <a:pt x="102" y="2"/>
                    </a:lnTo>
                    <a:lnTo>
                      <a:pt x="124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64" y="0"/>
                    </a:lnTo>
                    <a:lnTo>
                      <a:pt x="182" y="4"/>
                    </a:lnTo>
                    <a:lnTo>
                      <a:pt x="200" y="10"/>
                    </a:lnTo>
                    <a:lnTo>
                      <a:pt x="216" y="18"/>
                    </a:lnTo>
                    <a:lnTo>
                      <a:pt x="230" y="30"/>
                    </a:lnTo>
                    <a:lnTo>
                      <a:pt x="236" y="38"/>
                    </a:lnTo>
                    <a:lnTo>
                      <a:pt x="240" y="44"/>
                    </a:lnTo>
                    <a:lnTo>
                      <a:pt x="244" y="52"/>
                    </a:lnTo>
                    <a:lnTo>
                      <a:pt x="246" y="62"/>
                    </a:lnTo>
                    <a:lnTo>
                      <a:pt x="248" y="72"/>
                    </a:lnTo>
                    <a:lnTo>
                      <a:pt x="248" y="82"/>
                    </a:lnTo>
                    <a:lnTo>
                      <a:pt x="242" y="196"/>
                    </a:lnTo>
                    <a:lnTo>
                      <a:pt x="242" y="196"/>
                    </a:lnTo>
                    <a:lnTo>
                      <a:pt x="240" y="214"/>
                    </a:lnTo>
                    <a:lnTo>
                      <a:pt x="242" y="246"/>
                    </a:lnTo>
                    <a:lnTo>
                      <a:pt x="158" y="246"/>
                    </a:lnTo>
                    <a:lnTo>
                      <a:pt x="152" y="216"/>
                    </a:lnTo>
                    <a:close/>
                    <a:moveTo>
                      <a:pt x="114" y="200"/>
                    </a:moveTo>
                    <a:lnTo>
                      <a:pt x="114" y="200"/>
                    </a:lnTo>
                    <a:lnTo>
                      <a:pt x="128" y="198"/>
                    </a:lnTo>
                    <a:lnTo>
                      <a:pt x="138" y="194"/>
                    </a:lnTo>
                    <a:lnTo>
                      <a:pt x="146" y="186"/>
                    </a:lnTo>
                    <a:lnTo>
                      <a:pt x="152" y="176"/>
                    </a:lnTo>
                    <a:lnTo>
                      <a:pt x="156" y="166"/>
                    </a:lnTo>
                    <a:lnTo>
                      <a:pt x="158" y="154"/>
                    </a:lnTo>
                    <a:lnTo>
                      <a:pt x="160" y="130"/>
                    </a:lnTo>
                    <a:lnTo>
                      <a:pt x="160" y="130"/>
                    </a:lnTo>
                    <a:lnTo>
                      <a:pt x="134" y="130"/>
                    </a:lnTo>
                    <a:lnTo>
                      <a:pt x="122" y="132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2" y="140"/>
                    </a:lnTo>
                    <a:lnTo>
                      <a:pt x="94" y="148"/>
                    </a:lnTo>
                    <a:lnTo>
                      <a:pt x="88" y="158"/>
                    </a:lnTo>
                    <a:lnTo>
                      <a:pt x="86" y="170"/>
                    </a:lnTo>
                    <a:lnTo>
                      <a:pt x="86" y="170"/>
                    </a:lnTo>
                    <a:lnTo>
                      <a:pt x="86" y="176"/>
                    </a:lnTo>
                    <a:lnTo>
                      <a:pt x="88" y="182"/>
                    </a:lnTo>
                    <a:lnTo>
                      <a:pt x="92" y="192"/>
                    </a:lnTo>
                    <a:lnTo>
                      <a:pt x="96" y="194"/>
                    </a:lnTo>
                    <a:lnTo>
                      <a:pt x="102" y="198"/>
                    </a:lnTo>
                    <a:lnTo>
                      <a:pt x="108" y="200"/>
                    </a:lnTo>
                    <a:lnTo>
                      <a:pt x="114" y="200"/>
                    </a:lnTo>
                    <a:lnTo>
                      <a:pt x="114" y="2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11"/>
              <p:cNvSpPr>
                <a:spLocks noEditPoints="1"/>
              </p:cNvSpPr>
              <p:nvPr/>
            </p:nvSpPr>
            <p:spPr bwMode="auto">
              <a:xfrm>
                <a:off x="6092825" y="352425"/>
                <a:ext cx="454025" cy="542925"/>
              </a:xfrm>
              <a:custGeom>
                <a:avLst/>
                <a:gdLst>
                  <a:gd name="T0" fmla="*/ 0 w 286"/>
                  <a:gd name="T1" fmla="*/ 342 h 342"/>
                  <a:gd name="T2" fmla="*/ 24 w 286"/>
                  <a:gd name="T3" fmla="*/ 0 h 342"/>
                  <a:gd name="T4" fmla="*/ 114 w 286"/>
                  <a:gd name="T5" fmla="*/ 0 h 342"/>
                  <a:gd name="T6" fmla="*/ 90 w 286"/>
                  <a:gd name="T7" fmla="*/ 342 h 342"/>
                  <a:gd name="T8" fmla="*/ 0 w 286"/>
                  <a:gd name="T9" fmla="*/ 342 h 342"/>
                  <a:gd name="T10" fmla="*/ 100 w 286"/>
                  <a:gd name="T11" fmla="*/ 210 h 342"/>
                  <a:gd name="T12" fmla="*/ 184 w 286"/>
                  <a:gd name="T13" fmla="*/ 104 h 342"/>
                  <a:gd name="T14" fmla="*/ 286 w 286"/>
                  <a:gd name="T15" fmla="*/ 104 h 342"/>
                  <a:gd name="T16" fmla="*/ 194 w 286"/>
                  <a:gd name="T17" fmla="*/ 204 h 342"/>
                  <a:gd name="T18" fmla="*/ 282 w 286"/>
                  <a:gd name="T19" fmla="*/ 342 h 342"/>
                  <a:gd name="T20" fmla="*/ 170 w 286"/>
                  <a:gd name="T21" fmla="*/ 342 h 342"/>
                  <a:gd name="T22" fmla="*/ 100 w 286"/>
                  <a:gd name="T23" fmla="*/ 21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6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4" y="0"/>
                    </a:lnTo>
                    <a:lnTo>
                      <a:pt x="90" y="342"/>
                    </a:lnTo>
                    <a:lnTo>
                      <a:pt x="0" y="342"/>
                    </a:lnTo>
                    <a:close/>
                    <a:moveTo>
                      <a:pt x="100" y="210"/>
                    </a:moveTo>
                    <a:lnTo>
                      <a:pt x="184" y="104"/>
                    </a:lnTo>
                    <a:lnTo>
                      <a:pt x="286" y="104"/>
                    </a:lnTo>
                    <a:lnTo>
                      <a:pt x="194" y="204"/>
                    </a:lnTo>
                    <a:lnTo>
                      <a:pt x="282" y="342"/>
                    </a:lnTo>
                    <a:lnTo>
                      <a:pt x="170" y="342"/>
                    </a:lnTo>
                    <a:lnTo>
                      <a:pt x="10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12"/>
              <p:cNvSpPr>
                <a:spLocks/>
              </p:cNvSpPr>
              <p:nvPr/>
            </p:nvSpPr>
            <p:spPr bwMode="auto">
              <a:xfrm>
                <a:off x="3606800" y="517525"/>
                <a:ext cx="292100" cy="377825"/>
              </a:xfrm>
              <a:custGeom>
                <a:avLst/>
                <a:gdLst>
                  <a:gd name="T0" fmla="*/ 104 w 184"/>
                  <a:gd name="T1" fmla="*/ 34 h 238"/>
                  <a:gd name="T2" fmla="*/ 106 w 184"/>
                  <a:gd name="T3" fmla="*/ 34 h 238"/>
                  <a:gd name="T4" fmla="*/ 106 w 184"/>
                  <a:gd name="T5" fmla="*/ 34 h 238"/>
                  <a:gd name="T6" fmla="*/ 114 w 184"/>
                  <a:gd name="T7" fmla="*/ 24 h 238"/>
                  <a:gd name="T8" fmla="*/ 124 w 184"/>
                  <a:gd name="T9" fmla="*/ 16 h 238"/>
                  <a:gd name="T10" fmla="*/ 132 w 184"/>
                  <a:gd name="T11" fmla="*/ 10 h 238"/>
                  <a:gd name="T12" fmla="*/ 142 w 184"/>
                  <a:gd name="T13" fmla="*/ 6 h 238"/>
                  <a:gd name="T14" fmla="*/ 152 w 184"/>
                  <a:gd name="T15" fmla="*/ 4 h 238"/>
                  <a:gd name="T16" fmla="*/ 162 w 184"/>
                  <a:gd name="T17" fmla="*/ 2 h 238"/>
                  <a:gd name="T18" fmla="*/ 184 w 184"/>
                  <a:gd name="T19" fmla="*/ 0 h 238"/>
                  <a:gd name="T20" fmla="*/ 178 w 184"/>
                  <a:gd name="T21" fmla="*/ 76 h 238"/>
                  <a:gd name="T22" fmla="*/ 178 w 184"/>
                  <a:gd name="T23" fmla="*/ 76 h 238"/>
                  <a:gd name="T24" fmla="*/ 160 w 184"/>
                  <a:gd name="T25" fmla="*/ 76 h 238"/>
                  <a:gd name="T26" fmla="*/ 160 w 184"/>
                  <a:gd name="T27" fmla="*/ 76 h 238"/>
                  <a:gd name="T28" fmla="*/ 140 w 184"/>
                  <a:gd name="T29" fmla="*/ 78 h 238"/>
                  <a:gd name="T30" fmla="*/ 126 w 184"/>
                  <a:gd name="T31" fmla="*/ 82 h 238"/>
                  <a:gd name="T32" fmla="*/ 116 w 184"/>
                  <a:gd name="T33" fmla="*/ 88 h 238"/>
                  <a:gd name="T34" fmla="*/ 108 w 184"/>
                  <a:gd name="T35" fmla="*/ 98 h 238"/>
                  <a:gd name="T36" fmla="*/ 102 w 184"/>
                  <a:gd name="T37" fmla="*/ 108 h 238"/>
                  <a:gd name="T38" fmla="*/ 100 w 184"/>
                  <a:gd name="T39" fmla="*/ 120 h 238"/>
                  <a:gd name="T40" fmla="*/ 98 w 184"/>
                  <a:gd name="T41" fmla="*/ 148 h 238"/>
                  <a:gd name="T42" fmla="*/ 92 w 184"/>
                  <a:gd name="T43" fmla="*/ 238 h 238"/>
                  <a:gd name="T44" fmla="*/ 0 w 184"/>
                  <a:gd name="T45" fmla="*/ 238 h 238"/>
                  <a:gd name="T46" fmla="*/ 12 w 184"/>
                  <a:gd name="T47" fmla="*/ 62 h 238"/>
                  <a:gd name="T48" fmla="*/ 12 w 184"/>
                  <a:gd name="T49" fmla="*/ 62 h 238"/>
                  <a:gd name="T50" fmla="*/ 14 w 184"/>
                  <a:gd name="T51" fmla="*/ 32 h 238"/>
                  <a:gd name="T52" fmla="*/ 14 w 184"/>
                  <a:gd name="T53" fmla="*/ 0 h 238"/>
                  <a:gd name="T54" fmla="*/ 102 w 184"/>
                  <a:gd name="T55" fmla="*/ 0 h 238"/>
                  <a:gd name="T56" fmla="*/ 104 w 184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4" h="238">
                    <a:moveTo>
                      <a:pt x="104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4" y="24"/>
                    </a:lnTo>
                    <a:lnTo>
                      <a:pt x="124" y="16"/>
                    </a:lnTo>
                    <a:lnTo>
                      <a:pt x="132" y="10"/>
                    </a:lnTo>
                    <a:lnTo>
                      <a:pt x="142" y="6"/>
                    </a:lnTo>
                    <a:lnTo>
                      <a:pt x="152" y="4"/>
                    </a:lnTo>
                    <a:lnTo>
                      <a:pt x="162" y="2"/>
                    </a:lnTo>
                    <a:lnTo>
                      <a:pt x="184" y="0"/>
                    </a:lnTo>
                    <a:lnTo>
                      <a:pt x="178" y="76"/>
                    </a:lnTo>
                    <a:lnTo>
                      <a:pt x="178" y="76"/>
                    </a:lnTo>
                    <a:lnTo>
                      <a:pt x="160" y="76"/>
                    </a:lnTo>
                    <a:lnTo>
                      <a:pt x="160" y="76"/>
                    </a:lnTo>
                    <a:lnTo>
                      <a:pt x="140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2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4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13"/>
              <p:cNvSpPr>
                <a:spLocks/>
              </p:cNvSpPr>
              <p:nvPr/>
            </p:nvSpPr>
            <p:spPr bwMode="auto">
              <a:xfrm>
                <a:off x="3889375" y="352425"/>
                <a:ext cx="174625" cy="542925"/>
              </a:xfrm>
              <a:custGeom>
                <a:avLst/>
                <a:gdLst>
                  <a:gd name="T0" fmla="*/ 0 w 110"/>
                  <a:gd name="T1" fmla="*/ 342 h 342"/>
                  <a:gd name="T2" fmla="*/ 24 w 110"/>
                  <a:gd name="T3" fmla="*/ 0 h 342"/>
                  <a:gd name="T4" fmla="*/ 110 w 110"/>
                  <a:gd name="T5" fmla="*/ 0 h 342"/>
                  <a:gd name="T6" fmla="*/ 86 w 110"/>
                  <a:gd name="T7" fmla="*/ 342 h 342"/>
                  <a:gd name="T8" fmla="*/ 0 w 110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0" y="0"/>
                    </a:lnTo>
                    <a:lnTo>
                      <a:pt x="86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14"/>
              <p:cNvSpPr>
                <a:spLocks noEditPoints="1"/>
              </p:cNvSpPr>
              <p:nvPr/>
            </p:nvSpPr>
            <p:spPr bwMode="auto">
              <a:xfrm>
                <a:off x="2740025" y="352425"/>
                <a:ext cx="438150" cy="546100"/>
              </a:xfrm>
              <a:custGeom>
                <a:avLst/>
                <a:gdLst>
                  <a:gd name="T0" fmla="*/ 112 w 276"/>
                  <a:gd name="T1" fmla="*/ 0 h 344"/>
                  <a:gd name="T2" fmla="*/ 104 w 276"/>
                  <a:gd name="T3" fmla="*/ 136 h 344"/>
                  <a:gd name="T4" fmla="*/ 120 w 276"/>
                  <a:gd name="T5" fmla="*/ 122 h 344"/>
                  <a:gd name="T6" fmla="*/ 146 w 276"/>
                  <a:gd name="T7" fmla="*/ 104 h 344"/>
                  <a:gd name="T8" fmla="*/ 168 w 276"/>
                  <a:gd name="T9" fmla="*/ 98 h 344"/>
                  <a:gd name="T10" fmla="*/ 180 w 276"/>
                  <a:gd name="T11" fmla="*/ 98 h 344"/>
                  <a:gd name="T12" fmla="*/ 206 w 276"/>
                  <a:gd name="T13" fmla="*/ 100 h 344"/>
                  <a:gd name="T14" fmla="*/ 226 w 276"/>
                  <a:gd name="T15" fmla="*/ 108 h 344"/>
                  <a:gd name="T16" fmla="*/ 244 w 276"/>
                  <a:gd name="T17" fmla="*/ 120 h 344"/>
                  <a:gd name="T18" fmla="*/ 258 w 276"/>
                  <a:gd name="T19" fmla="*/ 136 h 344"/>
                  <a:gd name="T20" fmla="*/ 274 w 276"/>
                  <a:gd name="T21" fmla="*/ 176 h 344"/>
                  <a:gd name="T22" fmla="*/ 276 w 276"/>
                  <a:gd name="T23" fmla="*/ 220 h 344"/>
                  <a:gd name="T24" fmla="*/ 274 w 276"/>
                  <a:gd name="T25" fmla="*/ 242 h 344"/>
                  <a:gd name="T26" fmla="*/ 260 w 276"/>
                  <a:gd name="T27" fmla="*/ 284 h 344"/>
                  <a:gd name="T28" fmla="*/ 240 w 276"/>
                  <a:gd name="T29" fmla="*/ 312 h 344"/>
                  <a:gd name="T30" fmla="*/ 222 w 276"/>
                  <a:gd name="T31" fmla="*/ 328 h 344"/>
                  <a:gd name="T32" fmla="*/ 202 w 276"/>
                  <a:gd name="T33" fmla="*/ 338 h 344"/>
                  <a:gd name="T34" fmla="*/ 176 w 276"/>
                  <a:gd name="T35" fmla="*/ 344 h 344"/>
                  <a:gd name="T36" fmla="*/ 160 w 276"/>
                  <a:gd name="T37" fmla="*/ 344 h 344"/>
                  <a:gd name="T38" fmla="*/ 140 w 276"/>
                  <a:gd name="T39" fmla="*/ 342 h 344"/>
                  <a:gd name="T40" fmla="*/ 106 w 276"/>
                  <a:gd name="T41" fmla="*/ 324 h 344"/>
                  <a:gd name="T42" fmla="*/ 92 w 276"/>
                  <a:gd name="T43" fmla="*/ 312 h 344"/>
                  <a:gd name="T44" fmla="*/ 0 w 276"/>
                  <a:gd name="T45" fmla="*/ 342 h 344"/>
                  <a:gd name="T46" fmla="*/ 94 w 276"/>
                  <a:gd name="T47" fmla="*/ 226 h 344"/>
                  <a:gd name="T48" fmla="*/ 96 w 276"/>
                  <a:gd name="T49" fmla="*/ 250 h 344"/>
                  <a:gd name="T50" fmla="*/ 102 w 276"/>
                  <a:gd name="T51" fmla="*/ 272 h 344"/>
                  <a:gd name="T52" fmla="*/ 114 w 276"/>
                  <a:gd name="T53" fmla="*/ 288 h 344"/>
                  <a:gd name="T54" fmla="*/ 134 w 276"/>
                  <a:gd name="T55" fmla="*/ 296 h 344"/>
                  <a:gd name="T56" fmla="*/ 148 w 276"/>
                  <a:gd name="T57" fmla="*/ 294 h 344"/>
                  <a:gd name="T58" fmla="*/ 168 w 276"/>
                  <a:gd name="T59" fmla="*/ 282 h 344"/>
                  <a:gd name="T60" fmla="*/ 180 w 276"/>
                  <a:gd name="T61" fmla="*/ 260 h 344"/>
                  <a:gd name="T62" fmla="*/ 186 w 276"/>
                  <a:gd name="T63" fmla="*/ 222 h 344"/>
                  <a:gd name="T64" fmla="*/ 186 w 276"/>
                  <a:gd name="T65" fmla="*/ 198 h 344"/>
                  <a:gd name="T66" fmla="*/ 180 w 276"/>
                  <a:gd name="T67" fmla="*/ 174 h 344"/>
                  <a:gd name="T68" fmla="*/ 168 w 276"/>
                  <a:gd name="T69" fmla="*/ 156 h 344"/>
                  <a:gd name="T70" fmla="*/ 146 w 276"/>
                  <a:gd name="T71" fmla="*/ 150 h 344"/>
                  <a:gd name="T72" fmla="*/ 132 w 276"/>
                  <a:gd name="T73" fmla="*/ 152 h 344"/>
                  <a:gd name="T74" fmla="*/ 112 w 276"/>
                  <a:gd name="T75" fmla="*/ 166 h 344"/>
                  <a:gd name="T76" fmla="*/ 100 w 276"/>
                  <a:gd name="T77" fmla="*/ 188 h 344"/>
                  <a:gd name="T78" fmla="*/ 94 w 276"/>
                  <a:gd name="T79" fmla="*/ 226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6" h="344">
                    <a:moveTo>
                      <a:pt x="24" y="0"/>
                    </a:moveTo>
                    <a:lnTo>
                      <a:pt x="112" y="0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20" y="122"/>
                    </a:lnTo>
                    <a:lnTo>
                      <a:pt x="138" y="108"/>
                    </a:lnTo>
                    <a:lnTo>
                      <a:pt x="146" y="104"/>
                    </a:lnTo>
                    <a:lnTo>
                      <a:pt x="158" y="100"/>
                    </a:lnTo>
                    <a:lnTo>
                      <a:pt x="168" y="98"/>
                    </a:lnTo>
                    <a:lnTo>
                      <a:pt x="180" y="98"/>
                    </a:lnTo>
                    <a:lnTo>
                      <a:pt x="180" y="98"/>
                    </a:lnTo>
                    <a:lnTo>
                      <a:pt x="194" y="98"/>
                    </a:lnTo>
                    <a:lnTo>
                      <a:pt x="206" y="100"/>
                    </a:lnTo>
                    <a:lnTo>
                      <a:pt x="216" y="104"/>
                    </a:lnTo>
                    <a:lnTo>
                      <a:pt x="226" y="108"/>
                    </a:lnTo>
                    <a:lnTo>
                      <a:pt x="236" y="114"/>
                    </a:lnTo>
                    <a:lnTo>
                      <a:pt x="244" y="120"/>
                    </a:lnTo>
                    <a:lnTo>
                      <a:pt x="250" y="128"/>
                    </a:lnTo>
                    <a:lnTo>
                      <a:pt x="258" y="136"/>
                    </a:lnTo>
                    <a:lnTo>
                      <a:pt x="266" y="156"/>
                    </a:lnTo>
                    <a:lnTo>
                      <a:pt x="274" y="176"/>
                    </a:lnTo>
                    <a:lnTo>
                      <a:pt x="276" y="198"/>
                    </a:lnTo>
                    <a:lnTo>
                      <a:pt x="276" y="220"/>
                    </a:lnTo>
                    <a:lnTo>
                      <a:pt x="276" y="220"/>
                    </a:lnTo>
                    <a:lnTo>
                      <a:pt x="274" y="242"/>
                    </a:lnTo>
                    <a:lnTo>
                      <a:pt x="268" y="264"/>
                    </a:lnTo>
                    <a:lnTo>
                      <a:pt x="260" y="284"/>
                    </a:lnTo>
                    <a:lnTo>
                      <a:pt x="248" y="304"/>
                    </a:lnTo>
                    <a:lnTo>
                      <a:pt x="240" y="312"/>
                    </a:lnTo>
                    <a:lnTo>
                      <a:pt x="232" y="320"/>
                    </a:lnTo>
                    <a:lnTo>
                      <a:pt x="222" y="328"/>
                    </a:lnTo>
                    <a:lnTo>
                      <a:pt x="212" y="334"/>
                    </a:lnTo>
                    <a:lnTo>
                      <a:pt x="202" y="338"/>
                    </a:lnTo>
                    <a:lnTo>
                      <a:pt x="188" y="342"/>
                    </a:lnTo>
                    <a:lnTo>
                      <a:pt x="176" y="344"/>
                    </a:lnTo>
                    <a:lnTo>
                      <a:pt x="160" y="344"/>
                    </a:lnTo>
                    <a:lnTo>
                      <a:pt x="160" y="344"/>
                    </a:lnTo>
                    <a:lnTo>
                      <a:pt x="150" y="344"/>
                    </a:lnTo>
                    <a:lnTo>
                      <a:pt x="140" y="342"/>
                    </a:lnTo>
                    <a:lnTo>
                      <a:pt x="122" y="336"/>
                    </a:lnTo>
                    <a:lnTo>
                      <a:pt x="106" y="324"/>
                    </a:lnTo>
                    <a:lnTo>
                      <a:pt x="94" y="312"/>
                    </a:lnTo>
                    <a:lnTo>
                      <a:pt x="92" y="312"/>
                    </a:lnTo>
                    <a:lnTo>
                      <a:pt x="88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  <a:moveTo>
                      <a:pt x="94" y="226"/>
                    </a:moveTo>
                    <a:lnTo>
                      <a:pt x="94" y="226"/>
                    </a:lnTo>
                    <a:lnTo>
                      <a:pt x="96" y="250"/>
                    </a:lnTo>
                    <a:lnTo>
                      <a:pt x="98" y="260"/>
                    </a:lnTo>
                    <a:lnTo>
                      <a:pt x="102" y="272"/>
                    </a:lnTo>
                    <a:lnTo>
                      <a:pt x="106" y="282"/>
                    </a:lnTo>
                    <a:lnTo>
                      <a:pt x="114" y="288"/>
                    </a:lnTo>
                    <a:lnTo>
                      <a:pt x="122" y="294"/>
                    </a:lnTo>
                    <a:lnTo>
                      <a:pt x="134" y="296"/>
                    </a:lnTo>
                    <a:lnTo>
                      <a:pt x="134" y="296"/>
                    </a:lnTo>
                    <a:lnTo>
                      <a:pt x="148" y="294"/>
                    </a:lnTo>
                    <a:lnTo>
                      <a:pt x="158" y="288"/>
                    </a:lnTo>
                    <a:lnTo>
                      <a:pt x="168" y="282"/>
                    </a:lnTo>
                    <a:lnTo>
                      <a:pt x="174" y="272"/>
                    </a:lnTo>
                    <a:lnTo>
                      <a:pt x="180" y="260"/>
                    </a:lnTo>
                    <a:lnTo>
                      <a:pt x="184" y="248"/>
                    </a:lnTo>
                    <a:lnTo>
                      <a:pt x="186" y="222"/>
                    </a:lnTo>
                    <a:lnTo>
                      <a:pt x="186" y="222"/>
                    </a:lnTo>
                    <a:lnTo>
                      <a:pt x="186" y="198"/>
                    </a:lnTo>
                    <a:lnTo>
                      <a:pt x="184" y="186"/>
                    </a:lnTo>
                    <a:lnTo>
                      <a:pt x="180" y="174"/>
                    </a:lnTo>
                    <a:lnTo>
                      <a:pt x="176" y="164"/>
                    </a:lnTo>
                    <a:lnTo>
                      <a:pt x="168" y="156"/>
                    </a:lnTo>
                    <a:lnTo>
                      <a:pt x="158" y="152"/>
                    </a:lnTo>
                    <a:lnTo>
                      <a:pt x="146" y="150"/>
                    </a:lnTo>
                    <a:lnTo>
                      <a:pt x="146" y="150"/>
                    </a:lnTo>
                    <a:lnTo>
                      <a:pt x="132" y="152"/>
                    </a:lnTo>
                    <a:lnTo>
                      <a:pt x="120" y="156"/>
                    </a:lnTo>
                    <a:lnTo>
                      <a:pt x="112" y="166"/>
                    </a:lnTo>
                    <a:lnTo>
                      <a:pt x="104" y="176"/>
                    </a:lnTo>
                    <a:lnTo>
                      <a:pt x="100" y="188"/>
                    </a:lnTo>
                    <a:lnTo>
                      <a:pt x="98" y="200"/>
                    </a:lnTo>
                    <a:lnTo>
                      <a:pt x="94" y="226"/>
                    </a:lnTo>
                    <a:lnTo>
                      <a:pt x="94" y="2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15"/>
              <p:cNvSpPr>
                <a:spLocks noEditPoints="1"/>
              </p:cNvSpPr>
              <p:nvPr/>
            </p:nvSpPr>
            <p:spPr bwMode="auto">
              <a:xfrm>
                <a:off x="3197225" y="504825"/>
                <a:ext cx="406400" cy="396875"/>
              </a:xfrm>
              <a:custGeom>
                <a:avLst/>
                <a:gdLst>
                  <a:gd name="T0" fmla="*/ 86 w 256"/>
                  <a:gd name="T1" fmla="*/ 142 h 250"/>
                  <a:gd name="T2" fmla="*/ 86 w 256"/>
                  <a:gd name="T3" fmla="*/ 166 h 250"/>
                  <a:gd name="T4" fmla="*/ 90 w 256"/>
                  <a:gd name="T5" fmla="*/ 184 h 250"/>
                  <a:gd name="T6" fmla="*/ 102 w 256"/>
                  <a:gd name="T7" fmla="*/ 196 h 250"/>
                  <a:gd name="T8" fmla="*/ 124 w 256"/>
                  <a:gd name="T9" fmla="*/ 202 h 250"/>
                  <a:gd name="T10" fmla="*/ 132 w 256"/>
                  <a:gd name="T11" fmla="*/ 200 h 250"/>
                  <a:gd name="T12" fmla="*/ 148 w 256"/>
                  <a:gd name="T13" fmla="*/ 196 h 250"/>
                  <a:gd name="T14" fmla="*/ 158 w 256"/>
                  <a:gd name="T15" fmla="*/ 186 h 250"/>
                  <a:gd name="T16" fmla="*/ 164 w 256"/>
                  <a:gd name="T17" fmla="*/ 174 h 250"/>
                  <a:gd name="T18" fmla="*/ 248 w 256"/>
                  <a:gd name="T19" fmla="*/ 170 h 250"/>
                  <a:gd name="T20" fmla="*/ 246 w 256"/>
                  <a:gd name="T21" fmla="*/ 180 h 250"/>
                  <a:gd name="T22" fmla="*/ 238 w 256"/>
                  <a:gd name="T23" fmla="*/ 198 h 250"/>
                  <a:gd name="T24" fmla="*/ 218 w 256"/>
                  <a:gd name="T25" fmla="*/ 222 h 250"/>
                  <a:gd name="T26" fmla="*/ 202 w 256"/>
                  <a:gd name="T27" fmla="*/ 234 h 250"/>
                  <a:gd name="T28" fmla="*/ 168 w 256"/>
                  <a:gd name="T29" fmla="*/ 246 h 250"/>
                  <a:gd name="T30" fmla="*/ 128 w 256"/>
                  <a:gd name="T31" fmla="*/ 250 h 250"/>
                  <a:gd name="T32" fmla="*/ 96 w 256"/>
                  <a:gd name="T33" fmla="*/ 248 h 250"/>
                  <a:gd name="T34" fmla="*/ 66 w 256"/>
                  <a:gd name="T35" fmla="*/ 242 h 250"/>
                  <a:gd name="T36" fmla="*/ 44 w 256"/>
                  <a:gd name="T37" fmla="*/ 232 h 250"/>
                  <a:gd name="T38" fmla="*/ 26 w 256"/>
                  <a:gd name="T39" fmla="*/ 218 h 250"/>
                  <a:gd name="T40" fmla="*/ 12 w 256"/>
                  <a:gd name="T41" fmla="*/ 200 h 250"/>
                  <a:gd name="T42" fmla="*/ 4 w 256"/>
                  <a:gd name="T43" fmla="*/ 178 h 250"/>
                  <a:gd name="T44" fmla="*/ 0 w 256"/>
                  <a:gd name="T45" fmla="*/ 150 h 250"/>
                  <a:gd name="T46" fmla="*/ 0 w 256"/>
                  <a:gd name="T47" fmla="*/ 118 h 250"/>
                  <a:gd name="T48" fmla="*/ 4 w 256"/>
                  <a:gd name="T49" fmla="*/ 92 h 250"/>
                  <a:gd name="T50" fmla="*/ 14 w 256"/>
                  <a:gd name="T51" fmla="*/ 68 h 250"/>
                  <a:gd name="T52" fmla="*/ 26 w 256"/>
                  <a:gd name="T53" fmla="*/ 48 h 250"/>
                  <a:gd name="T54" fmla="*/ 44 w 256"/>
                  <a:gd name="T55" fmla="*/ 32 h 250"/>
                  <a:gd name="T56" fmla="*/ 86 w 256"/>
                  <a:gd name="T57" fmla="*/ 8 h 250"/>
                  <a:gd name="T58" fmla="*/ 138 w 256"/>
                  <a:gd name="T59" fmla="*/ 0 h 250"/>
                  <a:gd name="T60" fmla="*/ 154 w 256"/>
                  <a:gd name="T61" fmla="*/ 2 h 250"/>
                  <a:gd name="T62" fmla="*/ 184 w 256"/>
                  <a:gd name="T63" fmla="*/ 6 h 250"/>
                  <a:gd name="T64" fmla="*/ 208 w 256"/>
                  <a:gd name="T65" fmla="*/ 18 h 250"/>
                  <a:gd name="T66" fmla="*/ 228 w 256"/>
                  <a:gd name="T67" fmla="*/ 32 h 250"/>
                  <a:gd name="T68" fmla="*/ 242 w 256"/>
                  <a:gd name="T69" fmla="*/ 50 h 250"/>
                  <a:gd name="T70" fmla="*/ 250 w 256"/>
                  <a:gd name="T71" fmla="*/ 72 h 250"/>
                  <a:gd name="T72" fmla="*/ 256 w 256"/>
                  <a:gd name="T73" fmla="*/ 112 h 250"/>
                  <a:gd name="T74" fmla="*/ 86 w 256"/>
                  <a:gd name="T75" fmla="*/ 142 h 250"/>
                  <a:gd name="T76" fmla="*/ 172 w 256"/>
                  <a:gd name="T77" fmla="*/ 98 h 250"/>
                  <a:gd name="T78" fmla="*/ 170 w 256"/>
                  <a:gd name="T79" fmla="*/ 78 h 250"/>
                  <a:gd name="T80" fmla="*/ 164 w 256"/>
                  <a:gd name="T81" fmla="*/ 62 h 250"/>
                  <a:gd name="T82" fmla="*/ 158 w 256"/>
                  <a:gd name="T83" fmla="*/ 56 h 250"/>
                  <a:gd name="T84" fmla="*/ 142 w 256"/>
                  <a:gd name="T85" fmla="*/ 48 h 250"/>
                  <a:gd name="T86" fmla="*/ 134 w 256"/>
                  <a:gd name="T87" fmla="*/ 46 h 250"/>
                  <a:gd name="T88" fmla="*/ 114 w 256"/>
                  <a:gd name="T89" fmla="*/ 52 h 250"/>
                  <a:gd name="T90" fmla="*/ 102 w 256"/>
                  <a:gd name="T91" fmla="*/ 62 h 250"/>
                  <a:gd name="T92" fmla="*/ 94 w 256"/>
                  <a:gd name="T93" fmla="*/ 78 h 250"/>
                  <a:gd name="T94" fmla="*/ 172 w 256"/>
                  <a:gd name="T95" fmla="*/ 98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6" h="250">
                    <a:moveTo>
                      <a:pt x="86" y="142"/>
                    </a:moveTo>
                    <a:lnTo>
                      <a:pt x="86" y="142"/>
                    </a:lnTo>
                    <a:lnTo>
                      <a:pt x="84" y="154"/>
                    </a:lnTo>
                    <a:lnTo>
                      <a:pt x="86" y="166"/>
                    </a:lnTo>
                    <a:lnTo>
                      <a:pt x="88" y="176"/>
                    </a:lnTo>
                    <a:lnTo>
                      <a:pt x="90" y="184"/>
                    </a:lnTo>
                    <a:lnTo>
                      <a:pt x="96" y="192"/>
                    </a:lnTo>
                    <a:lnTo>
                      <a:pt x="102" y="196"/>
                    </a:lnTo>
                    <a:lnTo>
                      <a:pt x="112" y="200"/>
                    </a:lnTo>
                    <a:lnTo>
                      <a:pt x="124" y="202"/>
                    </a:lnTo>
                    <a:lnTo>
                      <a:pt x="124" y="202"/>
                    </a:lnTo>
                    <a:lnTo>
                      <a:pt x="132" y="200"/>
                    </a:lnTo>
                    <a:lnTo>
                      <a:pt x="140" y="198"/>
                    </a:lnTo>
                    <a:lnTo>
                      <a:pt x="148" y="196"/>
                    </a:lnTo>
                    <a:lnTo>
                      <a:pt x="154" y="192"/>
                    </a:lnTo>
                    <a:lnTo>
                      <a:pt x="158" y="186"/>
                    </a:lnTo>
                    <a:lnTo>
                      <a:pt x="162" y="180"/>
                    </a:lnTo>
                    <a:lnTo>
                      <a:pt x="164" y="174"/>
                    </a:lnTo>
                    <a:lnTo>
                      <a:pt x="164" y="170"/>
                    </a:lnTo>
                    <a:lnTo>
                      <a:pt x="248" y="170"/>
                    </a:lnTo>
                    <a:lnTo>
                      <a:pt x="248" y="170"/>
                    </a:lnTo>
                    <a:lnTo>
                      <a:pt x="246" y="180"/>
                    </a:lnTo>
                    <a:lnTo>
                      <a:pt x="242" y="190"/>
                    </a:lnTo>
                    <a:lnTo>
                      <a:pt x="238" y="198"/>
                    </a:lnTo>
                    <a:lnTo>
                      <a:pt x="232" y="208"/>
                    </a:lnTo>
                    <a:lnTo>
                      <a:pt x="218" y="222"/>
                    </a:lnTo>
                    <a:lnTo>
                      <a:pt x="202" y="234"/>
                    </a:lnTo>
                    <a:lnTo>
                      <a:pt x="202" y="234"/>
                    </a:lnTo>
                    <a:lnTo>
                      <a:pt x="186" y="242"/>
                    </a:lnTo>
                    <a:lnTo>
                      <a:pt x="168" y="246"/>
                    </a:lnTo>
                    <a:lnTo>
                      <a:pt x="148" y="248"/>
                    </a:lnTo>
                    <a:lnTo>
                      <a:pt x="128" y="250"/>
                    </a:lnTo>
                    <a:lnTo>
                      <a:pt x="128" y="250"/>
                    </a:lnTo>
                    <a:lnTo>
                      <a:pt x="96" y="248"/>
                    </a:lnTo>
                    <a:lnTo>
                      <a:pt x="80" y="244"/>
                    </a:lnTo>
                    <a:lnTo>
                      <a:pt x="66" y="242"/>
                    </a:lnTo>
                    <a:lnTo>
                      <a:pt x="54" y="238"/>
                    </a:lnTo>
                    <a:lnTo>
                      <a:pt x="44" y="232"/>
                    </a:lnTo>
                    <a:lnTo>
                      <a:pt x="34" y="226"/>
                    </a:lnTo>
                    <a:lnTo>
                      <a:pt x="26" y="218"/>
                    </a:lnTo>
                    <a:lnTo>
                      <a:pt x="18" y="210"/>
                    </a:lnTo>
                    <a:lnTo>
                      <a:pt x="12" y="200"/>
                    </a:lnTo>
                    <a:lnTo>
                      <a:pt x="8" y="190"/>
                    </a:lnTo>
                    <a:lnTo>
                      <a:pt x="4" y="178"/>
                    </a:lnTo>
                    <a:lnTo>
                      <a:pt x="2" y="164"/>
                    </a:lnTo>
                    <a:lnTo>
                      <a:pt x="0" y="150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2" y="106"/>
                    </a:lnTo>
                    <a:lnTo>
                      <a:pt x="4" y="92"/>
                    </a:lnTo>
                    <a:lnTo>
                      <a:pt x="8" y="80"/>
                    </a:lnTo>
                    <a:lnTo>
                      <a:pt x="14" y="68"/>
                    </a:lnTo>
                    <a:lnTo>
                      <a:pt x="20" y="58"/>
                    </a:lnTo>
                    <a:lnTo>
                      <a:pt x="26" y="48"/>
                    </a:lnTo>
                    <a:lnTo>
                      <a:pt x="34" y="40"/>
                    </a:lnTo>
                    <a:lnTo>
                      <a:pt x="44" y="32"/>
                    </a:lnTo>
                    <a:lnTo>
                      <a:pt x="64" y="18"/>
                    </a:lnTo>
                    <a:lnTo>
                      <a:pt x="86" y="8"/>
                    </a:lnTo>
                    <a:lnTo>
                      <a:pt x="110" y="2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4" y="2"/>
                    </a:lnTo>
                    <a:lnTo>
                      <a:pt x="170" y="4"/>
                    </a:lnTo>
                    <a:lnTo>
                      <a:pt x="184" y="6"/>
                    </a:lnTo>
                    <a:lnTo>
                      <a:pt x="196" y="12"/>
                    </a:lnTo>
                    <a:lnTo>
                      <a:pt x="208" y="18"/>
                    </a:lnTo>
                    <a:lnTo>
                      <a:pt x="218" y="24"/>
                    </a:lnTo>
                    <a:lnTo>
                      <a:pt x="228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46" y="60"/>
                    </a:lnTo>
                    <a:lnTo>
                      <a:pt x="250" y="72"/>
                    </a:lnTo>
                    <a:lnTo>
                      <a:pt x="254" y="84"/>
                    </a:lnTo>
                    <a:lnTo>
                      <a:pt x="256" y="112"/>
                    </a:lnTo>
                    <a:lnTo>
                      <a:pt x="254" y="142"/>
                    </a:lnTo>
                    <a:lnTo>
                      <a:pt x="86" y="142"/>
                    </a:lnTo>
                    <a:close/>
                    <a:moveTo>
                      <a:pt x="172" y="98"/>
                    </a:moveTo>
                    <a:lnTo>
                      <a:pt x="172" y="98"/>
                    </a:lnTo>
                    <a:lnTo>
                      <a:pt x="172" y="88"/>
                    </a:lnTo>
                    <a:lnTo>
                      <a:pt x="170" y="78"/>
                    </a:lnTo>
                    <a:lnTo>
                      <a:pt x="168" y="70"/>
                    </a:lnTo>
                    <a:lnTo>
                      <a:pt x="164" y="62"/>
                    </a:lnTo>
                    <a:lnTo>
                      <a:pt x="164" y="62"/>
                    </a:lnTo>
                    <a:lnTo>
                      <a:pt x="158" y="56"/>
                    </a:lnTo>
                    <a:lnTo>
                      <a:pt x="150" y="50"/>
                    </a:lnTo>
                    <a:lnTo>
                      <a:pt x="142" y="48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22" y="48"/>
                    </a:lnTo>
                    <a:lnTo>
                      <a:pt x="114" y="52"/>
                    </a:lnTo>
                    <a:lnTo>
                      <a:pt x="106" y="56"/>
                    </a:lnTo>
                    <a:lnTo>
                      <a:pt x="102" y="62"/>
                    </a:lnTo>
                    <a:lnTo>
                      <a:pt x="96" y="70"/>
                    </a:lnTo>
                    <a:lnTo>
                      <a:pt x="94" y="78"/>
                    </a:lnTo>
                    <a:lnTo>
                      <a:pt x="90" y="98"/>
                    </a:lnTo>
                    <a:lnTo>
                      <a:pt x="172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16"/>
              <p:cNvSpPr>
                <a:spLocks/>
              </p:cNvSpPr>
              <p:nvPr/>
            </p:nvSpPr>
            <p:spPr bwMode="auto">
              <a:xfrm>
                <a:off x="1314450" y="352425"/>
                <a:ext cx="196850" cy="542925"/>
              </a:xfrm>
              <a:custGeom>
                <a:avLst/>
                <a:gdLst>
                  <a:gd name="T0" fmla="*/ 24 w 124"/>
                  <a:gd name="T1" fmla="*/ 0 h 342"/>
                  <a:gd name="T2" fmla="*/ 124 w 124"/>
                  <a:gd name="T3" fmla="*/ 0 h 342"/>
                  <a:gd name="T4" fmla="*/ 100 w 124"/>
                  <a:gd name="T5" fmla="*/ 342 h 342"/>
                  <a:gd name="T6" fmla="*/ 0 w 124"/>
                  <a:gd name="T7" fmla="*/ 342 h 342"/>
                  <a:gd name="T8" fmla="*/ 24 w 124"/>
                  <a:gd name="T9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342">
                    <a:moveTo>
                      <a:pt x="24" y="0"/>
                    </a:moveTo>
                    <a:lnTo>
                      <a:pt x="124" y="0"/>
                    </a:lnTo>
                    <a:lnTo>
                      <a:pt x="100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17"/>
              <p:cNvSpPr>
                <a:spLocks/>
              </p:cNvSpPr>
              <p:nvPr/>
            </p:nvSpPr>
            <p:spPr bwMode="auto">
              <a:xfrm>
                <a:off x="1498600" y="352425"/>
                <a:ext cx="368300" cy="542925"/>
              </a:xfrm>
              <a:custGeom>
                <a:avLst/>
                <a:gdLst>
                  <a:gd name="T0" fmla="*/ 120 w 232"/>
                  <a:gd name="T1" fmla="*/ 0 h 342"/>
                  <a:gd name="T2" fmla="*/ 0 w 232"/>
                  <a:gd name="T3" fmla="*/ 152 h 342"/>
                  <a:gd name="T4" fmla="*/ 106 w 232"/>
                  <a:gd name="T5" fmla="*/ 342 h 342"/>
                  <a:gd name="T6" fmla="*/ 226 w 232"/>
                  <a:gd name="T7" fmla="*/ 342 h 342"/>
                  <a:gd name="T8" fmla="*/ 106 w 232"/>
                  <a:gd name="T9" fmla="*/ 148 h 342"/>
                  <a:gd name="T10" fmla="*/ 232 w 232"/>
                  <a:gd name="T11" fmla="*/ 0 h 342"/>
                  <a:gd name="T12" fmla="*/ 120 w 232"/>
                  <a:gd name="T13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2" h="342">
                    <a:moveTo>
                      <a:pt x="120" y="0"/>
                    </a:moveTo>
                    <a:lnTo>
                      <a:pt x="0" y="152"/>
                    </a:lnTo>
                    <a:lnTo>
                      <a:pt x="106" y="342"/>
                    </a:lnTo>
                    <a:lnTo>
                      <a:pt x="226" y="342"/>
                    </a:lnTo>
                    <a:lnTo>
                      <a:pt x="106" y="148"/>
                    </a:lnTo>
                    <a:lnTo>
                      <a:pt x="232" y="0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18"/>
              <p:cNvSpPr>
                <a:spLocks/>
              </p:cNvSpPr>
              <p:nvPr/>
            </p:nvSpPr>
            <p:spPr bwMode="auto">
              <a:xfrm>
                <a:off x="1876425" y="517525"/>
                <a:ext cx="158750" cy="377825"/>
              </a:xfrm>
              <a:custGeom>
                <a:avLst/>
                <a:gdLst>
                  <a:gd name="T0" fmla="*/ 16 w 100"/>
                  <a:gd name="T1" fmla="*/ 0 h 238"/>
                  <a:gd name="T2" fmla="*/ 100 w 100"/>
                  <a:gd name="T3" fmla="*/ 0 h 238"/>
                  <a:gd name="T4" fmla="*/ 84 w 100"/>
                  <a:gd name="T5" fmla="*/ 238 h 238"/>
                  <a:gd name="T6" fmla="*/ 0 w 100"/>
                  <a:gd name="T7" fmla="*/ 238 h 238"/>
                  <a:gd name="T8" fmla="*/ 16 w 100"/>
                  <a:gd name="T9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238">
                    <a:moveTo>
                      <a:pt x="16" y="0"/>
                    </a:moveTo>
                    <a:lnTo>
                      <a:pt x="100" y="0"/>
                    </a:lnTo>
                    <a:lnTo>
                      <a:pt x="84" y="238"/>
                    </a:lnTo>
                    <a:lnTo>
                      <a:pt x="0" y="238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19"/>
              <p:cNvSpPr>
                <a:spLocks/>
              </p:cNvSpPr>
              <p:nvPr/>
            </p:nvSpPr>
            <p:spPr bwMode="auto">
              <a:xfrm>
                <a:off x="2038350" y="504825"/>
                <a:ext cx="692150" cy="390525"/>
              </a:xfrm>
              <a:custGeom>
                <a:avLst/>
                <a:gdLst>
                  <a:gd name="T0" fmla="*/ 106 w 436"/>
                  <a:gd name="T1" fmla="*/ 40 h 246"/>
                  <a:gd name="T2" fmla="*/ 106 w 436"/>
                  <a:gd name="T3" fmla="*/ 40 h 246"/>
                  <a:gd name="T4" fmla="*/ 128 w 436"/>
                  <a:gd name="T5" fmla="*/ 20 h 246"/>
                  <a:gd name="T6" fmla="*/ 150 w 436"/>
                  <a:gd name="T7" fmla="*/ 8 h 246"/>
                  <a:gd name="T8" fmla="*/ 172 w 436"/>
                  <a:gd name="T9" fmla="*/ 2 h 246"/>
                  <a:gd name="T10" fmla="*/ 192 w 436"/>
                  <a:gd name="T11" fmla="*/ 2 h 246"/>
                  <a:gd name="T12" fmla="*/ 216 w 436"/>
                  <a:gd name="T13" fmla="*/ 6 h 246"/>
                  <a:gd name="T14" fmla="*/ 238 w 436"/>
                  <a:gd name="T15" fmla="*/ 14 h 246"/>
                  <a:gd name="T16" fmla="*/ 254 w 436"/>
                  <a:gd name="T17" fmla="*/ 28 h 246"/>
                  <a:gd name="T18" fmla="*/ 264 w 436"/>
                  <a:gd name="T19" fmla="*/ 44 h 246"/>
                  <a:gd name="T20" fmla="*/ 272 w 436"/>
                  <a:gd name="T21" fmla="*/ 34 h 246"/>
                  <a:gd name="T22" fmla="*/ 290 w 436"/>
                  <a:gd name="T23" fmla="*/ 18 h 246"/>
                  <a:gd name="T24" fmla="*/ 312 w 436"/>
                  <a:gd name="T25" fmla="*/ 8 h 246"/>
                  <a:gd name="T26" fmla="*/ 338 w 436"/>
                  <a:gd name="T27" fmla="*/ 2 h 246"/>
                  <a:gd name="T28" fmla="*/ 352 w 436"/>
                  <a:gd name="T29" fmla="*/ 0 h 246"/>
                  <a:gd name="T30" fmla="*/ 386 w 436"/>
                  <a:gd name="T31" fmla="*/ 6 h 246"/>
                  <a:gd name="T32" fmla="*/ 414 w 436"/>
                  <a:gd name="T33" fmla="*/ 24 h 246"/>
                  <a:gd name="T34" fmla="*/ 432 w 436"/>
                  <a:gd name="T35" fmla="*/ 50 h 246"/>
                  <a:gd name="T36" fmla="*/ 436 w 436"/>
                  <a:gd name="T37" fmla="*/ 86 h 246"/>
                  <a:gd name="T38" fmla="*/ 332 w 436"/>
                  <a:gd name="T39" fmla="*/ 246 h 246"/>
                  <a:gd name="T40" fmla="*/ 342 w 436"/>
                  <a:gd name="T41" fmla="*/ 106 h 246"/>
                  <a:gd name="T42" fmla="*/ 342 w 436"/>
                  <a:gd name="T43" fmla="*/ 80 h 246"/>
                  <a:gd name="T44" fmla="*/ 336 w 436"/>
                  <a:gd name="T45" fmla="*/ 66 h 246"/>
                  <a:gd name="T46" fmla="*/ 322 w 436"/>
                  <a:gd name="T47" fmla="*/ 58 h 246"/>
                  <a:gd name="T48" fmla="*/ 312 w 436"/>
                  <a:gd name="T49" fmla="*/ 58 h 246"/>
                  <a:gd name="T50" fmla="*/ 288 w 436"/>
                  <a:gd name="T51" fmla="*/ 66 h 246"/>
                  <a:gd name="T52" fmla="*/ 276 w 436"/>
                  <a:gd name="T53" fmla="*/ 82 h 246"/>
                  <a:gd name="T54" fmla="*/ 270 w 436"/>
                  <a:gd name="T55" fmla="*/ 100 h 246"/>
                  <a:gd name="T56" fmla="*/ 260 w 436"/>
                  <a:gd name="T57" fmla="*/ 246 h 246"/>
                  <a:gd name="T58" fmla="*/ 180 w 436"/>
                  <a:gd name="T59" fmla="*/ 106 h 246"/>
                  <a:gd name="T60" fmla="*/ 178 w 436"/>
                  <a:gd name="T61" fmla="*/ 88 h 246"/>
                  <a:gd name="T62" fmla="*/ 174 w 436"/>
                  <a:gd name="T63" fmla="*/ 72 h 246"/>
                  <a:gd name="T64" fmla="*/ 164 w 436"/>
                  <a:gd name="T65" fmla="*/ 62 h 246"/>
                  <a:gd name="T66" fmla="*/ 148 w 436"/>
                  <a:gd name="T67" fmla="*/ 58 h 246"/>
                  <a:gd name="T68" fmla="*/ 132 w 436"/>
                  <a:gd name="T69" fmla="*/ 60 h 246"/>
                  <a:gd name="T70" fmla="*/ 114 w 436"/>
                  <a:gd name="T71" fmla="*/ 72 h 246"/>
                  <a:gd name="T72" fmla="*/ 104 w 436"/>
                  <a:gd name="T73" fmla="*/ 92 h 246"/>
                  <a:gd name="T74" fmla="*/ 102 w 436"/>
                  <a:gd name="T75" fmla="*/ 110 h 246"/>
                  <a:gd name="T76" fmla="*/ 0 w 436"/>
                  <a:gd name="T77" fmla="*/ 246 h 246"/>
                  <a:gd name="T78" fmla="*/ 106 w 436"/>
                  <a:gd name="T79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36" h="246">
                    <a:moveTo>
                      <a:pt x="106" y="8"/>
                    </a:moveTo>
                    <a:lnTo>
                      <a:pt x="106" y="40"/>
                    </a:lnTo>
                    <a:lnTo>
                      <a:pt x="106" y="40"/>
                    </a:lnTo>
                    <a:lnTo>
                      <a:pt x="106" y="40"/>
                    </a:lnTo>
                    <a:lnTo>
                      <a:pt x="118" y="28"/>
                    </a:lnTo>
                    <a:lnTo>
                      <a:pt x="128" y="20"/>
                    </a:lnTo>
                    <a:lnTo>
                      <a:pt x="140" y="12"/>
                    </a:lnTo>
                    <a:lnTo>
                      <a:pt x="150" y="8"/>
                    </a:lnTo>
                    <a:lnTo>
                      <a:pt x="162" y="4"/>
                    </a:lnTo>
                    <a:lnTo>
                      <a:pt x="172" y="2"/>
                    </a:lnTo>
                    <a:lnTo>
                      <a:pt x="192" y="2"/>
                    </a:lnTo>
                    <a:lnTo>
                      <a:pt x="192" y="2"/>
                    </a:lnTo>
                    <a:lnTo>
                      <a:pt x="204" y="2"/>
                    </a:lnTo>
                    <a:lnTo>
                      <a:pt x="216" y="6"/>
                    </a:lnTo>
                    <a:lnTo>
                      <a:pt x="228" y="8"/>
                    </a:lnTo>
                    <a:lnTo>
                      <a:pt x="238" y="14"/>
                    </a:lnTo>
                    <a:lnTo>
                      <a:pt x="246" y="20"/>
                    </a:lnTo>
                    <a:lnTo>
                      <a:pt x="254" y="28"/>
                    </a:lnTo>
                    <a:lnTo>
                      <a:pt x="260" y="36"/>
                    </a:lnTo>
                    <a:lnTo>
                      <a:pt x="264" y="44"/>
                    </a:lnTo>
                    <a:lnTo>
                      <a:pt x="264" y="44"/>
                    </a:lnTo>
                    <a:lnTo>
                      <a:pt x="272" y="34"/>
                    </a:lnTo>
                    <a:lnTo>
                      <a:pt x="280" y="26"/>
                    </a:lnTo>
                    <a:lnTo>
                      <a:pt x="290" y="18"/>
                    </a:lnTo>
                    <a:lnTo>
                      <a:pt x="302" y="12"/>
                    </a:lnTo>
                    <a:lnTo>
                      <a:pt x="312" y="8"/>
                    </a:lnTo>
                    <a:lnTo>
                      <a:pt x="326" y="4"/>
                    </a:lnTo>
                    <a:lnTo>
                      <a:pt x="338" y="2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70" y="2"/>
                    </a:lnTo>
                    <a:lnTo>
                      <a:pt x="386" y="6"/>
                    </a:lnTo>
                    <a:lnTo>
                      <a:pt x="402" y="14"/>
                    </a:lnTo>
                    <a:lnTo>
                      <a:pt x="414" y="24"/>
                    </a:lnTo>
                    <a:lnTo>
                      <a:pt x="424" y="36"/>
                    </a:lnTo>
                    <a:lnTo>
                      <a:pt x="432" y="50"/>
                    </a:lnTo>
                    <a:lnTo>
                      <a:pt x="436" y="68"/>
                    </a:lnTo>
                    <a:lnTo>
                      <a:pt x="436" y="86"/>
                    </a:lnTo>
                    <a:lnTo>
                      <a:pt x="424" y="246"/>
                    </a:lnTo>
                    <a:lnTo>
                      <a:pt x="332" y="246"/>
                    </a:lnTo>
                    <a:lnTo>
                      <a:pt x="342" y="106"/>
                    </a:lnTo>
                    <a:lnTo>
                      <a:pt x="342" y="106"/>
                    </a:lnTo>
                    <a:lnTo>
                      <a:pt x="342" y="88"/>
                    </a:lnTo>
                    <a:lnTo>
                      <a:pt x="342" y="80"/>
                    </a:lnTo>
                    <a:lnTo>
                      <a:pt x="340" y="74"/>
                    </a:lnTo>
                    <a:lnTo>
                      <a:pt x="336" y="66"/>
                    </a:lnTo>
                    <a:lnTo>
                      <a:pt x="330" y="62"/>
                    </a:lnTo>
                    <a:lnTo>
                      <a:pt x="322" y="58"/>
                    </a:lnTo>
                    <a:lnTo>
                      <a:pt x="312" y="58"/>
                    </a:lnTo>
                    <a:lnTo>
                      <a:pt x="312" y="58"/>
                    </a:lnTo>
                    <a:lnTo>
                      <a:pt x="298" y="60"/>
                    </a:lnTo>
                    <a:lnTo>
                      <a:pt x="288" y="66"/>
                    </a:lnTo>
                    <a:lnTo>
                      <a:pt x="280" y="72"/>
                    </a:lnTo>
                    <a:lnTo>
                      <a:pt x="276" y="82"/>
                    </a:lnTo>
                    <a:lnTo>
                      <a:pt x="272" y="92"/>
                    </a:lnTo>
                    <a:lnTo>
                      <a:pt x="270" y="100"/>
                    </a:lnTo>
                    <a:lnTo>
                      <a:pt x="270" y="110"/>
                    </a:lnTo>
                    <a:lnTo>
                      <a:pt x="260" y="246"/>
                    </a:lnTo>
                    <a:lnTo>
                      <a:pt x="170" y="246"/>
                    </a:lnTo>
                    <a:lnTo>
                      <a:pt x="180" y="106"/>
                    </a:lnTo>
                    <a:lnTo>
                      <a:pt x="180" y="106"/>
                    </a:lnTo>
                    <a:lnTo>
                      <a:pt x="178" y="88"/>
                    </a:lnTo>
                    <a:lnTo>
                      <a:pt x="178" y="80"/>
                    </a:lnTo>
                    <a:lnTo>
                      <a:pt x="174" y="72"/>
                    </a:lnTo>
                    <a:lnTo>
                      <a:pt x="170" y="66"/>
                    </a:lnTo>
                    <a:lnTo>
                      <a:pt x="164" y="62"/>
                    </a:lnTo>
                    <a:lnTo>
                      <a:pt x="15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32" y="60"/>
                    </a:lnTo>
                    <a:lnTo>
                      <a:pt x="122" y="66"/>
                    </a:lnTo>
                    <a:lnTo>
                      <a:pt x="114" y="72"/>
                    </a:lnTo>
                    <a:lnTo>
                      <a:pt x="108" y="82"/>
                    </a:lnTo>
                    <a:lnTo>
                      <a:pt x="104" y="92"/>
                    </a:lnTo>
                    <a:lnTo>
                      <a:pt x="104" y="100"/>
                    </a:lnTo>
                    <a:lnTo>
                      <a:pt x="102" y="110"/>
                    </a:lnTo>
                    <a:lnTo>
                      <a:pt x="94" y="246"/>
                    </a:lnTo>
                    <a:lnTo>
                      <a:pt x="0" y="246"/>
                    </a:lnTo>
                    <a:lnTo>
                      <a:pt x="16" y="8"/>
                    </a:lnTo>
                    <a:lnTo>
                      <a:pt x="106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20"/>
              <p:cNvSpPr>
                <a:spLocks/>
              </p:cNvSpPr>
              <p:nvPr/>
            </p:nvSpPr>
            <p:spPr bwMode="auto">
              <a:xfrm>
                <a:off x="4064000" y="517525"/>
                <a:ext cx="454025" cy="558800"/>
              </a:xfrm>
              <a:custGeom>
                <a:avLst/>
                <a:gdLst>
                  <a:gd name="T0" fmla="*/ 116 w 286"/>
                  <a:gd name="T1" fmla="*/ 352 h 352"/>
                  <a:gd name="T2" fmla="*/ 34 w 286"/>
                  <a:gd name="T3" fmla="*/ 352 h 352"/>
                  <a:gd name="T4" fmla="*/ 86 w 286"/>
                  <a:gd name="T5" fmla="*/ 242 h 352"/>
                  <a:gd name="T6" fmla="*/ 0 w 286"/>
                  <a:gd name="T7" fmla="*/ 0 h 352"/>
                  <a:gd name="T8" fmla="*/ 100 w 286"/>
                  <a:gd name="T9" fmla="*/ 0 h 352"/>
                  <a:gd name="T10" fmla="*/ 140 w 286"/>
                  <a:gd name="T11" fmla="*/ 148 h 352"/>
                  <a:gd name="T12" fmla="*/ 202 w 286"/>
                  <a:gd name="T13" fmla="*/ 0 h 352"/>
                  <a:gd name="T14" fmla="*/ 286 w 286"/>
                  <a:gd name="T15" fmla="*/ 0 h 352"/>
                  <a:gd name="T16" fmla="*/ 116 w 286"/>
                  <a:gd name="T17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6" h="352">
                    <a:moveTo>
                      <a:pt x="116" y="352"/>
                    </a:moveTo>
                    <a:lnTo>
                      <a:pt x="34" y="352"/>
                    </a:lnTo>
                    <a:lnTo>
                      <a:pt x="86" y="242"/>
                    </a:lnTo>
                    <a:lnTo>
                      <a:pt x="0" y="0"/>
                    </a:lnTo>
                    <a:lnTo>
                      <a:pt x="100" y="0"/>
                    </a:lnTo>
                    <a:lnTo>
                      <a:pt x="140" y="148"/>
                    </a:lnTo>
                    <a:lnTo>
                      <a:pt x="202" y="0"/>
                    </a:lnTo>
                    <a:lnTo>
                      <a:pt x="286" y="0"/>
                    </a:lnTo>
                    <a:lnTo>
                      <a:pt x="116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21"/>
              <p:cNvSpPr>
                <a:spLocks/>
              </p:cNvSpPr>
              <p:nvPr/>
            </p:nvSpPr>
            <p:spPr bwMode="auto">
              <a:xfrm>
                <a:off x="4473575" y="593725"/>
                <a:ext cx="241300" cy="117475"/>
              </a:xfrm>
              <a:custGeom>
                <a:avLst/>
                <a:gdLst>
                  <a:gd name="T0" fmla="*/ 36 w 152"/>
                  <a:gd name="T1" fmla="*/ 0 h 74"/>
                  <a:gd name="T2" fmla="*/ 152 w 152"/>
                  <a:gd name="T3" fmla="*/ 0 h 74"/>
                  <a:gd name="T4" fmla="*/ 114 w 152"/>
                  <a:gd name="T5" fmla="*/ 74 h 74"/>
                  <a:gd name="T6" fmla="*/ 0 w 152"/>
                  <a:gd name="T7" fmla="*/ 74 h 74"/>
                  <a:gd name="T8" fmla="*/ 36 w 152"/>
                  <a:gd name="T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74">
                    <a:moveTo>
                      <a:pt x="36" y="0"/>
                    </a:moveTo>
                    <a:lnTo>
                      <a:pt x="152" y="0"/>
                    </a:lnTo>
                    <a:lnTo>
                      <a:pt x="114" y="74"/>
                    </a:lnTo>
                    <a:lnTo>
                      <a:pt x="0" y="7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" name="Freeform 22"/>
              <p:cNvSpPr>
                <a:spLocks/>
              </p:cNvSpPr>
              <p:nvPr/>
            </p:nvSpPr>
            <p:spPr bwMode="auto">
              <a:xfrm>
                <a:off x="4721225" y="339725"/>
                <a:ext cx="504825" cy="558800"/>
              </a:xfrm>
              <a:custGeom>
                <a:avLst/>
                <a:gdLst>
                  <a:gd name="T0" fmla="*/ 180 w 318"/>
                  <a:gd name="T1" fmla="*/ 0 h 352"/>
                  <a:gd name="T2" fmla="*/ 232 w 318"/>
                  <a:gd name="T3" fmla="*/ 6 h 352"/>
                  <a:gd name="T4" fmla="*/ 266 w 318"/>
                  <a:gd name="T5" fmla="*/ 20 h 352"/>
                  <a:gd name="T6" fmla="*/ 286 w 318"/>
                  <a:gd name="T7" fmla="*/ 32 h 352"/>
                  <a:gd name="T8" fmla="*/ 302 w 318"/>
                  <a:gd name="T9" fmla="*/ 50 h 352"/>
                  <a:gd name="T10" fmla="*/ 312 w 318"/>
                  <a:gd name="T11" fmla="*/ 74 h 352"/>
                  <a:gd name="T12" fmla="*/ 318 w 318"/>
                  <a:gd name="T13" fmla="*/ 100 h 352"/>
                  <a:gd name="T14" fmla="*/ 222 w 318"/>
                  <a:gd name="T15" fmla="*/ 116 h 352"/>
                  <a:gd name="T16" fmla="*/ 222 w 318"/>
                  <a:gd name="T17" fmla="*/ 108 h 352"/>
                  <a:gd name="T18" fmla="*/ 216 w 318"/>
                  <a:gd name="T19" fmla="*/ 90 h 352"/>
                  <a:gd name="T20" fmla="*/ 204 w 318"/>
                  <a:gd name="T21" fmla="*/ 76 h 352"/>
                  <a:gd name="T22" fmla="*/ 188 w 318"/>
                  <a:gd name="T23" fmla="*/ 68 h 352"/>
                  <a:gd name="T24" fmla="*/ 176 w 318"/>
                  <a:gd name="T25" fmla="*/ 68 h 352"/>
                  <a:gd name="T26" fmla="*/ 150 w 318"/>
                  <a:gd name="T27" fmla="*/ 72 h 352"/>
                  <a:gd name="T28" fmla="*/ 128 w 318"/>
                  <a:gd name="T29" fmla="*/ 88 h 352"/>
                  <a:gd name="T30" fmla="*/ 108 w 318"/>
                  <a:gd name="T31" fmla="*/ 118 h 352"/>
                  <a:gd name="T32" fmla="*/ 98 w 318"/>
                  <a:gd name="T33" fmla="*/ 162 h 352"/>
                  <a:gd name="T34" fmla="*/ 96 w 318"/>
                  <a:gd name="T35" fmla="*/ 188 h 352"/>
                  <a:gd name="T36" fmla="*/ 98 w 318"/>
                  <a:gd name="T37" fmla="*/ 234 h 352"/>
                  <a:gd name="T38" fmla="*/ 112 w 318"/>
                  <a:gd name="T39" fmla="*/ 266 h 352"/>
                  <a:gd name="T40" fmla="*/ 122 w 318"/>
                  <a:gd name="T41" fmla="*/ 278 h 352"/>
                  <a:gd name="T42" fmla="*/ 138 w 318"/>
                  <a:gd name="T43" fmla="*/ 284 h 352"/>
                  <a:gd name="T44" fmla="*/ 158 w 318"/>
                  <a:gd name="T45" fmla="*/ 288 h 352"/>
                  <a:gd name="T46" fmla="*/ 174 w 318"/>
                  <a:gd name="T47" fmla="*/ 286 h 352"/>
                  <a:gd name="T48" fmla="*/ 198 w 318"/>
                  <a:gd name="T49" fmla="*/ 274 h 352"/>
                  <a:gd name="T50" fmla="*/ 212 w 318"/>
                  <a:gd name="T51" fmla="*/ 256 h 352"/>
                  <a:gd name="T52" fmla="*/ 218 w 318"/>
                  <a:gd name="T53" fmla="*/ 236 h 352"/>
                  <a:gd name="T54" fmla="*/ 314 w 318"/>
                  <a:gd name="T55" fmla="*/ 236 h 352"/>
                  <a:gd name="T56" fmla="*/ 306 w 318"/>
                  <a:gd name="T57" fmla="*/ 270 h 352"/>
                  <a:gd name="T58" fmla="*/ 290 w 318"/>
                  <a:gd name="T59" fmla="*/ 300 h 352"/>
                  <a:gd name="T60" fmla="*/ 272 w 318"/>
                  <a:gd name="T61" fmla="*/ 318 h 352"/>
                  <a:gd name="T62" fmla="*/ 248 w 318"/>
                  <a:gd name="T63" fmla="*/ 334 h 352"/>
                  <a:gd name="T64" fmla="*/ 216 w 318"/>
                  <a:gd name="T65" fmla="*/ 346 h 352"/>
                  <a:gd name="T66" fmla="*/ 176 w 318"/>
                  <a:gd name="T67" fmla="*/ 352 h 352"/>
                  <a:gd name="T68" fmla="*/ 152 w 318"/>
                  <a:gd name="T69" fmla="*/ 352 h 352"/>
                  <a:gd name="T70" fmla="*/ 106 w 318"/>
                  <a:gd name="T71" fmla="*/ 348 h 352"/>
                  <a:gd name="T72" fmla="*/ 70 w 318"/>
                  <a:gd name="T73" fmla="*/ 336 h 352"/>
                  <a:gd name="T74" fmla="*/ 42 w 318"/>
                  <a:gd name="T75" fmla="*/ 316 h 352"/>
                  <a:gd name="T76" fmla="*/ 22 w 318"/>
                  <a:gd name="T77" fmla="*/ 292 h 352"/>
                  <a:gd name="T78" fmla="*/ 8 w 318"/>
                  <a:gd name="T79" fmla="*/ 262 h 352"/>
                  <a:gd name="T80" fmla="*/ 2 w 318"/>
                  <a:gd name="T81" fmla="*/ 230 h 352"/>
                  <a:gd name="T82" fmla="*/ 0 w 318"/>
                  <a:gd name="T83" fmla="*/ 194 h 352"/>
                  <a:gd name="T84" fmla="*/ 2 w 318"/>
                  <a:gd name="T85" fmla="*/ 160 h 352"/>
                  <a:gd name="T86" fmla="*/ 18 w 318"/>
                  <a:gd name="T87" fmla="*/ 102 h 352"/>
                  <a:gd name="T88" fmla="*/ 32 w 318"/>
                  <a:gd name="T89" fmla="*/ 74 h 352"/>
                  <a:gd name="T90" fmla="*/ 52 w 318"/>
                  <a:gd name="T91" fmla="*/ 50 h 352"/>
                  <a:gd name="T92" fmla="*/ 76 w 318"/>
                  <a:gd name="T93" fmla="*/ 30 h 352"/>
                  <a:gd name="T94" fmla="*/ 106 w 318"/>
                  <a:gd name="T95" fmla="*/ 14 h 352"/>
                  <a:gd name="T96" fmla="*/ 140 w 318"/>
                  <a:gd name="T97" fmla="*/ 4 h 352"/>
                  <a:gd name="T98" fmla="*/ 180 w 318"/>
                  <a:gd name="T99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18" h="352">
                    <a:moveTo>
                      <a:pt x="180" y="0"/>
                    </a:moveTo>
                    <a:lnTo>
                      <a:pt x="180" y="0"/>
                    </a:lnTo>
                    <a:lnTo>
                      <a:pt x="206" y="0"/>
                    </a:lnTo>
                    <a:lnTo>
                      <a:pt x="232" y="6"/>
                    </a:lnTo>
                    <a:lnTo>
                      <a:pt x="256" y="14"/>
                    </a:lnTo>
                    <a:lnTo>
                      <a:pt x="266" y="20"/>
                    </a:lnTo>
                    <a:lnTo>
                      <a:pt x="276" y="26"/>
                    </a:lnTo>
                    <a:lnTo>
                      <a:pt x="286" y="32"/>
                    </a:lnTo>
                    <a:lnTo>
                      <a:pt x="294" y="42"/>
                    </a:lnTo>
                    <a:lnTo>
                      <a:pt x="302" y="50"/>
                    </a:lnTo>
                    <a:lnTo>
                      <a:pt x="308" y="62"/>
                    </a:lnTo>
                    <a:lnTo>
                      <a:pt x="312" y="74"/>
                    </a:lnTo>
                    <a:lnTo>
                      <a:pt x="316" y="86"/>
                    </a:lnTo>
                    <a:lnTo>
                      <a:pt x="318" y="100"/>
                    </a:lnTo>
                    <a:lnTo>
                      <a:pt x="318" y="116"/>
                    </a:lnTo>
                    <a:lnTo>
                      <a:pt x="222" y="116"/>
                    </a:lnTo>
                    <a:lnTo>
                      <a:pt x="222" y="116"/>
                    </a:lnTo>
                    <a:lnTo>
                      <a:pt x="222" y="108"/>
                    </a:lnTo>
                    <a:lnTo>
                      <a:pt x="220" y="98"/>
                    </a:lnTo>
                    <a:lnTo>
                      <a:pt x="216" y="90"/>
                    </a:lnTo>
                    <a:lnTo>
                      <a:pt x="212" y="84"/>
                    </a:lnTo>
                    <a:lnTo>
                      <a:pt x="204" y="76"/>
                    </a:lnTo>
                    <a:lnTo>
                      <a:pt x="198" y="72"/>
                    </a:lnTo>
                    <a:lnTo>
                      <a:pt x="188" y="68"/>
                    </a:lnTo>
                    <a:lnTo>
                      <a:pt x="176" y="68"/>
                    </a:lnTo>
                    <a:lnTo>
                      <a:pt x="176" y="68"/>
                    </a:lnTo>
                    <a:lnTo>
                      <a:pt x="164" y="68"/>
                    </a:lnTo>
                    <a:lnTo>
                      <a:pt x="150" y="72"/>
                    </a:lnTo>
                    <a:lnTo>
                      <a:pt x="138" y="80"/>
                    </a:lnTo>
                    <a:lnTo>
                      <a:pt x="128" y="88"/>
                    </a:lnTo>
                    <a:lnTo>
                      <a:pt x="118" y="102"/>
                    </a:lnTo>
                    <a:lnTo>
                      <a:pt x="108" y="118"/>
                    </a:lnTo>
                    <a:lnTo>
                      <a:pt x="102" y="138"/>
                    </a:lnTo>
                    <a:lnTo>
                      <a:pt x="98" y="162"/>
                    </a:lnTo>
                    <a:lnTo>
                      <a:pt x="98" y="162"/>
                    </a:lnTo>
                    <a:lnTo>
                      <a:pt x="96" y="188"/>
                    </a:lnTo>
                    <a:lnTo>
                      <a:pt x="96" y="212"/>
                    </a:lnTo>
                    <a:lnTo>
                      <a:pt x="98" y="234"/>
                    </a:lnTo>
                    <a:lnTo>
                      <a:pt x="104" y="252"/>
                    </a:lnTo>
                    <a:lnTo>
                      <a:pt x="112" y="266"/>
                    </a:lnTo>
                    <a:lnTo>
                      <a:pt x="116" y="272"/>
                    </a:lnTo>
                    <a:lnTo>
                      <a:pt x="122" y="278"/>
                    </a:lnTo>
                    <a:lnTo>
                      <a:pt x="130" y="282"/>
                    </a:lnTo>
                    <a:lnTo>
                      <a:pt x="138" y="284"/>
                    </a:lnTo>
                    <a:lnTo>
                      <a:pt x="148" y="286"/>
                    </a:lnTo>
                    <a:lnTo>
                      <a:pt x="158" y="288"/>
                    </a:lnTo>
                    <a:lnTo>
                      <a:pt x="158" y="288"/>
                    </a:lnTo>
                    <a:lnTo>
                      <a:pt x="174" y="286"/>
                    </a:lnTo>
                    <a:lnTo>
                      <a:pt x="188" y="280"/>
                    </a:lnTo>
                    <a:lnTo>
                      <a:pt x="198" y="274"/>
                    </a:lnTo>
                    <a:lnTo>
                      <a:pt x="206" y="264"/>
                    </a:lnTo>
                    <a:lnTo>
                      <a:pt x="212" y="256"/>
                    </a:lnTo>
                    <a:lnTo>
                      <a:pt x="214" y="248"/>
                    </a:lnTo>
                    <a:lnTo>
                      <a:pt x="218" y="236"/>
                    </a:lnTo>
                    <a:lnTo>
                      <a:pt x="314" y="236"/>
                    </a:lnTo>
                    <a:lnTo>
                      <a:pt x="314" y="236"/>
                    </a:lnTo>
                    <a:lnTo>
                      <a:pt x="312" y="252"/>
                    </a:lnTo>
                    <a:lnTo>
                      <a:pt x="306" y="270"/>
                    </a:lnTo>
                    <a:lnTo>
                      <a:pt x="296" y="290"/>
                    </a:lnTo>
                    <a:lnTo>
                      <a:pt x="290" y="300"/>
                    </a:lnTo>
                    <a:lnTo>
                      <a:pt x="282" y="308"/>
                    </a:lnTo>
                    <a:lnTo>
                      <a:pt x="272" y="318"/>
                    </a:lnTo>
                    <a:lnTo>
                      <a:pt x="260" y="326"/>
                    </a:lnTo>
                    <a:lnTo>
                      <a:pt x="248" y="334"/>
                    </a:lnTo>
                    <a:lnTo>
                      <a:pt x="232" y="340"/>
                    </a:lnTo>
                    <a:lnTo>
                      <a:pt x="216" y="346"/>
                    </a:lnTo>
                    <a:lnTo>
                      <a:pt x="196" y="350"/>
                    </a:lnTo>
                    <a:lnTo>
                      <a:pt x="176" y="352"/>
                    </a:lnTo>
                    <a:lnTo>
                      <a:pt x="152" y="352"/>
                    </a:lnTo>
                    <a:lnTo>
                      <a:pt x="152" y="352"/>
                    </a:lnTo>
                    <a:lnTo>
                      <a:pt x="128" y="352"/>
                    </a:lnTo>
                    <a:lnTo>
                      <a:pt x="106" y="348"/>
                    </a:lnTo>
                    <a:lnTo>
                      <a:pt x="86" y="342"/>
                    </a:lnTo>
                    <a:lnTo>
                      <a:pt x="70" y="336"/>
                    </a:lnTo>
                    <a:lnTo>
                      <a:pt x="54" y="326"/>
                    </a:lnTo>
                    <a:lnTo>
                      <a:pt x="42" y="316"/>
                    </a:lnTo>
                    <a:lnTo>
                      <a:pt x="30" y="304"/>
                    </a:lnTo>
                    <a:lnTo>
                      <a:pt x="22" y="292"/>
                    </a:lnTo>
                    <a:lnTo>
                      <a:pt x="14" y="276"/>
                    </a:lnTo>
                    <a:lnTo>
                      <a:pt x="8" y="262"/>
                    </a:lnTo>
                    <a:lnTo>
                      <a:pt x="4" y="246"/>
                    </a:lnTo>
                    <a:lnTo>
                      <a:pt x="2" y="230"/>
                    </a:lnTo>
                    <a:lnTo>
                      <a:pt x="0" y="212"/>
                    </a:lnTo>
                    <a:lnTo>
                      <a:pt x="0" y="194"/>
                    </a:lnTo>
                    <a:lnTo>
                      <a:pt x="2" y="160"/>
                    </a:lnTo>
                    <a:lnTo>
                      <a:pt x="2" y="160"/>
                    </a:lnTo>
                    <a:lnTo>
                      <a:pt x="8" y="130"/>
                    </a:lnTo>
                    <a:lnTo>
                      <a:pt x="18" y="102"/>
                    </a:lnTo>
                    <a:lnTo>
                      <a:pt x="24" y="88"/>
                    </a:lnTo>
                    <a:lnTo>
                      <a:pt x="32" y="74"/>
                    </a:lnTo>
                    <a:lnTo>
                      <a:pt x="42" y="62"/>
                    </a:lnTo>
                    <a:lnTo>
                      <a:pt x="52" y="50"/>
                    </a:lnTo>
                    <a:lnTo>
                      <a:pt x="64" y="40"/>
                    </a:lnTo>
                    <a:lnTo>
                      <a:pt x="76" y="30"/>
                    </a:lnTo>
                    <a:lnTo>
                      <a:pt x="90" y="20"/>
                    </a:lnTo>
                    <a:lnTo>
                      <a:pt x="106" y="14"/>
                    </a:lnTo>
                    <a:lnTo>
                      <a:pt x="122" y="8"/>
                    </a:lnTo>
                    <a:lnTo>
                      <a:pt x="140" y="4"/>
                    </a:lnTo>
                    <a:lnTo>
                      <a:pt x="160" y="0"/>
                    </a:lnTo>
                    <a:lnTo>
                      <a:pt x="180" y="0"/>
                    </a:lnTo>
                    <a:lnTo>
                      <a:pt x="18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23"/>
              <p:cNvSpPr>
                <a:spLocks/>
              </p:cNvSpPr>
              <p:nvPr/>
            </p:nvSpPr>
            <p:spPr bwMode="auto">
              <a:xfrm>
                <a:off x="5229225" y="352425"/>
                <a:ext cx="177800" cy="542925"/>
              </a:xfrm>
              <a:custGeom>
                <a:avLst/>
                <a:gdLst>
                  <a:gd name="T0" fmla="*/ 0 w 112"/>
                  <a:gd name="T1" fmla="*/ 342 h 342"/>
                  <a:gd name="T2" fmla="*/ 24 w 112"/>
                  <a:gd name="T3" fmla="*/ 0 h 342"/>
                  <a:gd name="T4" fmla="*/ 112 w 112"/>
                  <a:gd name="T5" fmla="*/ 0 h 342"/>
                  <a:gd name="T6" fmla="*/ 88 w 112"/>
                  <a:gd name="T7" fmla="*/ 342 h 342"/>
                  <a:gd name="T8" fmla="*/ 0 w 112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2" y="0"/>
                    </a:lnTo>
                    <a:lnTo>
                      <a:pt x="88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Freeform 24"/>
              <p:cNvSpPr>
                <a:spLocks/>
              </p:cNvSpPr>
              <p:nvPr/>
            </p:nvSpPr>
            <p:spPr bwMode="auto">
              <a:xfrm>
                <a:off x="5803900" y="517525"/>
                <a:ext cx="295275" cy="377825"/>
              </a:xfrm>
              <a:custGeom>
                <a:avLst/>
                <a:gdLst>
                  <a:gd name="T0" fmla="*/ 106 w 186"/>
                  <a:gd name="T1" fmla="*/ 34 h 238"/>
                  <a:gd name="T2" fmla="*/ 106 w 186"/>
                  <a:gd name="T3" fmla="*/ 34 h 238"/>
                  <a:gd name="T4" fmla="*/ 106 w 186"/>
                  <a:gd name="T5" fmla="*/ 34 h 238"/>
                  <a:gd name="T6" fmla="*/ 116 w 186"/>
                  <a:gd name="T7" fmla="*/ 24 h 238"/>
                  <a:gd name="T8" fmla="*/ 124 w 186"/>
                  <a:gd name="T9" fmla="*/ 16 h 238"/>
                  <a:gd name="T10" fmla="*/ 134 w 186"/>
                  <a:gd name="T11" fmla="*/ 10 h 238"/>
                  <a:gd name="T12" fmla="*/ 144 w 186"/>
                  <a:gd name="T13" fmla="*/ 6 h 238"/>
                  <a:gd name="T14" fmla="*/ 154 w 186"/>
                  <a:gd name="T15" fmla="*/ 4 h 238"/>
                  <a:gd name="T16" fmla="*/ 164 w 186"/>
                  <a:gd name="T17" fmla="*/ 2 h 238"/>
                  <a:gd name="T18" fmla="*/ 186 w 186"/>
                  <a:gd name="T19" fmla="*/ 0 h 238"/>
                  <a:gd name="T20" fmla="*/ 180 w 186"/>
                  <a:gd name="T21" fmla="*/ 76 h 238"/>
                  <a:gd name="T22" fmla="*/ 180 w 186"/>
                  <a:gd name="T23" fmla="*/ 76 h 238"/>
                  <a:gd name="T24" fmla="*/ 162 w 186"/>
                  <a:gd name="T25" fmla="*/ 76 h 238"/>
                  <a:gd name="T26" fmla="*/ 162 w 186"/>
                  <a:gd name="T27" fmla="*/ 76 h 238"/>
                  <a:gd name="T28" fmla="*/ 142 w 186"/>
                  <a:gd name="T29" fmla="*/ 78 h 238"/>
                  <a:gd name="T30" fmla="*/ 126 w 186"/>
                  <a:gd name="T31" fmla="*/ 82 h 238"/>
                  <a:gd name="T32" fmla="*/ 116 w 186"/>
                  <a:gd name="T33" fmla="*/ 88 h 238"/>
                  <a:gd name="T34" fmla="*/ 108 w 186"/>
                  <a:gd name="T35" fmla="*/ 98 h 238"/>
                  <a:gd name="T36" fmla="*/ 104 w 186"/>
                  <a:gd name="T37" fmla="*/ 108 h 238"/>
                  <a:gd name="T38" fmla="*/ 100 w 186"/>
                  <a:gd name="T39" fmla="*/ 120 h 238"/>
                  <a:gd name="T40" fmla="*/ 98 w 186"/>
                  <a:gd name="T41" fmla="*/ 148 h 238"/>
                  <a:gd name="T42" fmla="*/ 92 w 186"/>
                  <a:gd name="T43" fmla="*/ 238 h 238"/>
                  <a:gd name="T44" fmla="*/ 0 w 186"/>
                  <a:gd name="T45" fmla="*/ 238 h 238"/>
                  <a:gd name="T46" fmla="*/ 14 w 186"/>
                  <a:gd name="T47" fmla="*/ 62 h 238"/>
                  <a:gd name="T48" fmla="*/ 14 w 186"/>
                  <a:gd name="T49" fmla="*/ 62 h 238"/>
                  <a:gd name="T50" fmla="*/ 14 w 186"/>
                  <a:gd name="T51" fmla="*/ 32 h 238"/>
                  <a:gd name="T52" fmla="*/ 14 w 186"/>
                  <a:gd name="T53" fmla="*/ 0 h 238"/>
                  <a:gd name="T54" fmla="*/ 102 w 186"/>
                  <a:gd name="T55" fmla="*/ 0 h 238"/>
                  <a:gd name="T56" fmla="*/ 106 w 186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6" h="238">
                    <a:moveTo>
                      <a:pt x="106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6" y="24"/>
                    </a:lnTo>
                    <a:lnTo>
                      <a:pt x="124" y="16"/>
                    </a:lnTo>
                    <a:lnTo>
                      <a:pt x="134" y="10"/>
                    </a:lnTo>
                    <a:lnTo>
                      <a:pt x="144" y="6"/>
                    </a:lnTo>
                    <a:lnTo>
                      <a:pt x="154" y="4"/>
                    </a:lnTo>
                    <a:lnTo>
                      <a:pt x="164" y="2"/>
                    </a:lnTo>
                    <a:lnTo>
                      <a:pt x="186" y="0"/>
                    </a:lnTo>
                    <a:lnTo>
                      <a:pt x="180" y="76"/>
                    </a:lnTo>
                    <a:lnTo>
                      <a:pt x="180" y="76"/>
                    </a:lnTo>
                    <a:lnTo>
                      <a:pt x="162" y="76"/>
                    </a:lnTo>
                    <a:lnTo>
                      <a:pt x="162" y="76"/>
                    </a:lnTo>
                    <a:lnTo>
                      <a:pt x="142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4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6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30" name="Text Placeholder 30"/>
          <p:cNvSpPr>
            <a:spLocks noGrp="1"/>
          </p:cNvSpPr>
          <p:nvPr>
            <p:ph type="body" sz="quarter" idx="13" hasCustomPrompt="1"/>
          </p:nvPr>
        </p:nvSpPr>
        <p:spPr>
          <a:xfrm>
            <a:off x="553074" y="553073"/>
            <a:ext cx="3571665" cy="316888"/>
          </a:xfrm>
        </p:spPr>
        <p:txBody>
          <a:bodyPr>
            <a:noAutofit/>
          </a:bodyPr>
          <a:lstStyle>
            <a:lvl1pPr marL="0" indent="0">
              <a:buNone/>
              <a:defRPr sz="1400" b="0" u="none">
                <a:solidFill>
                  <a:schemeClr val="bg1"/>
                </a:solidFill>
              </a:defRPr>
            </a:lvl1pPr>
            <a:lvl2pPr marL="457200" indent="0">
              <a:buNone/>
              <a:defRPr b="0" u="none"/>
            </a:lvl2pPr>
            <a:lvl3pPr marL="914400" indent="0">
              <a:buNone/>
              <a:defRPr b="0" u="none"/>
            </a:lvl3pPr>
            <a:lvl4pPr marL="1371600" indent="0">
              <a:buNone/>
              <a:defRPr b="0" u="none"/>
            </a:lvl4pPr>
            <a:lvl5pPr marL="1828800" indent="0">
              <a:buNone/>
              <a:defRPr b="0" u="none"/>
            </a:lvl5pPr>
          </a:lstStyle>
          <a:p>
            <a:pPr lvl="0"/>
            <a:r>
              <a:rPr lang="en-US"/>
              <a:t>BU/Function/Region</a:t>
            </a:r>
          </a:p>
        </p:txBody>
      </p:sp>
    </p:spTree>
    <p:extLst>
      <p:ext uri="{BB962C8B-B14F-4D97-AF65-F5344CB8AC3E}">
        <p14:creationId xmlns:p14="http://schemas.microsoft.com/office/powerpoint/2010/main" val="20134146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4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image" Target="../media/image12.emf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image" Target="../media/image11.png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image" Target="../media/image10.emf"/><Relationship Id="rId10" Type="http://schemas.openxmlformats.org/officeDocument/2006/relationships/slideLayout" Target="../slideLayouts/slideLayout31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0268" y="245857"/>
            <a:ext cx="11227905" cy="10263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0268" y="1485485"/>
            <a:ext cx="11227905" cy="47342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21292" y="636663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13E7FBFD-78E1-42FB-85FC-D9CE5E3DEF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ImageContentMarking Footer Hash-2081582570" hidden="1"/>
          <p:cNvSpPr txBox="1"/>
          <p:nvPr userDrawn="1"/>
        </p:nvSpPr>
        <p:spPr>
          <a:xfrm>
            <a:off x="9410700" y="6629400"/>
            <a:ext cx="2781300" cy="228600"/>
          </a:xfrm>
          <a:prstGeom prst="rect">
            <a:avLst/>
          </a:prstGeom>
          <a:blipFill>
            <a:blip r:embed="rId23"/>
            <a:stretch>
              <a:fillRect/>
            </a:stretch>
          </a:blipFill>
        </p:spPr>
        <p:txBody>
          <a:bodyPr vert="horz" rtlCol="0">
            <a:spAutoFit/>
          </a:bodyPr>
          <a:lstStyle/>
          <a:p>
            <a:endParaRPr lang="en-US" dirty="0"/>
          </a:p>
        </p:txBody>
      </p:sp>
      <p:sp>
        <p:nvSpPr>
          <p:cNvPr id="9" name="TextContentMarking" hidden="1"/>
          <p:cNvSpPr txBox="1"/>
          <p:nvPr userDrawn="1"/>
        </p:nvSpPr>
        <p:spPr>
          <a:xfrm>
            <a:off x="10370830" y="0"/>
            <a:ext cx="1821170" cy="280749"/>
          </a:xfrm>
          <a:prstGeom prst="rect">
            <a:avLst/>
          </a:prstGeom>
          <a:noFill/>
        </p:spPr>
        <p:txBody>
          <a:bodyPr vert="horz" rtlCol="0" anchor="ctr">
            <a:spAutoFit/>
          </a:bodyPr>
          <a:lstStyle/>
          <a:p>
            <a:pPr algn="r"/>
            <a:r>
              <a:rPr lang="en-US" sz="1200" dirty="0">
                <a:solidFill>
                  <a:srgbClr val="808080"/>
                </a:solidFill>
                <a:latin typeface="Arial" panose="020B0604020202020204" pitchFamily="34" charset="0"/>
              </a:rPr>
              <a:t>K-C Internal Use Only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70622" y="6413584"/>
            <a:ext cx="2165537" cy="271230"/>
            <a:chOff x="158750" y="276225"/>
            <a:chExt cx="6388100" cy="800100"/>
          </a:xfrm>
          <a:solidFill>
            <a:schemeClr val="accent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158750" y="276225"/>
              <a:ext cx="857250" cy="736600"/>
            </a:xfrm>
            <a:custGeom>
              <a:avLst/>
              <a:gdLst>
                <a:gd name="T0" fmla="*/ 298 w 540"/>
                <a:gd name="T1" fmla="*/ 0 h 464"/>
                <a:gd name="T2" fmla="*/ 374 w 540"/>
                <a:gd name="T3" fmla="*/ 18 h 464"/>
                <a:gd name="T4" fmla="*/ 442 w 540"/>
                <a:gd name="T5" fmla="*/ 52 h 464"/>
                <a:gd name="T6" fmla="*/ 494 w 540"/>
                <a:gd name="T7" fmla="*/ 102 h 464"/>
                <a:gd name="T8" fmla="*/ 528 w 540"/>
                <a:gd name="T9" fmla="*/ 162 h 464"/>
                <a:gd name="T10" fmla="*/ 540 w 540"/>
                <a:gd name="T11" fmla="*/ 232 h 464"/>
                <a:gd name="T12" fmla="*/ 534 w 540"/>
                <a:gd name="T13" fmla="*/ 278 h 464"/>
                <a:gd name="T14" fmla="*/ 506 w 540"/>
                <a:gd name="T15" fmla="*/ 342 h 464"/>
                <a:gd name="T16" fmla="*/ 460 w 540"/>
                <a:gd name="T17" fmla="*/ 396 h 464"/>
                <a:gd name="T18" fmla="*/ 398 w 540"/>
                <a:gd name="T19" fmla="*/ 436 h 464"/>
                <a:gd name="T20" fmla="*/ 324 w 540"/>
                <a:gd name="T21" fmla="*/ 460 h 464"/>
                <a:gd name="T22" fmla="*/ 270 w 540"/>
                <a:gd name="T23" fmla="*/ 464 h 464"/>
                <a:gd name="T24" fmla="*/ 190 w 540"/>
                <a:gd name="T25" fmla="*/ 454 h 464"/>
                <a:gd name="T26" fmla="*/ 118 w 540"/>
                <a:gd name="T27" fmla="*/ 424 h 464"/>
                <a:gd name="T28" fmla="*/ 62 w 540"/>
                <a:gd name="T29" fmla="*/ 380 h 464"/>
                <a:gd name="T30" fmla="*/ 20 w 540"/>
                <a:gd name="T31" fmla="*/ 322 h 464"/>
                <a:gd name="T32" fmla="*/ 2 w 540"/>
                <a:gd name="T33" fmla="*/ 256 h 464"/>
                <a:gd name="T34" fmla="*/ 2 w 540"/>
                <a:gd name="T35" fmla="*/ 208 h 464"/>
                <a:gd name="T36" fmla="*/ 20 w 540"/>
                <a:gd name="T37" fmla="*/ 142 h 464"/>
                <a:gd name="T38" fmla="*/ 62 w 540"/>
                <a:gd name="T39" fmla="*/ 84 h 464"/>
                <a:gd name="T40" fmla="*/ 118 w 540"/>
                <a:gd name="T41" fmla="*/ 40 h 464"/>
                <a:gd name="T42" fmla="*/ 190 w 540"/>
                <a:gd name="T43" fmla="*/ 10 h 464"/>
                <a:gd name="T44" fmla="*/ 270 w 540"/>
                <a:gd name="T45" fmla="*/ 0 h 464"/>
                <a:gd name="T46" fmla="*/ 270 w 540"/>
                <a:gd name="T47" fmla="*/ 232 h 464"/>
                <a:gd name="T48" fmla="*/ 220 w 540"/>
                <a:gd name="T49" fmla="*/ 196 h 464"/>
                <a:gd name="T50" fmla="*/ 208 w 540"/>
                <a:gd name="T51" fmla="*/ 176 h 464"/>
                <a:gd name="T52" fmla="*/ 156 w 540"/>
                <a:gd name="T53" fmla="*/ 130 h 464"/>
                <a:gd name="T54" fmla="*/ 76 w 540"/>
                <a:gd name="T55" fmla="*/ 152 h 464"/>
                <a:gd name="T56" fmla="*/ 130 w 540"/>
                <a:gd name="T57" fmla="*/ 204 h 464"/>
                <a:gd name="T58" fmla="*/ 138 w 540"/>
                <a:gd name="T59" fmla="*/ 230 h 464"/>
                <a:gd name="T60" fmla="*/ 132 w 540"/>
                <a:gd name="T61" fmla="*/ 244 h 464"/>
                <a:gd name="T62" fmla="*/ 108 w 540"/>
                <a:gd name="T63" fmla="*/ 250 h 464"/>
                <a:gd name="T64" fmla="*/ 38 w 540"/>
                <a:gd name="T65" fmla="*/ 330 h 464"/>
                <a:gd name="T66" fmla="*/ 146 w 540"/>
                <a:gd name="T67" fmla="*/ 330 h 464"/>
                <a:gd name="T68" fmla="*/ 186 w 540"/>
                <a:gd name="T69" fmla="*/ 320 h 464"/>
                <a:gd name="T70" fmla="*/ 214 w 540"/>
                <a:gd name="T71" fmla="*/ 296 h 464"/>
                <a:gd name="T72" fmla="*/ 320 w 540"/>
                <a:gd name="T73" fmla="*/ 390 h 464"/>
                <a:gd name="T74" fmla="*/ 326 w 540"/>
                <a:gd name="T75" fmla="*/ 296 h 464"/>
                <a:gd name="T76" fmla="*/ 352 w 540"/>
                <a:gd name="T77" fmla="*/ 320 h 464"/>
                <a:gd name="T78" fmla="*/ 392 w 540"/>
                <a:gd name="T79" fmla="*/ 330 h 464"/>
                <a:gd name="T80" fmla="*/ 500 w 540"/>
                <a:gd name="T81" fmla="*/ 250 h 464"/>
                <a:gd name="T82" fmla="*/ 432 w 540"/>
                <a:gd name="T83" fmla="*/ 250 h 464"/>
                <a:gd name="T84" fmla="*/ 408 w 540"/>
                <a:gd name="T85" fmla="*/ 244 h 464"/>
                <a:gd name="T86" fmla="*/ 400 w 540"/>
                <a:gd name="T87" fmla="*/ 230 h 464"/>
                <a:gd name="T88" fmla="*/ 410 w 540"/>
                <a:gd name="T89" fmla="*/ 204 h 464"/>
                <a:gd name="T90" fmla="*/ 462 w 540"/>
                <a:gd name="T91" fmla="*/ 152 h 464"/>
                <a:gd name="T92" fmla="*/ 382 w 540"/>
                <a:gd name="T93" fmla="*/ 130 h 464"/>
                <a:gd name="T94" fmla="*/ 330 w 540"/>
                <a:gd name="T95" fmla="*/ 176 h 464"/>
                <a:gd name="T96" fmla="*/ 320 w 540"/>
                <a:gd name="T97" fmla="*/ 19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40" h="464">
                  <a:moveTo>
                    <a:pt x="270" y="0"/>
                  </a:moveTo>
                  <a:lnTo>
                    <a:pt x="270" y="0"/>
                  </a:lnTo>
                  <a:lnTo>
                    <a:pt x="298" y="0"/>
                  </a:lnTo>
                  <a:lnTo>
                    <a:pt x="324" y="4"/>
                  </a:lnTo>
                  <a:lnTo>
                    <a:pt x="350" y="10"/>
                  </a:lnTo>
                  <a:lnTo>
                    <a:pt x="374" y="18"/>
                  </a:lnTo>
                  <a:lnTo>
                    <a:pt x="398" y="28"/>
                  </a:lnTo>
                  <a:lnTo>
                    <a:pt x="420" y="40"/>
                  </a:lnTo>
                  <a:lnTo>
                    <a:pt x="442" y="52"/>
                  </a:lnTo>
                  <a:lnTo>
                    <a:pt x="460" y="68"/>
                  </a:lnTo>
                  <a:lnTo>
                    <a:pt x="478" y="84"/>
                  </a:lnTo>
                  <a:lnTo>
                    <a:pt x="494" y="102"/>
                  </a:lnTo>
                  <a:lnTo>
                    <a:pt x="506" y="122"/>
                  </a:lnTo>
                  <a:lnTo>
                    <a:pt x="518" y="142"/>
                  </a:lnTo>
                  <a:lnTo>
                    <a:pt x="528" y="162"/>
                  </a:lnTo>
                  <a:lnTo>
                    <a:pt x="534" y="184"/>
                  </a:lnTo>
                  <a:lnTo>
                    <a:pt x="538" y="208"/>
                  </a:lnTo>
                  <a:lnTo>
                    <a:pt x="540" y="232"/>
                  </a:lnTo>
                  <a:lnTo>
                    <a:pt x="540" y="232"/>
                  </a:lnTo>
                  <a:lnTo>
                    <a:pt x="538" y="256"/>
                  </a:lnTo>
                  <a:lnTo>
                    <a:pt x="534" y="278"/>
                  </a:lnTo>
                  <a:lnTo>
                    <a:pt x="528" y="300"/>
                  </a:lnTo>
                  <a:lnTo>
                    <a:pt x="518" y="322"/>
                  </a:lnTo>
                  <a:lnTo>
                    <a:pt x="506" y="342"/>
                  </a:lnTo>
                  <a:lnTo>
                    <a:pt x="494" y="362"/>
                  </a:lnTo>
                  <a:lnTo>
                    <a:pt x="478" y="380"/>
                  </a:lnTo>
                  <a:lnTo>
                    <a:pt x="460" y="396"/>
                  </a:lnTo>
                  <a:lnTo>
                    <a:pt x="442" y="410"/>
                  </a:lnTo>
                  <a:lnTo>
                    <a:pt x="420" y="424"/>
                  </a:lnTo>
                  <a:lnTo>
                    <a:pt x="398" y="436"/>
                  </a:lnTo>
                  <a:lnTo>
                    <a:pt x="374" y="446"/>
                  </a:lnTo>
                  <a:lnTo>
                    <a:pt x="350" y="454"/>
                  </a:lnTo>
                  <a:lnTo>
                    <a:pt x="324" y="460"/>
                  </a:lnTo>
                  <a:lnTo>
                    <a:pt x="298" y="462"/>
                  </a:lnTo>
                  <a:lnTo>
                    <a:pt x="270" y="464"/>
                  </a:lnTo>
                  <a:lnTo>
                    <a:pt x="270" y="464"/>
                  </a:lnTo>
                  <a:lnTo>
                    <a:pt x="242" y="462"/>
                  </a:lnTo>
                  <a:lnTo>
                    <a:pt x="216" y="458"/>
                  </a:lnTo>
                  <a:lnTo>
                    <a:pt x="190" y="454"/>
                  </a:lnTo>
                  <a:lnTo>
                    <a:pt x="164" y="446"/>
                  </a:lnTo>
                  <a:lnTo>
                    <a:pt x="140" y="436"/>
                  </a:lnTo>
                  <a:lnTo>
                    <a:pt x="118" y="424"/>
                  </a:lnTo>
                  <a:lnTo>
                    <a:pt x="98" y="410"/>
                  </a:lnTo>
                  <a:lnTo>
                    <a:pt x="78" y="396"/>
                  </a:lnTo>
                  <a:lnTo>
                    <a:pt x="62" y="380"/>
                  </a:lnTo>
                  <a:lnTo>
                    <a:pt x="46" y="362"/>
                  </a:lnTo>
                  <a:lnTo>
                    <a:pt x="32" y="342"/>
                  </a:lnTo>
                  <a:lnTo>
                    <a:pt x="20" y="322"/>
                  </a:lnTo>
                  <a:lnTo>
                    <a:pt x="12" y="300"/>
                  </a:lnTo>
                  <a:lnTo>
                    <a:pt x="6" y="278"/>
                  </a:lnTo>
                  <a:lnTo>
                    <a:pt x="2" y="256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08"/>
                  </a:lnTo>
                  <a:lnTo>
                    <a:pt x="6" y="184"/>
                  </a:lnTo>
                  <a:lnTo>
                    <a:pt x="12" y="162"/>
                  </a:lnTo>
                  <a:lnTo>
                    <a:pt x="20" y="142"/>
                  </a:lnTo>
                  <a:lnTo>
                    <a:pt x="32" y="120"/>
                  </a:lnTo>
                  <a:lnTo>
                    <a:pt x="46" y="102"/>
                  </a:lnTo>
                  <a:lnTo>
                    <a:pt x="62" y="84"/>
                  </a:lnTo>
                  <a:lnTo>
                    <a:pt x="78" y="68"/>
                  </a:lnTo>
                  <a:lnTo>
                    <a:pt x="98" y="52"/>
                  </a:lnTo>
                  <a:lnTo>
                    <a:pt x="118" y="40"/>
                  </a:lnTo>
                  <a:lnTo>
                    <a:pt x="140" y="28"/>
                  </a:lnTo>
                  <a:lnTo>
                    <a:pt x="164" y="18"/>
                  </a:lnTo>
                  <a:lnTo>
                    <a:pt x="190" y="10"/>
                  </a:lnTo>
                  <a:lnTo>
                    <a:pt x="216" y="4"/>
                  </a:lnTo>
                  <a:lnTo>
                    <a:pt x="242" y="0"/>
                  </a:lnTo>
                  <a:lnTo>
                    <a:pt x="270" y="0"/>
                  </a:lnTo>
                  <a:lnTo>
                    <a:pt x="270" y="0"/>
                  </a:lnTo>
                  <a:close/>
                  <a:moveTo>
                    <a:pt x="270" y="232"/>
                  </a:moveTo>
                  <a:lnTo>
                    <a:pt x="270" y="232"/>
                  </a:lnTo>
                  <a:close/>
                  <a:moveTo>
                    <a:pt x="220" y="50"/>
                  </a:moveTo>
                  <a:lnTo>
                    <a:pt x="220" y="50"/>
                  </a:lnTo>
                  <a:lnTo>
                    <a:pt x="220" y="196"/>
                  </a:lnTo>
                  <a:lnTo>
                    <a:pt x="220" y="196"/>
                  </a:lnTo>
                  <a:lnTo>
                    <a:pt x="214" y="186"/>
                  </a:lnTo>
                  <a:lnTo>
                    <a:pt x="208" y="176"/>
                  </a:lnTo>
                  <a:lnTo>
                    <a:pt x="194" y="160"/>
                  </a:lnTo>
                  <a:lnTo>
                    <a:pt x="176" y="144"/>
                  </a:lnTo>
                  <a:lnTo>
                    <a:pt x="156" y="130"/>
                  </a:lnTo>
                  <a:lnTo>
                    <a:pt x="48" y="130"/>
                  </a:lnTo>
                  <a:lnTo>
                    <a:pt x="48" y="130"/>
                  </a:lnTo>
                  <a:lnTo>
                    <a:pt x="76" y="152"/>
                  </a:lnTo>
                  <a:lnTo>
                    <a:pt x="106" y="178"/>
                  </a:lnTo>
                  <a:lnTo>
                    <a:pt x="120" y="192"/>
                  </a:lnTo>
                  <a:lnTo>
                    <a:pt x="130" y="204"/>
                  </a:lnTo>
                  <a:lnTo>
                    <a:pt x="136" y="218"/>
                  </a:lnTo>
                  <a:lnTo>
                    <a:pt x="138" y="230"/>
                  </a:lnTo>
                  <a:lnTo>
                    <a:pt x="138" y="230"/>
                  </a:lnTo>
                  <a:lnTo>
                    <a:pt x="138" y="236"/>
                  </a:lnTo>
                  <a:lnTo>
                    <a:pt x="136" y="240"/>
                  </a:lnTo>
                  <a:lnTo>
                    <a:pt x="132" y="244"/>
                  </a:lnTo>
                  <a:lnTo>
                    <a:pt x="128" y="246"/>
                  </a:lnTo>
                  <a:lnTo>
                    <a:pt x="11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38" y="25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146" y="330"/>
                  </a:lnTo>
                  <a:lnTo>
                    <a:pt x="146" y="330"/>
                  </a:lnTo>
                  <a:lnTo>
                    <a:pt x="166" y="328"/>
                  </a:lnTo>
                  <a:lnTo>
                    <a:pt x="176" y="324"/>
                  </a:lnTo>
                  <a:lnTo>
                    <a:pt x="186" y="320"/>
                  </a:lnTo>
                  <a:lnTo>
                    <a:pt x="196" y="314"/>
                  </a:lnTo>
                  <a:lnTo>
                    <a:pt x="206" y="306"/>
                  </a:lnTo>
                  <a:lnTo>
                    <a:pt x="214" y="296"/>
                  </a:lnTo>
                  <a:lnTo>
                    <a:pt x="220" y="284"/>
                  </a:lnTo>
                  <a:lnTo>
                    <a:pt x="220" y="390"/>
                  </a:lnTo>
                  <a:lnTo>
                    <a:pt x="320" y="390"/>
                  </a:lnTo>
                  <a:lnTo>
                    <a:pt x="320" y="284"/>
                  </a:lnTo>
                  <a:lnTo>
                    <a:pt x="320" y="284"/>
                  </a:lnTo>
                  <a:lnTo>
                    <a:pt x="326" y="296"/>
                  </a:lnTo>
                  <a:lnTo>
                    <a:pt x="334" y="306"/>
                  </a:lnTo>
                  <a:lnTo>
                    <a:pt x="342" y="314"/>
                  </a:lnTo>
                  <a:lnTo>
                    <a:pt x="352" y="320"/>
                  </a:lnTo>
                  <a:lnTo>
                    <a:pt x="362" y="324"/>
                  </a:lnTo>
                  <a:lnTo>
                    <a:pt x="372" y="328"/>
                  </a:lnTo>
                  <a:lnTo>
                    <a:pt x="392" y="330"/>
                  </a:lnTo>
                  <a:lnTo>
                    <a:pt x="392" y="330"/>
                  </a:lnTo>
                  <a:lnTo>
                    <a:pt x="500" y="330"/>
                  </a:lnTo>
                  <a:lnTo>
                    <a:pt x="500" y="250"/>
                  </a:lnTo>
                  <a:lnTo>
                    <a:pt x="500" y="250"/>
                  </a:lnTo>
                  <a:lnTo>
                    <a:pt x="432" y="250"/>
                  </a:lnTo>
                  <a:lnTo>
                    <a:pt x="432" y="250"/>
                  </a:lnTo>
                  <a:lnTo>
                    <a:pt x="422" y="250"/>
                  </a:lnTo>
                  <a:lnTo>
                    <a:pt x="412" y="246"/>
                  </a:lnTo>
                  <a:lnTo>
                    <a:pt x="408" y="244"/>
                  </a:lnTo>
                  <a:lnTo>
                    <a:pt x="404" y="240"/>
                  </a:lnTo>
                  <a:lnTo>
                    <a:pt x="402" y="236"/>
                  </a:lnTo>
                  <a:lnTo>
                    <a:pt x="400" y="230"/>
                  </a:lnTo>
                  <a:lnTo>
                    <a:pt x="400" y="230"/>
                  </a:lnTo>
                  <a:lnTo>
                    <a:pt x="402" y="218"/>
                  </a:lnTo>
                  <a:lnTo>
                    <a:pt x="410" y="204"/>
                  </a:lnTo>
                  <a:lnTo>
                    <a:pt x="420" y="192"/>
                  </a:lnTo>
                  <a:lnTo>
                    <a:pt x="432" y="178"/>
                  </a:lnTo>
                  <a:lnTo>
                    <a:pt x="462" y="152"/>
                  </a:lnTo>
                  <a:lnTo>
                    <a:pt x="492" y="130"/>
                  </a:lnTo>
                  <a:lnTo>
                    <a:pt x="382" y="130"/>
                  </a:lnTo>
                  <a:lnTo>
                    <a:pt x="382" y="130"/>
                  </a:lnTo>
                  <a:lnTo>
                    <a:pt x="364" y="144"/>
                  </a:lnTo>
                  <a:lnTo>
                    <a:pt x="346" y="160"/>
                  </a:lnTo>
                  <a:lnTo>
                    <a:pt x="330" y="176"/>
                  </a:lnTo>
                  <a:lnTo>
                    <a:pt x="324" y="186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20" y="50"/>
                  </a:lnTo>
                  <a:lnTo>
                    <a:pt x="22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1314450" y="339725"/>
              <a:ext cx="5232400" cy="736600"/>
              <a:chOff x="1314450" y="339725"/>
              <a:chExt cx="5232400" cy="736600"/>
            </a:xfrm>
            <a:grpFill/>
          </p:grpSpPr>
          <p:sp>
            <p:nvSpPr>
              <p:cNvPr id="11" name="Freeform 9"/>
              <p:cNvSpPr>
                <a:spLocks/>
              </p:cNvSpPr>
              <p:nvPr/>
            </p:nvSpPr>
            <p:spPr bwMode="auto">
              <a:xfrm>
                <a:off x="1908175" y="352425"/>
                <a:ext cx="139700" cy="98425"/>
              </a:xfrm>
              <a:custGeom>
                <a:avLst/>
                <a:gdLst>
                  <a:gd name="T0" fmla="*/ 4 w 88"/>
                  <a:gd name="T1" fmla="*/ 0 h 62"/>
                  <a:gd name="T2" fmla="*/ 88 w 88"/>
                  <a:gd name="T3" fmla="*/ 0 h 62"/>
                  <a:gd name="T4" fmla="*/ 84 w 88"/>
                  <a:gd name="T5" fmla="*/ 62 h 62"/>
                  <a:gd name="T6" fmla="*/ 0 w 88"/>
                  <a:gd name="T7" fmla="*/ 62 h 62"/>
                  <a:gd name="T8" fmla="*/ 4 w 88"/>
                  <a:gd name="T9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" h="62">
                    <a:moveTo>
                      <a:pt x="4" y="0"/>
                    </a:moveTo>
                    <a:lnTo>
                      <a:pt x="88" y="0"/>
                    </a:lnTo>
                    <a:lnTo>
                      <a:pt x="84" y="62"/>
                    </a:lnTo>
                    <a:lnTo>
                      <a:pt x="0" y="6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10"/>
              <p:cNvSpPr>
                <a:spLocks noEditPoints="1"/>
              </p:cNvSpPr>
              <p:nvPr/>
            </p:nvSpPr>
            <p:spPr bwMode="auto">
              <a:xfrm>
                <a:off x="5397500" y="504825"/>
                <a:ext cx="393700" cy="393700"/>
              </a:xfrm>
              <a:custGeom>
                <a:avLst/>
                <a:gdLst>
                  <a:gd name="T0" fmla="*/ 152 w 248"/>
                  <a:gd name="T1" fmla="*/ 216 h 248"/>
                  <a:gd name="T2" fmla="*/ 138 w 248"/>
                  <a:gd name="T3" fmla="*/ 228 h 248"/>
                  <a:gd name="T4" fmla="*/ 112 w 248"/>
                  <a:gd name="T5" fmla="*/ 242 h 248"/>
                  <a:gd name="T6" fmla="*/ 92 w 248"/>
                  <a:gd name="T7" fmla="*/ 246 h 248"/>
                  <a:gd name="T8" fmla="*/ 80 w 248"/>
                  <a:gd name="T9" fmla="*/ 248 h 248"/>
                  <a:gd name="T10" fmla="*/ 44 w 248"/>
                  <a:gd name="T11" fmla="*/ 242 h 248"/>
                  <a:gd name="T12" fmla="*/ 18 w 248"/>
                  <a:gd name="T13" fmla="*/ 226 h 248"/>
                  <a:gd name="T14" fmla="*/ 4 w 248"/>
                  <a:gd name="T15" fmla="*/ 202 h 248"/>
                  <a:gd name="T16" fmla="*/ 0 w 248"/>
                  <a:gd name="T17" fmla="*/ 174 h 248"/>
                  <a:gd name="T18" fmla="*/ 2 w 248"/>
                  <a:gd name="T19" fmla="*/ 156 h 248"/>
                  <a:gd name="T20" fmla="*/ 20 w 248"/>
                  <a:gd name="T21" fmla="*/ 128 h 248"/>
                  <a:gd name="T22" fmla="*/ 54 w 248"/>
                  <a:gd name="T23" fmla="*/ 108 h 248"/>
                  <a:gd name="T24" fmla="*/ 104 w 248"/>
                  <a:gd name="T25" fmla="*/ 98 h 248"/>
                  <a:gd name="T26" fmla="*/ 162 w 248"/>
                  <a:gd name="T27" fmla="*/ 96 h 248"/>
                  <a:gd name="T28" fmla="*/ 164 w 248"/>
                  <a:gd name="T29" fmla="*/ 78 h 248"/>
                  <a:gd name="T30" fmla="*/ 162 w 248"/>
                  <a:gd name="T31" fmla="*/ 60 h 248"/>
                  <a:gd name="T32" fmla="*/ 154 w 248"/>
                  <a:gd name="T33" fmla="*/ 46 h 248"/>
                  <a:gd name="T34" fmla="*/ 136 w 248"/>
                  <a:gd name="T35" fmla="*/ 40 h 248"/>
                  <a:gd name="T36" fmla="*/ 126 w 248"/>
                  <a:gd name="T37" fmla="*/ 42 h 248"/>
                  <a:gd name="T38" fmla="*/ 114 w 248"/>
                  <a:gd name="T39" fmla="*/ 48 h 248"/>
                  <a:gd name="T40" fmla="*/ 106 w 248"/>
                  <a:gd name="T41" fmla="*/ 66 h 248"/>
                  <a:gd name="T42" fmla="*/ 22 w 248"/>
                  <a:gd name="T43" fmla="*/ 76 h 248"/>
                  <a:gd name="T44" fmla="*/ 24 w 248"/>
                  <a:gd name="T45" fmla="*/ 66 h 248"/>
                  <a:gd name="T46" fmla="*/ 28 w 248"/>
                  <a:gd name="T47" fmla="*/ 46 h 248"/>
                  <a:gd name="T48" fmla="*/ 38 w 248"/>
                  <a:gd name="T49" fmla="*/ 30 h 248"/>
                  <a:gd name="T50" fmla="*/ 54 w 248"/>
                  <a:gd name="T51" fmla="*/ 18 h 248"/>
                  <a:gd name="T52" fmla="*/ 62 w 248"/>
                  <a:gd name="T53" fmla="*/ 14 h 248"/>
                  <a:gd name="T54" fmla="*/ 102 w 248"/>
                  <a:gd name="T55" fmla="*/ 2 h 248"/>
                  <a:gd name="T56" fmla="*/ 144 w 248"/>
                  <a:gd name="T57" fmla="*/ 0 h 248"/>
                  <a:gd name="T58" fmla="*/ 164 w 248"/>
                  <a:gd name="T59" fmla="*/ 0 h 248"/>
                  <a:gd name="T60" fmla="*/ 200 w 248"/>
                  <a:gd name="T61" fmla="*/ 10 h 248"/>
                  <a:gd name="T62" fmla="*/ 230 w 248"/>
                  <a:gd name="T63" fmla="*/ 30 h 248"/>
                  <a:gd name="T64" fmla="*/ 240 w 248"/>
                  <a:gd name="T65" fmla="*/ 44 h 248"/>
                  <a:gd name="T66" fmla="*/ 246 w 248"/>
                  <a:gd name="T67" fmla="*/ 62 h 248"/>
                  <a:gd name="T68" fmla="*/ 248 w 248"/>
                  <a:gd name="T69" fmla="*/ 82 h 248"/>
                  <a:gd name="T70" fmla="*/ 242 w 248"/>
                  <a:gd name="T71" fmla="*/ 196 h 248"/>
                  <a:gd name="T72" fmla="*/ 242 w 248"/>
                  <a:gd name="T73" fmla="*/ 246 h 248"/>
                  <a:gd name="T74" fmla="*/ 152 w 248"/>
                  <a:gd name="T75" fmla="*/ 216 h 248"/>
                  <a:gd name="T76" fmla="*/ 114 w 248"/>
                  <a:gd name="T77" fmla="*/ 200 h 248"/>
                  <a:gd name="T78" fmla="*/ 138 w 248"/>
                  <a:gd name="T79" fmla="*/ 194 h 248"/>
                  <a:gd name="T80" fmla="*/ 152 w 248"/>
                  <a:gd name="T81" fmla="*/ 176 h 248"/>
                  <a:gd name="T82" fmla="*/ 158 w 248"/>
                  <a:gd name="T83" fmla="*/ 154 h 248"/>
                  <a:gd name="T84" fmla="*/ 160 w 248"/>
                  <a:gd name="T85" fmla="*/ 130 h 248"/>
                  <a:gd name="T86" fmla="*/ 122 w 248"/>
                  <a:gd name="T87" fmla="*/ 132 h 248"/>
                  <a:gd name="T88" fmla="*/ 110 w 248"/>
                  <a:gd name="T89" fmla="*/ 134 h 248"/>
                  <a:gd name="T90" fmla="*/ 94 w 248"/>
                  <a:gd name="T91" fmla="*/ 148 h 248"/>
                  <a:gd name="T92" fmla="*/ 86 w 248"/>
                  <a:gd name="T93" fmla="*/ 170 h 248"/>
                  <a:gd name="T94" fmla="*/ 86 w 248"/>
                  <a:gd name="T95" fmla="*/ 176 h 248"/>
                  <a:gd name="T96" fmla="*/ 92 w 248"/>
                  <a:gd name="T97" fmla="*/ 192 h 248"/>
                  <a:gd name="T98" fmla="*/ 102 w 248"/>
                  <a:gd name="T99" fmla="*/ 198 h 248"/>
                  <a:gd name="T100" fmla="*/ 114 w 248"/>
                  <a:gd name="T101" fmla="*/ 20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8" h="248">
                    <a:moveTo>
                      <a:pt x="152" y="216"/>
                    </a:moveTo>
                    <a:lnTo>
                      <a:pt x="152" y="216"/>
                    </a:lnTo>
                    <a:lnTo>
                      <a:pt x="152" y="216"/>
                    </a:lnTo>
                    <a:lnTo>
                      <a:pt x="138" y="228"/>
                    </a:lnTo>
                    <a:lnTo>
                      <a:pt x="122" y="238"/>
                    </a:lnTo>
                    <a:lnTo>
                      <a:pt x="112" y="242"/>
                    </a:lnTo>
                    <a:lnTo>
                      <a:pt x="102" y="246"/>
                    </a:lnTo>
                    <a:lnTo>
                      <a:pt x="92" y="246"/>
                    </a:lnTo>
                    <a:lnTo>
                      <a:pt x="80" y="248"/>
                    </a:lnTo>
                    <a:lnTo>
                      <a:pt x="80" y="248"/>
                    </a:lnTo>
                    <a:lnTo>
                      <a:pt x="60" y="246"/>
                    </a:lnTo>
                    <a:lnTo>
                      <a:pt x="44" y="242"/>
                    </a:lnTo>
                    <a:lnTo>
                      <a:pt x="30" y="234"/>
                    </a:lnTo>
                    <a:lnTo>
                      <a:pt x="18" y="226"/>
                    </a:lnTo>
                    <a:lnTo>
                      <a:pt x="10" y="216"/>
                    </a:lnTo>
                    <a:lnTo>
                      <a:pt x="4" y="202"/>
                    </a:lnTo>
                    <a:lnTo>
                      <a:pt x="0" y="188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2" y="156"/>
                    </a:lnTo>
                    <a:lnTo>
                      <a:pt x="8" y="142"/>
                    </a:lnTo>
                    <a:lnTo>
                      <a:pt x="20" y="128"/>
                    </a:lnTo>
                    <a:lnTo>
                      <a:pt x="34" y="116"/>
                    </a:lnTo>
                    <a:lnTo>
                      <a:pt x="54" y="108"/>
                    </a:lnTo>
                    <a:lnTo>
                      <a:pt x="76" y="102"/>
                    </a:lnTo>
                    <a:lnTo>
                      <a:pt x="104" y="98"/>
                    </a:lnTo>
                    <a:lnTo>
                      <a:pt x="134" y="96"/>
                    </a:lnTo>
                    <a:lnTo>
                      <a:pt x="162" y="96"/>
                    </a:lnTo>
                    <a:lnTo>
                      <a:pt x="162" y="96"/>
                    </a:lnTo>
                    <a:lnTo>
                      <a:pt x="164" y="78"/>
                    </a:lnTo>
                    <a:lnTo>
                      <a:pt x="164" y="70"/>
                    </a:lnTo>
                    <a:lnTo>
                      <a:pt x="162" y="60"/>
                    </a:lnTo>
                    <a:lnTo>
                      <a:pt x="160" y="52"/>
                    </a:lnTo>
                    <a:lnTo>
                      <a:pt x="154" y="46"/>
                    </a:lnTo>
                    <a:lnTo>
                      <a:pt x="146" y="42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26" y="42"/>
                    </a:lnTo>
                    <a:lnTo>
                      <a:pt x="120" y="44"/>
                    </a:lnTo>
                    <a:lnTo>
                      <a:pt x="114" y="48"/>
                    </a:lnTo>
                    <a:lnTo>
                      <a:pt x="110" y="54"/>
                    </a:lnTo>
                    <a:lnTo>
                      <a:pt x="106" y="66"/>
                    </a:lnTo>
                    <a:lnTo>
                      <a:pt x="104" y="76"/>
                    </a:lnTo>
                    <a:lnTo>
                      <a:pt x="22" y="76"/>
                    </a:lnTo>
                    <a:lnTo>
                      <a:pt x="22" y="76"/>
                    </a:lnTo>
                    <a:lnTo>
                      <a:pt x="24" y="66"/>
                    </a:lnTo>
                    <a:lnTo>
                      <a:pt x="26" y="54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38" y="30"/>
                    </a:lnTo>
                    <a:lnTo>
                      <a:pt x="46" y="24"/>
                    </a:lnTo>
                    <a:lnTo>
                      <a:pt x="54" y="18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2" y="6"/>
                    </a:lnTo>
                    <a:lnTo>
                      <a:pt x="102" y="2"/>
                    </a:lnTo>
                    <a:lnTo>
                      <a:pt x="124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64" y="0"/>
                    </a:lnTo>
                    <a:lnTo>
                      <a:pt x="182" y="4"/>
                    </a:lnTo>
                    <a:lnTo>
                      <a:pt x="200" y="10"/>
                    </a:lnTo>
                    <a:lnTo>
                      <a:pt x="216" y="18"/>
                    </a:lnTo>
                    <a:lnTo>
                      <a:pt x="230" y="30"/>
                    </a:lnTo>
                    <a:lnTo>
                      <a:pt x="236" y="38"/>
                    </a:lnTo>
                    <a:lnTo>
                      <a:pt x="240" y="44"/>
                    </a:lnTo>
                    <a:lnTo>
                      <a:pt x="244" y="52"/>
                    </a:lnTo>
                    <a:lnTo>
                      <a:pt x="246" y="62"/>
                    </a:lnTo>
                    <a:lnTo>
                      <a:pt x="248" y="72"/>
                    </a:lnTo>
                    <a:lnTo>
                      <a:pt x="248" y="82"/>
                    </a:lnTo>
                    <a:lnTo>
                      <a:pt x="242" y="196"/>
                    </a:lnTo>
                    <a:lnTo>
                      <a:pt x="242" y="196"/>
                    </a:lnTo>
                    <a:lnTo>
                      <a:pt x="240" y="214"/>
                    </a:lnTo>
                    <a:lnTo>
                      <a:pt x="242" y="246"/>
                    </a:lnTo>
                    <a:lnTo>
                      <a:pt x="158" y="246"/>
                    </a:lnTo>
                    <a:lnTo>
                      <a:pt x="152" y="216"/>
                    </a:lnTo>
                    <a:close/>
                    <a:moveTo>
                      <a:pt x="114" y="200"/>
                    </a:moveTo>
                    <a:lnTo>
                      <a:pt x="114" y="200"/>
                    </a:lnTo>
                    <a:lnTo>
                      <a:pt x="128" y="198"/>
                    </a:lnTo>
                    <a:lnTo>
                      <a:pt x="138" y="194"/>
                    </a:lnTo>
                    <a:lnTo>
                      <a:pt x="146" y="186"/>
                    </a:lnTo>
                    <a:lnTo>
                      <a:pt x="152" y="176"/>
                    </a:lnTo>
                    <a:lnTo>
                      <a:pt x="156" y="166"/>
                    </a:lnTo>
                    <a:lnTo>
                      <a:pt x="158" y="154"/>
                    </a:lnTo>
                    <a:lnTo>
                      <a:pt x="160" y="130"/>
                    </a:lnTo>
                    <a:lnTo>
                      <a:pt x="160" y="130"/>
                    </a:lnTo>
                    <a:lnTo>
                      <a:pt x="134" y="130"/>
                    </a:lnTo>
                    <a:lnTo>
                      <a:pt x="122" y="132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2" y="140"/>
                    </a:lnTo>
                    <a:lnTo>
                      <a:pt x="94" y="148"/>
                    </a:lnTo>
                    <a:lnTo>
                      <a:pt x="88" y="158"/>
                    </a:lnTo>
                    <a:lnTo>
                      <a:pt x="86" y="170"/>
                    </a:lnTo>
                    <a:lnTo>
                      <a:pt x="86" y="170"/>
                    </a:lnTo>
                    <a:lnTo>
                      <a:pt x="86" y="176"/>
                    </a:lnTo>
                    <a:lnTo>
                      <a:pt x="88" y="182"/>
                    </a:lnTo>
                    <a:lnTo>
                      <a:pt x="92" y="192"/>
                    </a:lnTo>
                    <a:lnTo>
                      <a:pt x="96" y="194"/>
                    </a:lnTo>
                    <a:lnTo>
                      <a:pt x="102" y="198"/>
                    </a:lnTo>
                    <a:lnTo>
                      <a:pt x="108" y="200"/>
                    </a:lnTo>
                    <a:lnTo>
                      <a:pt x="114" y="200"/>
                    </a:lnTo>
                    <a:lnTo>
                      <a:pt x="114" y="2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11"/>
              <p:cNvSpPr>
                <a:spLocks noEditPoints="1"/>
              </p:cNvSpPr>
              <p:nvPr/>
            </p:nvSpPr>
            <p:spPr bwMode="auto">
              <a:xfrm>
                <a:off x="6092825" y="352425"/>
                <a:ext cx="454025" cy="542925"/>
              </a:xfrm>
              <a:custGeom>
                <a:avLst/>
                <a:gdLst>
                  <a:gd name="T0" fmla="*/ 0 w 286"/>
                  <a:gd name="T1" fmla="*/ 342 h 342"/>
                  <a:gd name="T2" fmla="*/ 24 w 286"/>
                  <a:gd name="T3" fmla="*/ 0 h 342"/>
                  <a:gd name="T4" fmla="*/ 114 w 286"/>
                  <a:gd name="T5" fmla="*/ 0 h 342"/>
                  <a:gd name="T6" fmla="*/ 90 w 286"/>
                  <a:gd name="T7" fmla="*/ 342 h 342"/>
                  <a:gd name="T8" fmla="*/ 0 w 286"/>
                  <a:gd name="T9" fmla="*/ 342 h 342"/>
                  <a:gd name="T10" fmla="*/ 100 w 286"/>
                  <a:gd name="T11" fmla="*/ 210 h 342"/>
                  <a:gd name="T12" fmla="*/ 184 w 286"/>
                  <a:gd name="T13" fmla="*/ 104 h 342"/>
                  <a:gd name="T14" fmla="*/ 286 w 286"/>
                  <a:gd name="T15" fmla="*/ 104 h 342"/>
                  <a:gd name="T16" fmla="*/ 194 w 286"/>
                  <a:gd name="T17" fmla="*/ 204 h 342"/>
                  <a:gd name="T18" fmla="*/ 282 w 286"/>
                  <a:gd name="T19" fmla="*/ 342 h 342"/>
                  <a:gd name="T20" fmla="*/ 170 w 286"/>
                  <a:gd name="T21" fmla="*/ 342 h 342"/>
                  <a:gd name="T22" fmla="*/ 100 w 286"/>
                  <a:gd name="T23" fmla="*/ 21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6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4" y="0"/>
                    </a:lnTo>
                    <a:lnTo>
                      <a:pt x="90" y="342"/>
                    </a:lnTo>
                    <a:lnTo>
                      <a:pt x="0" y="342"/>
                    </a:lnTo>
                    <a:close/>
                    <a:moveTo>
                      <a:pt x="100" y="210"/>
                    </a:moveTo>
                    <a:lnTo>
                      <a:pt x="184" y="104"/>
                    </a:lnTo>
                    <a:lnTo>
                      <a:pt x="286" y="104"/>
                    </a:lnTo>
                    <a:lnTo>
                      <a:pt x="194" y="204"/>
                    </a:lnTo>
                    <a:lnTo>
                      <a:pt x="282" y="342"/>
                    </a:lnTo>
                    <a:lnTo>
                      <a:pt x="170" y="342"/>
                    </a:lnTo>
                    <a:lnTo>
                      <a:pt x="10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12"/>
              <p:cNvSpPr>
                <a:spLocks/>
              </p:cNvSpPr>
              <p:nvPr/>
            </p:nvSpPr>
            <p:spPr bwMode="auto">
              <a:xfrm>
                <a:off x="3606800" y="517525"/>
                <a:ext cx="292100" cy="377825"/>
              </a:xfrm>
              <a:custGeom>
                <a:avLst/>
                <a:gdLst>
                  <a:gd name="T0" fmla="*/ 104 w 184"/>
                  <a:gd name="T1" fmla="*/ 34 h 238"/>
                  <a:gd name="T2" fmla="*/ 106 w 184"/>
                  <a:gd name="T3" fmla="*/ 34 h 238"/>
                  <a:gd name="T4" fmla="*/ 106 w 184"/>
                  <a:gd name="T5" fmla="*/ 34 h 238"/>
                  <a:gd name="T6" fmla="*/ 114 w 184"/>
                  <a:gd name="T7" fmla="*/ 24 h 238"/>
                  <a:gd name="T8" fmla="*/ 124 w 184"/>
                  <a:gd name="T9" fmla="*/ 16 h 238"/>
                  <a:gd name="T10" fmla="*/ 132 w 184"/>
                  <a:gd name="T11" fmla="*/ 10 h 238"/>
                  <a:gd name="T12" fmla="*/ 142 w 184"/>
                  <a:gd name="T13" fmla="*/ 6 h 238"/>
                  <a:gd name="T14" fmla="*/ 152 w 184"/>
                  <a:gd name="T15" fmla="*/ 4 h 238"/>
                  <a:gd name="T16" fmla="*/ 162 w 184"/>
                  <a:gd name="T17" fmla="*/ 2 h 238"/>
                  <a:gd name="T18" fmla="*/ 184 w 184"/>
                  <a:gd name="T19" fmla="*/ 0 h 238"/>
                  <a:gd name="T20" fmla="*/ 178 w 184"/>
                  <a:gd name="T21" fmla="*/ 76 h 238"/>
                  <a:gd name="T22" fmla="*/ 178 w 184"/>
                  <a:gd name="T23" fmla="*/ 76 h 238"/>
                  <a:gd name="T24" fmla="*/ 160 w 184"/>
                  <a:gd name="T25" fmla="*/ 76 h 238"/>
                  <a:gd name="T26" fmla="*/ 160 w 184"/>
                  <a:gd name="T27" fmla="*/ 76 h 238"/>
                  <a:gd name="T28" fmla="*/ 140 w 184"/>
                  <a:gd name="T29" fmla="*/ 78 h 238"/>
                  <a:gd name="T30" fmla="*/ 126 w 184"/>
                  <a:gd name="T31" fmla="*/ 82 h 238"/>
                  <a:gd name="T32" fmla="*/ 116 w 184"/>
                  <a:gd name="T33" fmla="*/ 88 h 238"/>
                  <a:gd name="T34" fmla="*/ 108 w 184"/>
                  <a:gd name="T35" fmla="*/ 98 h 238"/>
                  <a:gd name="T36" fmla="*/ 102 w 184"/>
                  <a:gd name="T37" fmla="*/ 108 h 238"/>
                  <a:gd name="T38" fmla="*/ 100 w 184"/>
                  <a:gd name="T39" fmla="*/ 120 h 238"/>
                  <a:gd name="T40" fmla="*/ 98 w 184"/>
                  <a:gd name="T41" fmla="*/ 148 h 238"/>
                  <a:gd name="T42" fmla="*/ 92 w 184"/>
                  <a:gd name="T43" fmla="*/ 238 h 238"/>
                  <a:gd name="T44" fmla="*/ 0 w 184"/>
                  <a:gd name="T45" fmla="*/ 238 h 238"/>
                  <a:gd name="T46" fmla="*/ 12 w 184"/>
                  <a:gd name="T47" fmla="*/ 62 h 238"/>
                  <a:gd name="T48" fmla="*/ 12 w 184"/>
                  <a:gd name="T49" fmla="*/ 62 h 238"/>
                  <a:gd name="T50" fmla="*/ 14 w 184"/>
                  <a:gd name="T51" fmla="*/ 32 h 238"/>
                  <a:gd name="T52" fmla="*/ 14 w 184"/>
                  <a:gd name="T53" fmla="*/ 0 h 238"/>
                  <a:gd name="T54" fmla="*/ 102 w 184"/>
                  <a:gd name="T55" fmla="*/ 0 h 238"/>
                  <a:gd name="T56" fmla="*/ 104 w 184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4" h="238">
                    <a:moveTo>
                      <a:pt x="104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4" y="24"/>
                    </a:lnTo>
                    <a:lnTo>
                      <a:pt x="124" y="16"/>
                    </a:lnTo>
                    <a:lnTo>
                      <a:pt x="132" y="10"/>
                    </a:lnTo>
                    <a:lnTo>
                      <a:pt x="142" y="6"/>
                    </a:lnTo>
                    <a:lnTo>
                      <a:pt x="152" y="4"/>
                    </a:lnTo>
                    <a:lnTo>
                      <a:pt x="162" y="2"/>
                    </a:lnTo>
                    <a:lnTo>
                      <a:pt x="184" y="0"/>
                    </a:lnTo>
                    <a:lnTo>
                      <a:pt x="178" y="76"/>
                    </a:lnTo>
                    <a:lnTo>
                      <a:pt x="178" y="76"/>
                    </a:lnTo>
                    <a:lnTo>
                      <a:pt x="160" y="76"/>
                    </a:lnTo>
                    <a:lnTo>
                      <a:pt x="160" y="76"/>
                    </a:lnTo>
                    <a:lnTo>
                      <a:pt x="140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2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4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13"/>
              <p:cNvSpPr>
                <a:spLocks/>
              </p:cNvSpPr>
              <p:nvPr/>
            </p:nvSpPr>
            <p:spPr bwMode="auto">
              <a:xfrm>
                <a:off x="3889375" y="352425"/>
                <a:ext cx="174625" cy="542925"/>
              </a:xfrm>
              <a:custGeom>
                <a:avLst/>
                <a:gdLst>
                  <a:gd name="T0" fmla="*/ 0 w 110"/>
                  <a:gd name="T1" fmla="*/ 342 h 342"/>
                  <a:gd name="T2" fmla="*/ 24 w 110"/>
                  <a:gd name="T3" fmla="*/ 0 h 342"/>
                  <a:gd name="T4" fmla="*/ 110 w 110"/>
                  <a:gd name="T5" fmla="*/ 0 h 342"/>
                  <a:gd name="T6" fmla="*/ 86 w 110"/>
                  <a:gd name="T7" fmla="*/ 342 h 342"/>
                  <a:gd name="T8" fmla="*/ 0 w 110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0" y="0"/>
                    </a:lnTo>
                    <a:lnTo>
                      <a:pt x="86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14"/>
              <p:cNvSpPr>
                <a:spLocks noEditPoints="1"/>
              </p:cNvSpPr>
              <p:nvPr/>
            </p:nvSpPr>
            <p:spPr bwMode="auto">
              <a:xfrm>
                <a:off x="2740025" y="352425"/>
                <a:ext cx="438150" cy="546100"/>
              </a:xfrm>
              <a:custGeom>
                <a:avLst/>
                <a:gdLst>
                  <a:gd name="T0" fmla="*/ 112 w 276"/>
                  <a:gd name="T1" fmla="*/ 0 h 344"/>
                  <a:gd name="T2" fmla="*/ 104 w 276"/>
                  <a:gd name="T3" fmla="*/ 136 h 344"/>
                  <a:gd name="T4" fmla="*/ 120 w 276"/>
                  <a:gd name="T5" fmla="*/ 122 h 344"/>
                  <a:gd name="T6" fmla="*/ 146 w 276"/>
                  <a:gd name="T7" fmla="*/ 104 h 344"/>
                  <a:gd name="T8" fmla="*/ 168 w 276"/>
                  <a:gd name="T9" fmla="*/ 98 h 344"/>
                  <a:gd name="T10" fmla="*/ 180 w 276"/>
                  <a:gd name="T11" fmla="*/ 98 h 344"/>
                  <a:gd name="T12" fmla="*/ 206 w 276"/>
                  <a:gd name="T13" fmla="*/ 100 h 344"/>
                  <a:gd name="T14" fmla="*/ 226 w 276"/>
                  <a:gd name="T15" fmla="*/ 108 h 344"/>
                  <a:gd name="T16" fmla="*/ 244 w 276"/>
                  <a:gd name="T17" fmla="*/ 120 h 344"/>
                  <a:gd name="T18" fmla="*/ 258 w 276"/>
                  <a:gd name="T19" fmla="*/ 136 h 344"/>
                  <a:gd name="T20" fmla="*/ 274 w 276"/>
                  <a:gd name="T21" fmla="*/ 176 h 344"/>
                  <a:gd name="T22" fmla="*/ 276 w 276"/>
                  <a:gd name="T23" fmla="*/ 220 h 344"/>
                  <a:gd name="T24" fmla="*/ 274 w 276"/>
                  <a:gd name="T25" fmla="*/ 242 h 344"/>
                  <a:gd name="T26" fmla="*/ 260 w 276"/>
                  <a:gd name="T27" fmla="*/ 284 h 344"/>
                  <a:gd name="T28" fmla="*/ 240 w 276"/>
                  <a:gd name="T29" fmla="*/ 312 h 344"/>
                  <a:gd name="T30" fmla="*/ 222 w 276"/>
                  <a:gd name="T31" fmla="*/ 328 h 344"/>
                  <a:gd name="T32" fmla="*/ 202 w 276"/>
                  <a:gd name="T33" fmla="*/ 338 h 344"/>
                  <a:gd name="T34" fmla="*/ 176 w 276"/>
                  <a:gd name="T35" fmla="*/ 344 h 344"/>
                  <a:gd name="T36" fmla="*/ 160 w 276"/>
                  <a:gd name="T37" fmla="*/ 344 h 344"/>
                  <a:gd name="T38" fmla="*/ 140 w 276"/>
                  <a:gd name="T39" fmla="*/ 342 h 344"/>
                  <a:gd name="T40" fmla="*/ 106 w 276"/>
                  <a:gd name="T41" fmla="*/ 324 h 344"/>
                  <a:gd name="T42" fmla="*/ 92 w 276"/>
                  <a:gd name="T43" fmla="*/ 312 h 344"/>
                  <a:gd name="T44" fmla="*/ 0 w 276"/>
                  <a:gd name="T45" fmla="*/ 342 h 344"/>
                  <a:gd name="T46" fmla="*/ 94 w 276"/>
                  <a:gd name="T47" fmla="*/ 226 h 344"/>
                  <a:gd name="T48" fmla="*/ 96 w 276"/>
                  <a:gd name="T49" fmla="*/ 250 h 344"/>
                  <a:gd name="T50" fmla="*/ 102 w 276"/>
                  <a:gd name="T51" fmla="*/ 272 h 344"/>
                  <a:gd name="T52" fmla="*/ 114 w 276"/>
                  <a:gd name="T53" fmla="*/ 288 h 344"/>
                  <a:gd name="T54" fmla="*/ 134 w 276"/>
                  <a:gd name="T55" fmla="*/ 296 h 344"/>
                  <a:gd name="T56" fmla="*/ 148 w 276"/>
                  <a:gd name="T57" fmla="*/ 294 h 344"/>
                  <a:gd name="T58" fmla="*/ 168 w 276"/>
                  <a:gd name="T59" fmla="*/ 282 h 344"/>
                  <a:gd name="T60" fmla="*/ 180 w 276"/>
                  <a:gd name="T61" fmla="*/ 260 h 344"/>
                  <a:gd name="T62" fmla="*/ 186 w 276"/>
                  <a:gd name="T63" fmla="*/ 222 h 344"/>
                  <a:gd name="T64" fmla="*/ 186 w 276"/>
                  <a:gd name="T65" fmla="*/ 198 h 344"/>
                  <a:gd name="T66" fmla="*/ 180 w 276"/>
                  <a:gd name="T67" fmla="*/ 174 h 344"/>
                  <a:gd name="T68" fmla="*/ 168 w 276"/>
                  <a:gd name="T69" fmla="*/ 156 h 344"/>
                  <a:gd name="T70" fmla="*/ 146 w 276"/>
                  <a:gd name="T71" fmla="*/ 150 h 344"/>
                  <a:gd name="T72" fmla="*/ 132 w 276"/>
                  <a:gd name="T73" fmla="*/ 152 h 344"/>
                  <a:gd name="T74" fmla="*/ 112 w 276"/>
                  <a:gd name="T75" fmla="*/ 166 h 344"/>
                  <a:gd name="T76" fmla="*/ 100 w 276"/>
                  <a:gd name="T77" fmla="*/ 188 h 344"/>
                  <a:gd name="T78" fmla="*/ 94 w 276"/>
                  <a:gd name="T79" fmla="*/ 226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6" h="344">
                    <a:moveTo>
                      <a:pt x="24" y="0"/>
                    </a:moveTo>
                    <a:lnTo>
                      <a:pt x="112" y="0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20" y="122"/>
                    </a:lnTo>
                    <a:lnTo>
                      <a:pt x="138" y="108"/>
                    </a:lnTo>
                    <a:lnTo>
                      <a:pt x="146" y="104"/>
                    </a:lnTo>
                    <a:lnTo>
                      <a:pt x="158" y="100"/>
                    </a:lnTo>
                    <a:lnTo>
                      <a:pt x="168" y="98"/>
                    </a:lnTo>
                    <a:lnTo>
                      <a:pt x="180" y="98"/>
                    </a:lnTo>
                    <a:lnTo>
                      <a:pt x="180" y="98"/>
                    </a:lnTo>
                    <a:lnTo>
                      <a:pt x="194" y="98"/>
                    </a:lnTo>
                    <a:lnTo>
                      <a:pt x="206" y="100"/>
                    </a:lnTo>
                    <a:lnTo>
                      <a:pt x="216" y="104"/>
                    </a:lnTo>
                    <a:lnTo>
                      <a:pt x="226" y="108"/>
                    </a:lnTo>
                    <a:lnTo>
                      <a:pt x="236" y="114"/>
                    </a:lnTo>
                    <a:lnTo>
                      <a:pt x="244" y="120"/>
                    </a:lnTo>
                    <a:lnTo>
                      <a:pt x="250" y="128"/>
                    </a:lnTo>
                    <a:lnTo>
                      <a:pt x="258" y="136"/>
                    </a:lnTo>
                    <a:lnTo>
                      <a:pt x="266" y="156"/>
                    </a:lnTo>
                    <a:lnTo>
                      <a:pt x="274" y="176"/>
                    </a:lnTo>
                    <a:lnTo>
                      <a:pt x="276" y="198"/>
                    </a:lnTo>
                    <a:lnTo>
                      <a:pt x="276" y="220"/>
                    </a:lnTo>
                    <a:lnTo>
                      <a:pt x="276" y="220"/>
                    </a:lnTo>
                    <a:lnTo>
                      <a:pt x="274" y="242"/>
                    </a:lnTo>
                    <a:lnTo>
                      <a:pt x="268" y="264"/>
                    </a:lnTo>
                    <a:lnTo>
                      <a:pt x="260" y="284"/>
                    </a:lnTo>
                    <a:lnTo>
                      <a:pt x="248" y="304"/>
                    </a:lnTo>
                    <a:lnTo>
                      <a:pt x="240" y="312"/>
                    </a:lnTo>
                    <a:lnTo>
                      <a:pt x="232" y="320"/>
                    </a:lnTo>
                    <a:lnTo>
                      <a:pt x="222" y="328"/>
                    </a:lnTo>
                    <a:lnTo>
                      <a:pt x="212" y="334"/>
                    </a:lnTo>
                    <a:lnTo>
                      <a:pt x="202" y="338"/>
                    </a:lnTo>
                    <a:lnTo>
                      <a:pt x="188" y="342"/>
                    </a:lnTo>
                    <a:lnTo>
                      <a:pt x="176" y="344"/>
                    </a:lnTo>
                    <a:lnTo>
                      <a:pt x="160" y="344"/>
                    </a:lnTo>
                    <a:lnTo>
                      <a:pt x="160" y="344"/>
                    </a:lnTo>
                    <a:lnTo>
                      <a:pt x="150" y="344"/>
                    </a:lnTo>
                    <a:lnTo>
                      <a:pt x="140" y="342"/>
                    </a:lnTo>
                    <a:lnTo>
                      <a:pt x="122" y="336"/>
                    </a:lnTo>
                    <a:lnTo>
                      <a:pt x="106" y="324"/>
                    </a:lnTo>
                    <a:lnTo>
                      <a:pt x="94" y="312"/>
                    </a:lnTo>
                    <a:lnTo>
                      <a:pt x="92" y="312"/>
                    </a:lnTo>
                    <a:lnTo>
                      <a:pt x="88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  <a:moveTo>
                      <a:pt x="94" y="226"/>
                    </a:moveTo>
                    <a:lnTo>
                      <a:pt x="94" y="226"/>
                    </a:lnTo>
                    <a:lnTo>
                      <a:pt x="96" y="250"/>
                    </a:lnTo>
                    <a:lnTo>
                      <a:pt x="98" y="260"/>
                    </a:lnTo>
                    <a:lnTo>
                      <a:pt x="102" y="272"/>
                    </a:lnTo>
                    <a:lnTo>
                      <a:pt x="106" y="282"/>
                    </a:lnTo>
                    <a:lnTo>
                      <a:pt x="114" y="288"/>
                    </a:lnTo>
                    <a:lnTo>
                      <a:pt x="122" y="294"/>
                    </a:lnTo>
                    <a:lnTo>
                      <a:pt x="134" y="296"/>
                    </a:lnTo>
                    <a:lnTo>
                      <a:pt x="134" y="296"/>
                    </a:lnTo>
                    <a:lnTo>
                      <a:pt x="148" y="294"/>
                    </a:lnTo>
                    <a:lnTo>
                      <a:pt x="158" y="288"/>
                    </a:lnTo>
                    <a:lnTo>
                      <a:pt x="168" y="282"/>
                    </a:lnTo>
                    <a:lnTo>
                      <a:pt x="174" y="272"/>
                    </a:lnTo>
                    <a:lnTo>
                      <a:pt x="180" y="260"/>
                    </a:lnTo>
                    <a:lnTo>
                      <a:pt x="184" y="248"/>
                    </a:lnTo>
                    <a:lnTo>
                      <a:pt x="186" y="222"/>
                    </a:lnTo>
                    <a:lnTo>
                      <a:pt x="186" y="222"/>
                    </a:lnTo>
                    <a:lnTo>
                      <a:pt x="186" y="198"/>
                    </a:lnTo>
                    <a:lnTo>
                      <a:pt x="184" y="186"/>
                    </a:lnTo>
                    <a:lnTo>
                      <a:pt x="180" y="174"/>
                    </a:lnTo>
                    <a:lnTo>
                      <a:pt x="176" y="164"/>
                    </a:lnTo>
                    <a:lnTo>
                      <a:pt x="168" y="156"/>
                    </a:lnTo>
                    <a:lnTo>
                      <a:pt x="158" y="152"/>
                    </a:lnTo>
                    <a:lnTo>
                      <a:pt x="146" y="150"/>
                    </a:lnTo>
                    <a:lnTo>
                      <a:pt x="146" y="150"/>
                    </a:lnTo>
                    <a:lnTo>
                      <a:pt x="132" y="152"/>
                    </a:lnTo>
                    <a:lnTo>
                      <a:pt x="120" y="156"/>
                    </a:lnTo>
                    <a:lnTo>
                      <a:pt x="112" y="166"/>
                    </a:lnTo>
                    <a:lnTo>
                      <a:pt x="104" y="176"/>
                    </a:lnTo>
                    <a:lnTo>
                      <a:pt x="100" y="188"/>
                    </a:lnTo>
                    <a:lnTo>
                      <a:pt x="98" y="200"/>
                    </a:lnTo>
                    <a:lnTo>
                      <a:pt x="94" y="226"/>
                    </a:lnTo>
                    <a:lnTo>
                      <a:pt x="94" y="2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15"/>
              <p:cNvSpPr>
                <a:spLocks noEditPoints="1"/>
              </p:cNvSpPr>
              <p:nvPr/>
            </p:nvSpPr>
            <p:spPr bwMode="auto">
              <a:xfrm>
                <a:off x="3197225" y="504825"/>
                <a:ext cx="406400" cy="396875"/>
              </a:xfrm>
              <a:custGeom>
                <a:avLst/>
                <a:gdLst>
                  <a:gd name="T0" fmla="*/ 86 w 256"/>
                  <a:gd name="T1" fmla="*/ 142 h 250"/>
                  <a:gd name="T2" fmla="*/ 86 w 256"/>
                  <a:gd name="T3" fmla="*/ 166 h 250"/>
                  <a:gd name="T4" fmla="*/ 90 w 256"/>
                  <a:gd name="T5" fmla="*/ 184 h 250"/>
                  <a:gd name="T6" fmla="*/ 102 w 256"/>
                  <a:gd name="T7" fmla="*/ 196 h 250"/>
                  <a:gd name="T8" fmla="*/ 124 w 256"/>
                  <a:gd name="T9" fmla="*/ 202 h 250"/>
                  <a:gd name="T10" fmla="*/ 132 w 256"/>
                  <a:gd name="T11" fmla="*/ 200 h 250"/>
                  <a:gd name="T12" fmla="*/ 148 w 256"/>
                  <a:gd name="T13" fmla="*/ 196 h 250"/>
                  <a:gd name="T14" fmla="*/ 158 w 256"/>
                  <a:gd name="T15" fmla="*/ 186 h 250"/>
                  <a:gd name="T16" fmla="*/ 164 w 256"/>
                  <a:gd name="T17" fmla="*/ 174 h 250"/>
                  <a:gd name="T18" fmla="*/ 248 w 256"/>
                  <a:gd name="T19" fmla="*/ 170 h 250"/>
                  <a:gd name="T20" fmla="*/ 246 w 256"/>
                  <a:gd name="T21" fmla="*/ 180 h 250"/>
                  <a:gd name="T22" fmla="*/ 238 w 256"/>
                  <a:gd name="T23" fmla="*/ 198 h 250"/>
                  <a:gd name="T24" fmla="*/ 218 w 256"/>
                  <a:gd name="T25" fmla="*/ 222 h 250"/>
                  <a:gd name="T26" fmla="*/ 202 w 256"/>
                  <a:gd name="T27" fmla="*/ 234 h 250"/>
                  <a:gd name="T28" fmla="*/ 168 w 256"/>
                  <a:gd name="T29" fmla="*/ 246 h 250"/>
                  <a:gd name="T30" fmla="*/ 128 w 256"/>
                  <a:gd name="T31" fmla="*/ 250 h 250"/>
                  <a:gd name="T32" fmla="*/ 96 w 256"/>
                  <a:gd name="T33" fmla="*/ 248 h 250"/>
                  <a:gd name="T34" fmla="*/ 66 w 256"/>
                  <a:gd name="T35" fmla="*/ 242 h 250"/>
                  <a:gd name="T36" fmla="*/ 44 w 256"/>
                  <a:gd name="T37" fmla="*/ 232 h 250"/>
                  <a:gd name="T38" fmla="*/ 26 w 256"/>
                  <a:gd name="T39" fmla="*/ 218 h 250"/>
                  <a:gd name="T40" fmla="*/ 12 w 256"/>
                  <a:gd name="T41" fmla="*/ 200 h 250"/>
                  <a:gd name="T42" fmla="*/ 4 w 256"/>
                  <a:gd name="T43" fmla="*/ 178 h 250"/>
                  <a:gd name="T44" fmla="*/ 0 w 256"/>
                  <a:gd name="T45" fmla="*/ 150 h 250"/>
                  <a:gd name="T46" fmla="*/ 0 w 256"/>
                  <a:gd name="T47" fmla="*/ 118 h 250"/>
                  <a:gd name="T48" fmla="*/ 4 w 256"/>
                  <a:gd name="T49" fmla="*/ 92 h 250"/>
                  <a:gd name="T50" fmla="*/ 14 w 256"/>
                  <a:gd name="T51" fmla="*/ 68 h 250"/>
                  <a:gd name="T52" fmla="*/ 26 w 256"/>
                  <a:gd name="T53" fmla="*/ 48 h 250"/>
                  <a:gd name="T54" fmla="*/ 44 w 256"/>
                  <a:gd name="T55" fmla="*/ 32 h 250"/>
                  <a:gd name="T56" fmla="*/ 86 w 256"/>
                  <a:gd name="T57" fmla="*/ 8 h 250"/>
                  <a:gd name="T58" fmla="*/ 138 w 256"/>
                  <a:gd name="T59" fmla="*/ 0 h 250"/>
                  <a:gd name="T60" fmla="*/ 154 w 256"/>
                  <a:gd name="T61" fmla="*/ 2 h 250"/>
                  <a:gd name="T62" fmla="*/ 184 w 256"/>
                  <a:gd name="T63" fmla="*/ 6 h 250"/>
                  <a:gd name="T64" fmla="*/ 208 w 256"/>
                  <a:gd name="T65" fmla="*/ 18 h 250"/>
                  <a:gd name="T66" fmla="*/ 228 w 256"/>
                  <a:gd name="T67" fmla="*/ 32 h 250"/>
                  <a:gd name="T68" fmla="*/ 242 w 256"/>
                  <a:gd name="T69" fmla="*/ 50 h 250"/>
                  <a:gd name="T70" fmla="*/ 250 w 256"/>
                  <a:gd name="T71" fmla="*/ 72 h 250"/>
                  <a:gd name="T72" fmla="*/ 256 w 256"/>
                  <a:gd name="T73" fmla="*/ 112 h 250"/>
                  <a:gd name="T74" fmla="*/ 86 w 256"/>
                  <a:gd name="T75" fmla="*/ 142 h 250"/>
                  <a:gd name="T76" fmla="*/ 172 w 256"/>
                  <a:gd name="T77" fmla="*/ 98 h 250"/>
                  <a:gd name="T78" fmla="*/ 170 w 256"/>
                  <a:gd name="T79" fmla="*/ 78 h 250"/>
                  <a:gd name="T80" fmla="*/ 164 w 256"/>
                  <a:gd name="T81" fmla="*/ 62 h 250"/>
                  <a:gd name="T82" fmla="*/ 158 w 256"/>
                  <a:gd name="T83" fmla="*/ 56 h 250"/>
                  <a:gd name="T84" fmla="*/ 142 w 256"/>
                  <a:gd name="T85" fmla="*/ 48 h 250"/>
                  <a:gd name="T86" fmla="*/ 134 w 256"/>
                  <a:gd name="T87" fmla="*/ 46 h 250"/>
                  <a:gd name="T88" fmla="*/ 114 w 256"/>
                  <a:gd name="T89" fmla="*/ 52 h 250"/>
                  <a:gd name="T90" fmla="*/ 102 w 256"/>
                  <a:gd name="T91" fmla="*/ 62 h 250"/>
                  <a:gd name="T92" fmla="*/ 94 w 256"/>
                  <a:gd name="T93" fmla="*/ 78 h 250"/>
                  <a:gd name="T94" fmla="*/ 172 w 256"/>
                  <a:gd name="T95" fmla="*/ 98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6" h="250">
                    <a:moveTo>
                      <a:pt x="86" y="142"/>
                    </a:moveTo>
                    <a:lnTo>
                      <a:pt x="86" y="142"/>
                    </a:lnTo>
                    <a:lnTo>
                      <a:pt x="84" y="154"/>
                    </a:lnTo>
                    <a:lnTo>
                      <a:pt x="86" y="166"/>
                    </a:lnTo>
                    <a:lnTo>
                      <a:pt x="88" y="176"/>
                    </a:lnTo>
                    <a:lnTo>
                      <a:pt x="90" y="184"/>
                    </a:lnTo>
                    <a:lnTo>
                      <a:pt x="96" y="192"/>
                    </a:lnTo>
                    <a:lnTo>
                      <a:pt x="102" y="196"/>
                    </a:lnTo>
                    <a:lnTo>
                      <a:pt x="112" y="200"/>
                    </a:lnTo>
                    <a:lnTo>
                      <a:pt x="124" y="202"/>
                    </a:lnTo>
                    <a:lnTo>
                      <a:pt x="124" y="202"/>
                    </a:lnTo>
                    <a:lnTo>
                      <a:pt x="132" y="200"/>
                    </a:lnTo>
                    <a:lnTo>
                      <a:pt x="140" y="198"/>
                    </a:lnTo>
                    <a:lnTo>
                      <a:pt x="148" y="196"/>
                    </a:lnTo>
                    <a:lnTo>
                      <a:pt x="154" y="192"/>
                    </a:lnTo>
                    <a:lnTo>
                      <a:pt x="158" y="186"/>
                    </a:lnTo>
                    <a:lnTo>
                      <a:pt x="162" y="180"/>
                    </a:lnTo>
                    <a:lnTo>
                      <a:pt x="164" y="174"/>
                    </a:lnTo>
                    <a:lnTo>
                      <a:pt x="164" y="170"/>
                    </a:lnTo>
                    <a:lnTo>
                      <a:pt x="248" y="170"/>
                    </a:lnTo>
                    <a:lnTo>
                      <a:pt x="248" y="170"/>
                    </a:lnTo>
                    <a:lnTo>
                      <a:pt x="246" y="180"/>
                    </a:lnTo>
                    <a:lnTo>
                      <a:pt x="242" y="190"/>
                    </a:lnTo>
                    <a:lnTo>
                      <a:pt x="238" y="198"/>
                    </a:lnTo>
                    <a:lnTo>
                      <a:pt x="232" y="208"/>
                    </a:lnTo>
                    <a:lnTo>
                      <a:pt x="218" y="222"/>
                    </a:lnTo>
                    <a:lnTo>
                      <a:pt x="202" y="234"/>
                    </a:lnTo>
                    <a:lnTo>
                      <a:pt x="202" y="234"/>
                    </a:lnTo>
                    <a:lnTo>
                      <a:pt x="186" y="242"/>
                    </a:lnTo>
                    <a:lnTo>
                      <a:pt x="168" y="246"/>
                    </a:lnTo>
                    <a:lnTo>
                      <a:pt x="148" y="248"/>
                    </a:lnTo>
                    <a:lnTo>
                      <a:pt x="128" y="250"/>
                    </a:lnTo>
                    <a:lnTo>
                      <a:pt x="128" y="250"/>
                    </a:lnTo>
                    <a:lnTo>
                      <a:pt x="96" y="248"/>
                    </a:lnTo>
                    <a:lnTo>
                      <a:pt x="80" y="244"/>
                    </a:lnTo>
                    <a:lnTo>
                      <a:pt x="66" y="242"/>
                    </a:lnTo>
                    <a:lnTo>
                      <a:pt x="54" y="238"/>
                    </a:lnTo>
                    <a:lnTo>
                      <a:pt x="44" y="232"/>
                    </a:lnTo>
                    <a:lnTo>
                      <a:pt x="34" y="226"/>
                    </a:lnTo>
                    <a:lnTo>
                      <a:pt x="26" y="218"/>
                    </a:lnTo>
                    <a:lnTo>
                      <a:pt x="18" y="210"/>
                    </a:lnTo>
                    <a:lnTo>
                      <a:pt x="12" y="200"/>
                    </a:lnTo>
                    <a:lnTo>
                      <a:pt x="8" y="190"/>
                    </a:lnTo>
                    <a:lnTo>
                      <a:pt x="4" y="178"/>
                    </a:lnTo>
                    <a:lnTo>
                      <a:pt x="2" y="164"/>
                    </a:lnTo>
                    <a:lnTo>
                      <a:pt x="0" y="150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2" y="106"/>
                    </a:lnTo>
                    <a:lnTo>
                      <a:pt x="4" y="92"/>
                    </a:lnTo>
                    <a:lnTo>
                      <a:pt x="8" y="80"/>
                    </a:lnTo>
                    <a:lnTo>
                      <a:pt x="14" y="68"/>
                    </a:lnTo>
                    <a:lnTo>
                      <a:pt x="20" y="58"/>
                    </a:lnTo>
                    <a:lnTo>
                      <a:pt x="26" y="48"/>
                    </a:lnTo>
                    <a:lnTo>
                      <a:pt x="34" y="40"/>
                    </a:lnTo>
                    <a:lnTo>
                      <a:pt x="44" y="32"/>
                    </a:lnTo>
                    <a:lnTo>
                      <a:pt x="64" y="18"/>
                    </a:lnTo>
                    <a:lnTo>
                      <a:pt x="86" y="8"/>
                    </a:lnTo>
                    <a:lnTo>
                      <a:pt x="110" y="2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4" y="2"/>
                    </a:lnTo>
                    <a:lnTo>
                      <a:pt x="170" y="4"/>
                    </a:lnTo>
                    <a:lnTo>
                      <a:pt x="184" y="6"/>
                    </a:lnTo>
                    <a:lnTo>
                      <a:pt x="196" y="12"/>
                    </a:lnTo>
                    <a:lnTo>
                      <a:pt x="208" y="18"/>
                    </a:lnTo>
                    <a:lnTo>
                      <a:pt x="218" y="24"/>
                    </a:lnTo>
                    <a:lnTo>
                      <a:pt x="228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46" y="60"/>
                    </a:lnTo>
                    <a:lnTo>
                      <a:pt x="250" y="72"/>
                    </a:lnTo>
                    <a:lnTo>
                      <a:pt x="254" y="84"/>
                    </a:lnTo>
                    <a:lnTo>
                      <a:pt x="256" y="112"/>
                    </a:lnTo>
                    <a:lnTo>
                      <a:pt x="254" y="142"/>
                    </a:lnTo>
                    <a:lnTo>
                      <a:pt x="86" y="142"/>
                    </a:lnTo>
                    <a:close/>
                    <a:moveTo>
                      <a:pt x="172" y="98"/>
                    </a:moveTo>
                    <a:lnTo>
                      <a:pt x="172" y="98"/>
                    </a:lnTo>
                    <a:lnTo>
                      <a:pt x="172" y="88"/>
                    </a:lnTo>
                    <a:lnTo>
                      <a:pt x="170" y="78"/>
                    </a:lnTo>
                    <a:lnTo>
                      <a:pt x="168" y="70"/>
                    </a:lnTo>
                    <a:lnTo>
                      <a:pt x="164" y="62"/>
                    </a:lnTo>
                    <a:lnTo>
                      <a:pt x="164" y="62"/>
                    </a:lnTo>
                    <a:lnTo>
                      <a:pt x="158" y="56"/>
                    </a:lnTo>
                    <a:lnTo>
                      <a:pt x="150" y="50"/>
                    </a:lnTo>
                    <a:lnTo>
                      <a:pt x="142" y="48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22" y="48"/>
                    </a:lnTo>
                    <a:lnTo>
                      <a:pt x="114" y="52"/>
                    </a:lnTo>
                    <a:lnTo>
                      <a:pt x="106" y="56"/>
                    </a:lnTo>
                    <a:lnTo>
                      <a:pt x="102" y="62"/>
                    </a:lnTo>
                    <a:lnTo>
                      <a:pt x="96" y="70"/>
                    </a:lnTo>
                    <a:lnTo>
                      <a:pt x="94" y="78"/>
                    </a:lnTo>
                    <a:lnTo>
                      <a:pt x="90" y="98"/>
                    </a:lnTo>
                    <a:lnTo>
                      <a:pt x="172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16"/>
              <p:cNvSpPr>
                <a:spLocks/>
              </p:cNvSpPr>
              <p:nvPr/>
            </p:nvSpPr>
            <p:spPr bwMode="auto">
              <a:xfrm>
                <a:off x="1314450" y="352425"/>
                <a:ext cx="196850" cy="542925"/>
              </a:xfrm>
              <a:custGeom>
                <a:avLst/>
                <a:gdLst>
                  <a:gd name="T0" fmla="*/ 24 w 124"/>
                  <a:gd name="T1" fmla="*/ 0 h 342"/>
                  <a:gd name="T2" fmla="*/ 124 w 124"/>
                  <a:gd name="T3" fmla="*/ 0 h 342"/>
                  <a:gd name="T4" fmla="*/ 100 w 124"/>
                  <a:gd name="T5" fmla="*/ 342 h 342"/>
                  <a:gd name="T6" fmla="*/ 0 w 124"/>
                  <a:gd name="T7" fmla="*/ 342 h 342"/>
                  <a:gd name="T8" fmla="*/ 24 w 124"/>
                  <a:gd name="T9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342">
                    <a:moveTo>
                      <a:pt x="24" y="0"/>
                    </a:moveTo>
                    <a:lnTo>
                      <a:pt x="124" y="0"/>
                    </a:lnTo>
                    <a:lnTo>
                      <a:pt x="100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17"/>
              <p:cNvSpPr>
                <a:spLocks/>
              </p:cNvSpPr>
              <p:nvPr/>
            </p:nvSpPr>
            <p:spPr bwMode="auto">
              <a:xfrm>
                <a:off x="1498600" y="352425"/>
                <a:ext cx="368300" cy="542925"/>
              </a:xfrm>
              <a:custGeom>
                <a:avLst/>
                <a:gdLst>
                  <a:gd name="T0" fmla="*/ 120 w 232"/>
                  <a:gd name="T1" fmla="*/ 0 h 342"/>
                  <a:gd name="T2" fmla="*/ 0 w 232"/>
                  <a:gd name="T3" fmla="*/ 152 h 342"/>
                  <a:gd name="T4" fmla="*/ 106 w 232"/>
                  <a:gd name="T5" fmla="*/ 342 h 342"/>
                  <a:gd name="T6" fmla="*/ 226 w 232"/>
                  <a:gd name="T7" fmla="*/ 342 h 342"/>
                  <a:gd name="T8" fmla="*/ 106 w 232"/>
                  <a:gd name="T9" fmla="*/ 148 h 342"/>
                  <a:gd name="T10" fmla="*/ 232 w 232"/>
                  <a:gd name="T11" fmla="*/ 0 h 342"/>
                  <a:gd name="T12" fmla="*/ 120 w 232"/>
                  <a:gd name="T13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2" h="342">
                    <a:moveTo>
                      <a:pt x="120" y="0"/>
                    </a:moveTo>
                    <a:lnTo>
                      <a:pt x="0" y="152"/>
                    </a:lnTo>
                    <a:lnTo>
                      <a:pt x="106" y="342"/>
                    </a:lnTo>
                    <a:lnTo>
                      <a:pt x="226" y="342"/>
                    </a:lnTo>
                    <a:lnTo>
                      <a:pt x="106" y="148"/>
                    </a:lnTo>
                    <a:lnTo>
                      <a:pt x="232" y="0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18"/>
              <p:cNvSpPr>
                <a:spLocks/>
              </p:cNvSpPr>
              <p:nvPr/>
            </p:nvSpPr>
            <p:spPr bwMode="auto">
              <a:xfrm>
                <a:off x="1876425" y="517525"/>
                <a:ext cx="158750" cy="377825"/>
              </a:xfrm>
              <a:custGeom>
                <a:avLst/>
                <a:gdLst>
                  <a:gd name="T0" fmla="*/ 16 w 100"/>
                  <a:gd name="T1" fmla="*/ 0 h 238"/>
                  <a:gd name="T2" fmla="*/ 100 w 100"/>
                  <a:gd name="T3" fmla="*/ 0 h 238"/>
                  <a:gd name="T4" fmla="*/ 84 w 100"/>
                  <a:gd name="T5" fmla="*/ 238 h 238"/>
                  <a:gd name="T6" fmla="*/ 0 w 100"/>
                  <a:gd name="T7" fmla="*/ 238 h 238"/>
                  <a:gd name="T8" fmla="*/ 16 w 100"/>
                  <a:gd name="T9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238">
                    <a:moveTo>
                      <a:pt x="16" y="0"/>
                    </a:moveTo>
                    <a:lnTo>
                      <a:pt x="100" y="0"/>
                    </a:lnTo>
                    <a:lnTo>
                      <a:pt x="84" y="238"/>
                    </a:lnTo>
                    <a:lnTo>
                      <a:pt x="0" y="238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19"/>
              <p:cNvSpPr>
                <a:spLocks/>
              </p:cNvSpPr>
              <p:nvPr/>
            </p:nvSpPr>
            <p:spPr bwMode="auto">
              <a:xfrm>
                <a:off x="2038350" y="504825"/>
                <a:ext cx="692150" cy="390525"/>
              </a:xfrm>
              <a:custGeom>
                <a:avLst/>
                <a:gdLst>
                  <a:gd name="T0" fmla="*/ 106 w 436"/>
                  <a:gd name="T1" fmla="*/ 40 h 246"/>
                  <a:gd name="T2" fmla="*/ 106 w 436"/>
                  <a:gd name="T3" fmla="*/ 40 h 246"/>
                  <a:gd name="T4" fmla="*/ 128 w 436"/>
                  <a:gd name="T5" fmla="*/ 20 h 246"/>
                  <a:gd name="T6" fmla="*/ 150 w 436"/>
                  <a:gd name="T7" fmla="*/ 8 h 246"/>
                  <a:gd name="T8" fmla="*/ 172 w 436"/>
                  <a:gd name="T9" fmla="*/ 2 h 246"/>
                  <a:gd name="T10" fmla="*/ 192 w 436"/>
                  <a:gd name="T11" fmla="*/ 2 h 246"/>
                  <a:gd name="T12" fmla="*/ 216 w 436"/>
                  <a:gd name="T13" fmla="*/ 6 h 246"/>
                  <a:gd name="T14" fmla="*/ 238 w 436"/>
                  <a:gd name="T15" fmla="*/ 14 h 246"/>
                  <a:gd name="T16" fmla="*/ 254 w 436"/>
                  <a:gd name="T17" fmla="*/ 28 h 246"/>
                  <a:gd name="T18" fmla="*/ 264 w 436"/>
                  <a:gd name="T19" fmla="*/ 44 h 246"/>
                  <a:gd name="T20" fmla="*/ 272 w 436"/>
                  <a:gd name="T21" fmla="*/ 34 h 246"/>
                  <a:gd name="T22" fmla="*/ 290 w 436"/>
                  <a:gd name="T23" fmla="*/ 18 h 246"/>
                  <a:gd name="T24" fmla="*/ 312 w 436"/>
                  <a:gd name="T25" fmla="*/ 8 h 246"/>
                  <a:gd name="T26" fmla="*/ 338 w 436"/>
                  <a:gd name="T27" fmla="*/ 2 h 246"/>
                  <a:gd name="T28" fmla="*/ 352 w 436"/>
                  <a:gd name="T29" fmla="*/ 0 h 246"/>
                  <a:gd name="T30" fmla="*/ 386 w 436"/>
                  <a:gd name="T31" fmla="*/ 6 h 246"/>
                  <a:gd name="T32" fmla="*/ 414 w 436"/>
                  <a:gd name="T33" fmla="*/ 24 h 246"/>
                  <a:gd name="T34" fmla="*/ 432 w 436"/>
                  <a:gd name="T35" fmla="*/ 50 h 246"/>
                  <a:gd name="T36" fmla="*/ 436 w 436"/>
                  <a:gd name="T37" fmla="*/ 86 h 246"/>
                  <a:gd name="T38" fmla="*/ 332 w 436"/>
                  <a:gd name="T39" fmla="*/ 246 h 246"/>
                  <a:gd name="T40" fmla="*/ 342 w 436"/>
                  <a:gd name="T41" fmla="*/ 106 h 246"/>
                  <a:gd name="T42" fmla="*/ 342 w 436"/>
                  <a:gd name="T43" fmla="*/ 80 h 246"/>
                  <a:gd name="T44" fmla="*/ 336 w 436"/>
                  <a:gd name="T45" fmla="*/ 66 h 246"/>
                  <a:gd name="T46" fmla="*/ 322 w 436"/>
                  <a:gd name="T47" fmla="*/ 58 h 246"/>
                  <a:gd name="T48" fmla="*/ 312 w 436"/>
                  <a:gd name="T49" fmla="*/ 58 h 246"/>
                  <a:gd name="T50" fmla="*/ 288 w 436"/>
                  <a:gd name="T51" fmla="*/ 66 h 246"/>
                  <a:gd name="T52" fmla="*/ 276 w 436"/>
                  <a:gd name="T53" fmla="*/ 82 h 246"/>
                  <a:gd name="T54" fmla="*/ 270 w 436"/>
                  <a:gd name="T55" fmla="*/ 100 h 246"/>
                  <a:gd name="T56" fmla="*/ 260 w 436"/>
                  <a:gd name="T57" fmla="*/ 246 h 246"/>
                  <a:gd name="T58" fmla="*/ 180 w 436"/>
                  <a:gd name="T59" fmla="*/ 106 h 246"/>
                  <a:gd name="T60" fmla="*/ 178 w 436"/>
                  <a:gd name="T61" fmla="*/ 88 h 246"/>
                  <a:gd name="T62" fmla="*/ 174 w 436"/>
                  <a:gd name="T63" fmla="*/ 72 h 246"/>
                  <a:gd name="T64" fmla="*/ 164 w 436"/>
                  <a:gd name="T65" fmla="*/ 62 h 246"/>
                  <a:gd name="T66" fmla="*/ 148 w 436"/>
                  <a:gd name="T67" fmla="*/ 58 h 246"/>
                  <a:gd name="T68" fmla="*/ 132 w 436"/>
                  <a:gd name="T69" fmla="*/ 60 h 246"/>
                  <a:gd name="T70" fmla="*/ 114 w 436"/>
                  <a:gd name="T71" fmla="*/ 72 h 246"/>
                  <a:gd name="T72" fmla="*/ 104 w 436"/>
                  <a:gd name="T73" fmla="*/ 92 h 246"/>
                  <a:gd name="T74" fmla="*/ 102 w 436"/>
                  <a:gd name="T75" fmla="*/ 110 h 246"/>
                  <a:gd name="T76" fmla="*/ 0 w 436"/>
                  <a:gd name="T77" fmla="*/ 246 h 246"/>
                  <a:gd name="T78" fmla="*/ 106 w 436"/>
                  <a:gd name="T79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36" h="246">
                    <a:moveTo>
                      <a:pt x="106" y="8"/>
                    </a:moveTo>
                    <a:lnTo>
                      <a:pt x="106" y="40"/>
                    </a:lnTo>
                    <a:lnTo>
                      <a:pt x="106" y="40"/>
                    </a:lnTo>
                    <a:lnTo>
                      <a:pt x="106" y="40"/>
                    </a:lnTo>
                    <a:lnTo>
                      <a:pt x="118" y="28"/>
                    </a:lnTo>
                    <a:lnTo>
                      <a:pt x="128" y="20"/>
                    </a:lnTo>
                    <a:lnTo>
                      <a:pt x="140" y="12"/>
                    </a:lnTo>
                    <a:lnTo>
                      <a:pt x="150" y="8"/>
                    </a:lnTo>
                    <a:lnTo>
                      <a:pt x="162" y="4"/>
                    </a:lnTo>
                    <a:lnTo>
                      <a:pt x="172" y="2"/>
                    </a:lnTo>
                    <a:lnTo>
                      <a:pt x="192" y="2"/>
                    </a:lnTo>
                    <a:lnTo>
                      <a:pt x="192" y="2"/>
                    </a:lnTo>
                    <a:lnTo>
                      <a:pt x="204" y="2"/>
                    </a:lnTo>
                    <a:lnTo>
                      <a:pt x="216" y="6"/>
                    </a:lnTo>
                    <a:lnTo>
                      <a:pt x="228" y="8"/>
                    </a:lnTo>
                    <a:lnTo>
                      <a:pt x="238" y="14"/>
                    </a:lnTo>
                    <a:lnTo>
                      <a:pt x="246" y="20"/>
                    </a:lnTo>
                    <a:lnTo>
                      <a:pt x="254" y="28"/>
                    </a:lnTo>
                    <a:lnTo>
                      <a:pt x="260" y="36"/>
                    </a:lnTo>
                    <a:lnTo>
                      <a:pt x="264" y="44"/>
                    </a:lnTo>
                    <a:lnTo>
                      <a:pt x="264" y="44"/>
                    </a:lnTo>
                    <a:lnTo>
                      <a:pt x="272" y="34"/>
                    </a:lnTo>
                    <a:lnTo>
                      <a:pt x="280" y="26"/>
                    </a:lnTo>
                    <a:lnTo>
                      <a:pt x="290" y="18"/>
                    </a:lnTo>
                    <a:lnTo>
                      <a:pt x="302" y="12"/>
                    </a:lnTo>
                    <a:lnTo>
                      <a:pt x="312" y="8"/>
                    </a:lnTo>
                    <a:lnTo>
                      <a:pt x="326" y="4"/>
                    </a:lnTo>
                    <a:lnTo>
                      <a:pt x="338" y="2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70" y="2"/>
                    </a:lnTo>
                    <a:lnTo>
                      <a:pt x="386" y="6"/>
                    </a:lnTo>
                    <a:lnTo>
                      <a:pt x="402" y="14"/>
                    </a:lnTo>
                    <a:lnTo>
                      <a:pt x="414" y="24"/>
                    </a:lnTo>
                    <a:lnTo>
                      <a:pt x="424" y="36"/>
                    </a:lnTo>
                    <a:lnTo>
                      <a:pt x="432" y="50"/>
                    </a:lnTo>
                    <a:lnTo>
                      <a:pt x="436" y="68"/>
                    </a:lnTo>
                    <a:lnTo>
                      <a:pt x="436" y="86"/>
                    </a:lnTo>
                    <a:lnTo>
                      <a:pt x="424" y="246"/>
                    </a:lnTo>
                    <a:lnTo>
                      <a:pt x="332" y="246"/>
                    </a:lnTo>
                    <a:lnTo>
                      <a:pt x="342" y="106"/>
                    </a:lnTo>
                    <a:lnTo>
                      <a:pt x="342" y="106"/>
                    </a:lnTo>
                    <a:lnTo>
                      <a:pt x="342" y="88"/>
                    </a:lnTo>
                    <a:lnTo>
                      <a:pt x="342" y="80"/>
                    </a:lnTo>
                    <a:lnTo>
                      <a:pt x="340" y="74"/>
                    </a:lnTo>
                    <a:lnTo>
                      <a:pt x="336" y="66"/>
                    </a:lnTo>
                    <a:lnTo>
                      <a:pt x="330" y="62"/>
                    </a:lnTo>
                    <a:lnTo>
                      <a:pt x="322" y="58"/>
                    </a:lnTo>
                    <a:lnTo>
                      <a:pt x="312" y="58"/>
                    </a:lnTo>
                    <a:lnTo>
                      <a:pt x="312" y="58"/>
                    </a:lnTo>
                    <a:lnTo>
                      <a:pt x="298" y="60"/>
                    </a:lnTo>
                    <a:lnTo>
                      <a:pt x="288" y="66"/>
                    </a:lnTo>
                    <a:lnTo>
                      <a:pt x="280" y="72"/>
                    </a:lnTo>
                    <a:lnTo>
                      <a:pt x="276" y="82"/>
                    </a:lnTo>
                    <a:lnTo>
                      <a:pt x="272" y="92"/>
                    </a:lnTo>
                    <a:lnTo>
                      <a:pt x="270" y="100"/>
                    </a:lnTo>
                    <a:lnTo>
                      <a:pt x="270" y="110"/>
                    </a:lnTo>
                    <a:lnTo>
                      <a:pt x="260" y="246"/>
                    </a:lnTo>
                    <a:lnTo>
                      <a:pt x="170" y="246"/>
                    </a:lnTo>
                    <a:lnTo>
                      <a:pt x="180" y="106"/>
                    </a:lnTo>
                    <a:lnTo>
                      <a:pt x="180" y="106"/>
                    </a:lnTo>
                    <a:lnTo>
                      <a:pt x="178" y="88"/>
                    </a:lnTo>
                    <a:lnTo>
                      <a:pt x="178" y="80"/>
                    </a:lnTo>
                    <a:lnTo>
                      <a:pt x="174" y="72"/>
                    </a:lnTo>
                    <a:lnTo>
                      <a:pt x="170" y="66"/>
                    </a:lnTo>
                    <a:lnTo>
                      <a:pt x="164" y="62"/>
                    </a:lnTo>
                    <a:lnTo>
                      <a:pt x="15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32" y="60"/>
                    </a:lnTo>
                    <a:lnTo>
                      <a:pt x="122" y="66"/>
                    </a:lnTo>
                    <a:lnTo>
                      <a:pt x="114" y="72"/>
                    </a:lnTo>
                    <a:lnTo>
                      <a:pt x="108" y="82"/>
                    </a:lnTo>
                    <a:lnTo>
                      <a:pt x="104" y="92"/>
                    </a:lnTo>
                    <a:lnTo>
                      <a:pt x="104" y="100"/>
                    </a:lnTo>
                    <a:lnTo>
                      <a:pt x="102" y="110"/>
                    </a:lnTo>
                    <a:lnTo>
                      <a:pt x="94" y="246"/>
                    </a:lnTo>
                    <a:lnTo>
                      <a:pt x="0" y="246"/>
                    </a:lnTo>
                    <a:lnTo>
                      <a:pt x="16" y="8"/>
                    </a:lnTo>
                    <a:lnTo>
                      <a:pt x="106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20"/>
              <p:cNvSpPr>
                <a:spLocks/>
              </p:cNvSpPr>
              <p:nvPr/>
            </p:nvSpPr>
            <p:spPr bwMode="auto">
              <a:xfrm>
                <a:off x="4064000" y="517525"/>
                <a:ext cx="454025" cy="558800"/>
              </a:xfrm>
              <a:custGeom>
                <a:avLst/>
                <a:gdLst>
                  <a:gd name="T0" fmla="*/ 116 w 286"/>
                  <a:gd name="T1" fmla="*/ 352 h 352"/>
                  <a:gd name="T2" fmla="*/ 34 w 286"/>
                  <a:gd name="T3" fmla="*/ 352 h 352"/>
                  <a:gd name="T4" fmla="*/ 86 w 286"/>
                  <a:gd name="T5" fmla="*/ 242 h 352"/>
                  <a:gd name="T6" fmla="*/ 0 w 286"/>
                  <a:gd name="T7" fmla="*/ 0 h 352"/>
                  <a:gd name="T8" fmla="*/ 100 w 286"/>
                  <a:gd name="T9" fmla="*/ 0 h 352"/>
                  <a:gd name="T10" fmla="*/ 140 w 286"/>
                  <a:gd name="T11" fmla="*/ 148 h 352"/>
                  <a:gd name="T12" fmla="*/ 202 w 286"/>
                  <a:gd name="T13" fmla="*/ 0 h 352"/>
                  <a:gd name="T14" fmla="*/ 286 w 286"/>
                  <a:gd name="T15" fmla="*/ 0 h 352"/>
                  <a:gd name="T16" fmla="*/ 116 w 286"/>
                  <a:gd name="T17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6" h="352">
                    <a:moveTo>
                      <a:pt x="116" y="352"/>
                    </a:moveTo>
                    <a:lnTo>
                      <a:pt x="34" y="352"/>
                    </a:lnTo>
                    <a:lnTo>
                      <a:pt x="86" y="242"/>
                    </a:lnTo>
                    <a:lnTo>
                      <a:pt x="0" y="0"/>
                    </a:lnTo>
                    <a:lnTo>
                      <a:pt x="100" y="0"/>
                    </a:lnTo>
                    <a:lnTo>
                      <a:pt x="140" y="148"/>
                    </a:lnTo>
                    <a:lnTo>
                      <a:pt x="202" y="0"/>
                    </a:lnTo>
                    <a:lnTo>
                      <a:pt x="286" y="0"/>
                    </a:lnTo>
                    <a:lnTo>
                      <a:pt x="116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21"/>
              <p:cNvSpPr>
                <a:spLocks/>
              </p:cNvSpPr>
              <p:nvPr/>
            </p:nvSpPr>
            <p:spPr bwMode="auto">
              <a:xfrm>
                <a:off x="4473575" y="593725"/>
                <a:ext cx="241300" cy="117475"/>
              </a:xfrm>
              <a:custGeom>
                <a:avLst/>
                <a:gdLst>
                  <a:gd name="T0" fmla="*/ 36 w 152"/>
                  <a:gd name="T1" fmla="*/ 0 h 74"/>
                  <a:gd name="T2" fmla="*/ 152 w 152"/>
                  <a:gd name="T3" fmla="*/ 0 h 74"/>
                  <a:gd name="T4" fmla="*/ 114 w 152"/>
                  <a:gd name="T5" fmla="*/ 74 h 74"/>
                  <a:gd name="T6" fmla="*/ 0 w 152"/>
                  <a:gd name="T7" fmla="*/ 74 h 74"/>
                  <a:gd name="T8" fmla="*/ 36 w 152"/>
                  <a:gd name="T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74">
                    <a:moveTo>
                      <a:pt x="36" y="0"/>
                    </a:moveTo>
                    <a:lnTo>
                      <a:pt x="152" y="0"/>
                    </a:lnTo>
                    <a:lnTo>
                      <a:pt x="114" y="74"/>
                    </a:lnTo>
                    <a:lnTo>
                      <a:pt x="0" y="7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" name="Freeform 22"/>
              <p:cNvSpPr>
                <a:spLocks/>
              </p:cNvSpPr>
              <p:nvPr/>
            </p:nvSpPr>
            <p:spPr bwMode="auto">
              <a:xfrm>
                <a:off x="4721225" y="339725"/>
                <a:ext cx="504825" cy="558800"/>
              </a:xfrm>
              <a:custGeom>
                <a:avLst/>
                <a:gdLst>
                  <a:gd name="T0" fmla="*/ 180 w 318"/>
                  <a:gd name="T1" fmla="*/ 0 h 352"/>
                  <a:gd name="T2" fmla="*/ 232 w 318"/>
                  <a:gd name="T3" fmla="*/ 6 h 352"/>
                  <a:gd name="T4" fmla="*/ 266 w 318"/>
                  <a:gd name="T5" fmla="*/ 20 h 352"/>
                  <a:gd name="T6" fmla="*/ 286 w 318"/>
                  <a:gd name="T7" fmla="*/ 32 h 352"/>
                  <a:gd name="T8" fmla="*/ 302 w 318"/>
                  <a:gd name="T9" fmla="*/ 50 h 352"/>
                  <a:gd name="T10" fmla="*/ 312 w 318"/>
                  <a:gd name="T11" fmla="*/ 74 h 352"/>
                  <a:gd name="T12" fmla="*/ 318 w 318"/>
                  <a:gd name="T13" fmla="*/ 100 h 352"/>
                  <a:gd name="T14" fmla="*/ 222 w 318"/>
                  <a:gd name="T15" fmla="*/ 116 h 352"/>
                  <a:gd name="T16" fmla="*/ 222 w 318"/>
                  <a:gd name="T17" fmla="*/ 108 h 352"/>
                  <a:gd name="T18" fmla="*/ 216 w 318"/>
                  <a:gd name="T19" fmla="*/ 90 h 352"/>
                  <a:gd name="T20" fmla="*/ 204 w 318"/>
                  <a:gd name="T21" fmla="*/ 76 h 352"/>
                  <a:gd name="T22" fmla="*/ 188 w 318"/>
                  <a:gd name="T23" fmla="*/ 68 h 352"/>
                  <a:gd name="T24" fmla="*/ 176 w 318"/>
                  <a:gd name="T25" fmla="*/ 68 h 352"/>
                  <a:gd name="T26" fmla="*/ 150 w 318"/>
                  <a:gd name="T27" fmla="*/ 72 h 352"/>
                  <a:gd name="T28" fmla="*/ 128 w 318"/>
                  <a:gd name="T29" fmla="*/ 88 h 352"/>
                  <a:gd name="T30" fmla="*/ 108 w 318"/>
                  <a:gd name="T31" fmla="*/ 118 h 352"/>
                  <a:gd name="T32" fmla="*/ 98 w 318"/>
                  <a:gd name="T33" fmla="*/ 162 h 352"/>
                  <a:gd name="T34" fmla="*/ 96 w 318"/>
                  <a:gd name="T35" fmla="*/ 188 h 352"/>
                  <a:gd name="T36" fmla="*/ 98 w 318"/>
                  <a:gd name="T37" fmla="*/ 234 h 352"/>
                  <a:gd name="T38" fmla="*/ 112 w 318"/>
                  <a:gd name="T39" fmla="*/ 266 h 352"/>
                  <a:gd name="T40" fmla="*/ 122 w 318"/>
                  <a:gd name="T41" fmla="*/ 278 h 352"/>
                  <a:gd name="T42" fmla="*/ 138 w 318"/>
                  <a:gd name="T43" fmla="*/ 284 h 352"/>
                  <a:gd name="T44" fmla="*/ 158 w 318"/>
                  <a:gd name="T45" fmla="*/ 288 h 352"/>
                  <a:gd name="T46" fmla="*/ 174 w 318"/>
                  <a:gd name="T47" fmla="*/ 286 h 352"/>
                  <a:gd name="T48" fmla="*/ 198 w 318"/>
                  <a:gd name="T49" fmla="*/ 274 h 352"/>
                  <a:gd name="T50" fmla="*/ 212 w 318"/>
                  <a:gd name="T51" fmla="*/ 256 h 352"/>
                  <a:gd name="T52" fmla="*/ 218 w 318"/>
                  <a:gd name="T53" fmla="*/ 236 h 352"/>
                  <a:gd name="T54" fmla="*/ 314 w 318"/>
                  <a:gd name="T55" fmla="*/ 236 h 352"/>
                  <a:gd name="T56" fmla="*/ 306 w 318"/>
                  <a:gd name="T57" fmla="*/ 270 h 352"/>
                  <a:gd name="T58" fmla="*/ 290 w 318"/>
                  <a:gd name="T59" fmla="*/ 300 h 352"/>
                  <a:gd name="T60" fmla="*/ 272 w 318"/>
                  <a:gd name="T61" fmla="*/ 318 h 352"/>
                  <a:gd name="T62" fmla="*/ 248 w 318"/>
                  <a:gd name="T63" fmla="*/ 334 h 352"/>
                  <a:gd name="T64" fmla="*/ 216 w 318"/>
                  <a:gd name="T65" fmla="*/ 346 h 352"/>
                  <a:gd name="T66" fmla="*/ 176 w 318"/>
                  <a:gd name="T67" fmla="*/ 352 h 352"/>
                  <a:gd name="T68" fmla="*/ 152 w 318"/>
                  <a:gd name="T69" fmla="*/ 352 h 352"/>
                  <a:gd name="T70" fmla="*/ 106 w 318"/>
                  <a:gd name="T71" fmla="*/ 348 h 352"/>
                  <a:gd name="T72" fmla="*/ 70 w 318"/>
                  <a:gd name="T73" fmla="*/ 336 h 352"/>
                  <a:gd name="T74" fmla="*/ 42 w 318"/>
                  <a:gd name="T75" fmla="*/ 316 h 352"/>
                  <a:gd name="T76" fmla="*/ 22 w 318"/>
                  <a:gd name="T77" fmla="*/ 292 h 352"/>
                  <a:gd name="T78" fmla="*/ 8 w 318"/>
                  <a:gd name="T79" fmla="*/ 262 h 352"/>
                  <a:gd name="T80" fmla="*/ 2 w 318"/>
                  <a:gd name="T81" fmla="*/ 230 h 352"/>
                  <a:gd name="T82" fmla="*/ 0 w 318"/>
                  <a:gd name="T83" fmla="*/ 194 h 352"/>
                  <a:gd name="T84" fmla="*/ 2 w 318"/>
                  <a:gd name="T85" fmla="*/ 160 h 352"/>
                  <a:gd name="T86" fmla="*/ 18 w 318"/>
                  <a:gd name="T87" fmla="*/ 102 h 352"/>
                  <a:gd name="T88" fmla="*/ 32 w 318"/>
                  <a:gd name="T89" fmla="*/ 74 h 352"/>
                  <a:gd name="T90" fmla="*/ 52 w 318"/>
                  <a:gd name="T91" fmla="*/ 50 h 352"/>
                  <a:gd name="T92" fmla="*/ 76 w 318"/>
                  <a:gd name="T93" fmla="*/ 30 h 352"/>
                  <a:gd name="T94" fmla="*/ 106 w 318"/>
                  <a:gd name="T95" fmla="*/ 14 h 352"/>
                  <a:gd name="T96" fmla="*/ 140 w 318"/>
                  <a:gd name="T97" fmla="*/ 4 h 352"/>
                  <a:gd name="T98" fmla="*/ 180 w 318"/>
                  <a:gd name="T99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18" h="352">
                    <a:moveTo>
                      <a:pt x="180" y="0"/>
                    </a:moveTo>
                    <a:lnTo>
                      <a:pt x="180" y="0"/>
                    </a:lnTo>
                    <a:lnTo>
                      <a:pt x="206" y="0"/>
                    </a:lnTo>
                    <a:lnTo>
                      <a:pt x="232" y="6"/>
                    </a:lnTo>
                    <a:lnTo>
                      <a:pt x="256" y="14"/>
                    </a:lnTo>
                    <a:lnTo>
                      <a:pt x="266" y="20"/>
                    </a:lnTo>
                    <a:lnTo>
                      <a:pt x="276" y="26"/>
                    </a:lnTo>
                    <a:lnTo>
                      <a:pt x="286" y="32"/>
                    </a:lnTo>
                    <a:lnTo>
                      <a:pt x="294" y="42"/>
                    </a:lnTo>
                    <a:lnTo>
                      <a:pt x="302" y="50"/>
                    </a:lnTo>
                    <a:lnTo>
                      <a:pt x="308" y="62"/>
                    </a:lnTo>
                    <a:lnTo>
                      <a:pt x="312" y="74"/>
                    </a:lnTo>
                    <a:lnTo>
                      <a:pt x="316" y="86"/>
                    </a:lnTo>
                    <a:lnTo>
                      <a:pt x="318" y="100"/>
                    </a:lnTo>
                    <a:lnTo>
                      <a:pt x="318" y="116"/>
                    </a:lnTo>
                    <a:lnTo>
                      <a:pt x="222" y="116"/>
                    </a:lnTo>
                    <a:lnTo>
                      <a:pt x="222" y="116"/>
                    </a:lnTo>
                    <a:lnTo>
                      <a:pt x="222" y="108"/>
                    </a:lnTo>
                    <a:lnTo>
                      <a:pt x="220" y="98"/>
                    </a:lnTo>
                    <a:lnTo>
                      <a:pt x="216" y="90"/>
                    </a:lnTo>
                    <a:lnTo>
                      <a:pt x="212" y="84"/>
                    </a:lnTo>
                    <a:lnTo>
                      <a:pt x="204" y="76"/>
                    </a:lnTo>
                    <a:lnTo>
                      <a:pt x="198" y="72"/>
                    </a:lnTo>
                    <a:lnTo>
                      <a:pt x="188" y="68"/>
                    </a:lnTo>
                    <a:lnTo>
                      <a:pt x="176" y="68"/>
                    </a:lnTo>
                    <a:lnTo>
                      <a:pt x="176" y="68"/>
                    </a:lnTo>
                    <a:lnTo>
                      <a:pt x="164" y="68"/>
                    </a:lnTo>
                    <a:lnTo>
                      <a:pt x="150" y="72"/>
                    </a:lnTo>
                    <a:lnTo>
                      <a:pt x="138" y="80"/>
                    </a:lnTo>
                    <a:lnTo>
                      <a:pt x="128" y="88"/>
                    </a:lnTo>
                    <a:lnTo>
                      <a:pt x="118" y="102"/>
                    </a:lnTo>
                    <a:lnTo>
                      <a:pt x="108" y="118"/>
                    </a:lnTo>
                    <a:lnTo>
                      <a:pt x="102" y="138"/>
                    </a:lnTo>
                    <a:lnTo>
                      <a:pt x="98" y="162"/>
                    </a:lnTo>
                    <a:lnTo>
                      <a:pt x="98" y="162"/>
                    </a:lnTo>
                    <a:lnTo>
                      <a:pt x="96" y="188"/>
                    </a:lnTo>
                    <a:lnTo>
                      <a:pt x="96" y="212"/>
                    </a:lnTo>
                    <a:lnTo>
                      <a:pt x="98" y="234"/>
                    </a:lnTo>
                    <a:lnTo>
                      <a:pt x="104" y="252"/>
                    </a:lnTo>
                    <a:lnTo>
                      <a:pt x="112" y="266"/>
                    </a:lnTo>
                    <a:lnTo>
                      <a:pt x="116" y="272"/>
                    </a:lnTo>
                    <a:lnTo>
                      <a:pt x="122" y="278"/>
                    </a:lnTo>
                    <a:lnTo>
                      <a:pt x="130" y="282"/>
                    </a:lnTo>
                    <a:lnTo>
                      <a:pt x="138" y="284"/>
                    </a:lnTo>
                    <a:lnTo>
                      <a:pt x="148" y="286"/>
                    </a:lnTo>
                    <a:lnTo>
                      <a:pt x="158" y="288"/>
                    </a:lnTo>
                    <a:lnTo>
                      <a:pt x="158" y="288"/>
                    </a:lnTo>
                    <a:lnTo>
                      <a:pt x="174" y="286"/>
                    </a:lnTo>
                    <a:lnTo>
                      <a:pt x="188" y="280"/>
                    </a:lnTo>
                    <a:lnTo>
                      <a:pt x="198" y="274"/>
                    </a:lnTo>
                    <a:lnTo>
                      <a:pt x="206" y="264"/>
                    </a:lnTo>
                    <a:lnTo>
                      <a:pt x="212" y="256"/>
                    </a:lnTo>
                    <a:lnTo>
                      <a:pt x="214" y="248"/>
                    </a:lnTo>
                    <a:lnTo>
                      <a:pt x="218" y="236"/>
                    </a:lnTo>
                    <a:lnTo>
                      <a:pt x="314" y="236"/>
                    </a:lnTo>
                    <a:lnTo>
                      <a:pt x="314" y="236"/>
                    </a:lnTo>
                    <a:lnTo>
                      <a:pt x="312" y="252"/>
                    </a:lnTo>
                    <a:lnTo>
                      <a:pt x="306" y="270"/>
                    </a:lnTo>
                    <a:lnTo>
                      <a:pt x="296" y="290"/>
                    </a:lnTo>
                    <a:lnTo>
                      <a:pt x="290" y="300"/>
                    </a:lnTo>
                    <a:lnTo>
                      <a:pt x="282" y="308"/>
                    </a:lnTo>
                    <a:lnTo>
                      <a:pt x="272" y="318"/>
                    </a:lnTo>
                    <a:lnTo>
                      <a:pt x="260" y="326"/>
                    </a:lnTo>
                    <a:lnTo>
                      <a:pt x="248" y="334"/>
                    </a:lnTo>
                    <a:lnTo>
                      <a:pt x="232" y="340"/>
                    </a:lnTo>
                    <a:lnTo>
                      <a:pt x="216" y="346"/>
                    </a:lnTo>
                    <a:lnTo>
                      <a:pt x="196" y="350"/>
                    </a:lnTo>
                    <a:lnTo>
                      <a:pt x="176" y="352"/>
                    </a:lnTo>
                    <a:lnTo>
                      <a:pt x="152" y="352"/>
                    </a:lnTo>
                    <a:lnTo>
                      <a:pt x="152" y="352"/>
                    </a:lnTo>
                    <a:lnTo>
                      <a:pt x="128" y="352"/>
                    </a:lnTo>
                    <a:lnTo>
                      <a:pt x="106" y="348"/>
                    </a:lnTo>
                    <a:lnTo>
                      <a:pt x="86" y="342"/>
                    </a:lnTo>
                    <a:lnTo>
                      <a:pt x="70" y="336"/>
                    </a:lnTo>
                    <a:lnTo>
                      <a:pt x="54" y="326"/>
                    </a:lnTo>
                    <a:lnTo>
                      <a:pt x="42" y="316"/>
                    </a:lnTo>
                    <a:lnTo>
                      <a:pt x="30" y="304"/>
                    </a:lnTo>
                    <a:lnTo>
                      <a:pt x="22" y="292"/>
                    </a:lnTo>
                    <a:lnTo>
                      <a:pt x="14" y="276"/>
                    </a:lnTo>
                    <a:lnTo>
                      <a:pt x="8" y="262"/>
                    </a:lnTo>
                    <a:lnTo>
                      <a:pt x="4" y="246"/>
                    </a:lnTo>
                    <a:lnTo>
                      <a:pt x="2" y="230"/>
                    </a:lnTo>
                    <a:lnTo>
                      <a:pt x="0" y="212"/>
                    </a:lnTo>
                    <a:lnTo>
                      <a:pt x="0" y="194"/>
                    </a:lnTo>
                    <a:lnTo>
                      <a:pt x="2" y="160"/>
                    </a:lnTo>
                    <a:lnTo>
                      <a:pt x="2" y="160"/>
                    </a:lnTo>
                    <a:lnTo>
                      <a:pt x="8" y="130"/>
                    </a:lnTo>
                    <a:lnTo>
                      <a:pt x="18" y="102"/>
                    </a:lnTo>
                    <a:lnTo>
                      <a:pt x="24" y="88"/>
                    </a:lnTo>
                    <a:lnTo>
                      <a:pt x="32" y="74"/>
                    </a:lnTo>
                    <a:lnTo>
                      <a:pt x="42" y="62"/>
                    </a:lnTo>
                    <a:lnTo>
                      <a:pt x="52" y="50"/>
                    </a:lnTo>
                    <a:lnTo>
                      <a:pt x="64" y="40"/>
                    </a:lnTo>
                    <a:lnTo>
                      <a:pt x="76" y="30"/>
                    </a:lnTo>
                    <a:lnTo>
                      <a:pt x="90" y="20"/>
                    </a:lnTo>
                    <a:lnTo>
                      <a:pt x="106" y="14"/>
                    </a:lnTo>
                    <a:lnTo>
                      <a:pt x="122" y="8"/>
                    </a:lnTo>
                    <a:lnTo>
                      <a:pt x="140" y="4"/>
                    </a:lnTo>
                    <a:lnTo>
                      <a:pt x="160" y="0"/>
                    </a:lnTo>
                    <a:lnTo>
                      <a:pt x="180" y="0"/>
                    </a:lnTo>
                    <a:lnTo>
                      <a:pt x="18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23"/>
              <p:cNvSpPr>
                <a:spLocks/>
              </p:cNvSpPr>
              <p:nvPr/>
            </p:nvSpPr>
            <p:spPr bwMode="auto">
              <a:xfrm>
                <a:off x="5229225" y="352425"/>
                <a:ext cx="177800" cy="542925"/>
              </a:xfrm>
              <a:custGeom>
                <a:avLst/>
                <a:gdLst>
                  <a:gd name="T0" fmla="*/ 0 w 112"/>
                  <a:gd name="T1" fmla="*/ 342 h 342"/>
                  <a:gd name="T2" fmla="*/ 24 w 112"/>
                  <a:gd name="T3" fmla="*/ 0 h 342"/>
                  <a:gd name="T4" fmla="*/ 112 w 112"/>
                  <a:gd name="T5" fmla="*/ 0 h 342"/>
                  <a:gd name="T6" fmla="*/ 88 w 112"/>
                  <a:gd name="T7" fmla="*/ 342 h 342"/>
                  <a:gd name="T8" fmla="*/ 0 w 112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2" y="0"/>
                    </a:lnTo>
                    <a:lnTo>
                      <a:pt x="88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Freeform 24"/>
              <p:cNvSpPr>
                <a:spLocks/>
              </p:cNvSpPr>
              <p:nvPr/>
            </p:nvSpPr>
            <p:spPr bwMode="auto">
              <a:xfrm>
                <a:off x="5803900" y="517525"/>
                <a:ext cx="295275" cy="377825"/>
              </a:xfrm>
              <a:custGeom>
                <a:avLst/>
                <a:gdLst>
                  <a:gd name="T0" fmla="*/ 106 w 186"/>
                  <a:gd name="T1" fmla="*/ 34 h 238"/>
                  <a:gd name="T2" fmla="*/ 106 w 186"/>
                  <a:gd name="T3" fmla="*/ 34 h 238"/>
                  <a:gd name="T4" fmla="*/ 106 w 186"/>
                  <a:gd name="T5" fmla="*/ 34 h 238"/>
                  <a:gd name="T6" fmla="*/ 116 w 186"/>
                  <a:gd name="T7" fmla="*/ 24 h 238"/>
                  <a:gd name="T8" fmla="*/ 124 w 186"/>
                  <a:gd name="T9" fmla="*/ 16 h 238"/>
                  <a:gd name="T10" fmla="*/ 134 w 186"/>
                  <a:gd name="T11" fmla="*/ 10 h 238"/>
                  <a:gd name="T12" fmla="*/ 144 w 186"/>
                  <a:gd name="T13" fmla="*/ 6 h 238"/>
                  <a:gd name="T14" fmla="*/ 154 w 186"/>
                  <a:gd name="T15" fmla="*/ 4 h 238"/>
                  <a:gd name="T16" fmla="*/ 164 w 186"/>
                  <a:gd name="T17" fmla="*/ 2 h 238"/>
                  <a:gd name="T18" fmla="*/ 186 w 186"/>
                  <a:gd name="T19" fmla="*/ 0 h 238"/>
                  <a:gd name="T20" fmla="*/ 180 w 186"/>
                  <a:gd name="T21" fmla="*/ 76 h 238"/>
                  <a:gd name="T22" fmla="*/ 180 w 186"/>
                  <a:gd name="T23" fmla="*/ 76 h 238"/>
                  <a:gd name="T24" fmla="*/ 162 w 186"/>
                  <a:gd name="T25" fmla="*/ 76 h 238"/>
                  <a:gd name="T26" fmla="*/ 162 w 186"/>
                  <a:gd name="T27" fmla="*/ 76 h 238"/>
                  <a:gd name="T28" fmla="*/ 142 w 186"/>
                  <a:gd name="T29" fmla="*/ 78 h 238"/>
                  <a:gd name="T30" fmla="*/ 126 w 186"/>
                  <a:gd name="T31" fmla="*/ 82 h 238"/>
                  <a:gd name="T32" fmla="*/ 116 w 186"/>
                  <a:gd name="T33" fmla="*/ 88 h 238"/>
                  <a:gd name="T34" fmla="*/ 108 w 186"/>
                  <a:gd name="T35" fmla="*/ 98 h 238"/>
                  <a:gd name="T36" fmla="*/ 104 w 186"/>
                  <a:gd name="T37" fmla="*/ 108 h 238"/>
                  <a:gd name="T38" fmla="*/ 100 w 186"/>
                  <a:gd name="T39" fmla="*/ 120 h 238"/>
                  <a:gd name="T40" fmla="*/ 98 w 186"/>
                  <a:gd name="T41" fmla="*/ 148 h 238"/>
                  <a:gd name="T42" fmla="*/ 92 w 186"/>
                  <a:gd name="T43" fmla="*/ 238 h 238"/>
                  <a:gd name="T44" fmla="*/ 0 w 186"/>
                  <a:gd name="T45" fmla="*/ 238 h 238"/>
                  <a:gd name="T46" fmla="*/ 14 w 186"/>
                  <a:gd name="T47" fmla="*/ 62 h 238"/>
                  <a:gd name="T48" fmla="*/ 14 w 186"/>
                  <a:gd name="T49" fmla="*/ 62 h 238"/>
                  <a:gd name="T50" fmla="*/ 14 w 186"/>
                  <a:gd name="T51" fmla="*/ 32 h 238"/>
                  <a:gd name="T52" fmla="*/ 14 w 186"/>
                  <a:gd name="T53" fmla="*/ 0 h 238"/>
                  <a:gd name="T54" fmla="*/ 102 w 186"/>
                  <a:gd name="T55" fmla="*/ 0 h 238"/>
                  <a:gd name="T56" fmla="*/ 106 w 186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6" h="238">
                    <a:moveTo>
                      <a:pt x="106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6" y="24"/>
                    </a:lnTo>
                    <a:lnTo>
                      <a:pt x="124" y="16"/>
                    </a:lnTo>
                    <a:lnTo>
                      <a:pt x="134" y="10"/>
                    </a:lnTo>
                    <a:lnTo>
                      <a:pt x="144" y="6"/>
                    </a:lnTo>
                    <a:lnTo>
                      <a:pt x="154" y="4"/>
                    </a:lnTo>
                    <a:lnTo>
                      <a:pt x="164" y="2"/>
                    </a:lnTo>
                    <a:lnTo>
                      <a:pt x="186" y="0"/>
                    </a:lnTo>
                    <a:lnTo>
                      <a:pt x="180" y="76"/>
                    </a:lnTo>
                    <a:lnTo>
                      <a:pt x="180" y="76"/>
                    </a:lnTo>
                    <a:lnTo>
                      <a:pt x="162" y="76"/>
                    </a:lnTo>
                    <a:lnTo>
                      <a:pt x="162" y="76"/>
                    </a:lnTo>
                    <a:lnTo>
                      <a:pt x="142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4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6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2496277" y="6366637"/>
            <a:ext cx="65150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1676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6" r:id="rId3"/>
    <p:sldLayoutId id="2147483660" r:id="rId4"/>
    <p:sldLayoutId id="2147483664" r:id="rId5"/>
    <p:sldLayoutId id="2147483657" r:id="rId6"/>
    <p:sldLayoutId id="2147483661" r:id="rId7"/>
    <p:sldLayoutId id="2147483665" r:id="rId8"/>
    <p:sldLayoutId id="2147483658" r:id="rId9"/>
    <p:sldLayoutId id="2147483666" r:id="rId10"/>
    <p:sldLayoutId id="2147483662" r:id="rId11"/>
    <p:sldLayoutId id="2147483659" r:id="rId12"/>
    <p:sldLayoutId id="2147483668" r:id="rId13"/>
    <p:sldLayoutId id="2147483669" r:id="rId14"/>
    <p:sldLayoutId id="2147483670" r:id="rId15"/>
    <p:sldLayoutId id="2147483671" r:id="rId16"/>
    <p:sldLayoutId id="2147483650" r:id="rId17"/>
    <p:sldLayoutId id="2147483652" r:id="rId18"/>
    <p:sldLayoutId id="2147483654" r:id="rId19"/>
    <p:sldLayoutId id="2147483655" r:id="rId20"/>
    <p:sldLayoutId id="2147483667" r:id="rId2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25DA384-723A-412E-B1E9-4C093C653F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33449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9" name="think-cell Slide" r:id="rId22" imgW="622" imgH="623" progId="TCLayout.ActiveDocument.1">
                  <p:embed/>
                </p:oleObj>
              </mc:Choice>
              <mc:Fallback>
                <p:oleObj name="think-cell Slide" r:id="rId22" imgW="622" imgH="62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25DA384-723A-412E-B1E9-4C093C653F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A62C939-7F51-45CC-9A70-9F2C3242CBD8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pt-BR" sz="4400" b="1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DF2FDF9F-67DA-4E59-8829-DC6EFB8535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A6DB1698-778C-4ED2-8DCE-39159CFB9F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C89C86E-A08A-478B-904C-8D4CB8FC2B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DB7FEC-F353-4BC4-8FEC-4BD59EFB6E96}" type="datetimeFigureOut">
              <a:rPr lang="pt-BR" smtClean="0"/>
              <a:t>01/04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BCA8B1D-3815-401B-9EAD-E36FC6A44E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45A7214-7C18-4843-AA82-DC325481F1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59D607-121A-4C21-B44A-0424C0E9D8CD}" type="slidenum">
              <a:rPr lang="pt-BR" smtClean="0"/>
              <a:t>‹#›</a:t>
            </a:fld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C102CDF5-99B4-4954-80C8-35AE8AFA5DA3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260433" y="6298008"/>
            <a:ext cx="2114550" cy="427255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147FBAC2-F583-7D4C-B89A-7618B1FF927E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10018500" y="6286888"/>
            <a:ext cx="1330579" cy="481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8023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  <p:sldLayoutId id="2147483718" r:id="rId12"/>
    <p:sldLayoutId id="2147483719" r:id="rId13"/>
    <p:sldLayoutId id="2147483720" r:id="rId14"/>
    <p:sldLayoutId id="2147483721" r:id="rId15"/>
    <p:sldLayoutId id="2147483722" r:id="rId16"/>
    <p:sldLayoutId id="2147483723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4/1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01614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</p:sldLayoutIdLst>
  <p:txStyles>
    <p:titleStyle>
      <a:lvl1pPr algn="ctr" defTabSz="609630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60963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325" indent="-190510" algn="l" defTabSz="60963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rcRect l="2515" r="8595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662399" y="2574221"/>
            <a:ext cx="4789177" cy="88998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A6977A9-93FB-4A23-A734-E1D32117B621}"/>
              </a:ext>
            </a:extLst>
          </p:cNvPr>
          <p:cNvSpPr txBox="1"/>
          <p:nvPr/>
        </p:nvSpPr>
        <p:spPr>
          <a:xfrm>
            <a:off x="685800" y="3341238"/>
            <a:ext cx="6131699" cy="72821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657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-59" normalizeH="0" baseline="0" noProof="0" dirty="0">
                <a:ln>
                  <a:noFill/>
                </a:ln>
                <a:solidFill>
                  <a:srgbClr val="FC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MPL</a:t>
            </a:r>
            <a:r>
              <a:rPr lang="en-US" sz="3200" b="1" spc="-59" dirty="0">
                <a:solidFill>
                  <a:srgbClr val="FC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YEE INTRODUCTION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356DA29-6D0A-42AD-8E71-A3F1B6103BC2}"/>
              </a:ext>
            </a:extLst>
          </p:cNvPr>
          <p:cNvGrpSpPr/>
          <p:nvPr/>
        </p:nvGrpSpPr>
        <p:grpSpPr>
          <a:xfrm>
            <a:off x="270622" y="6413584"/>
            <a:ext cx="2165537" cy="271230"/>
            <a:chOff x="158750" y="276225"/>
            <a:chExt cx="6388100" cy="800100"/>
          </a:xfrm>
          <a:solidFill>
            <a:schemeClr val="bg1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740A8BE4-4BB4-44EA-81ED-F557033A48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750" y="276225"/>
              <a:ext cx="857250" cy="736600"/>
            </a:xfrm>
            <a:custGeom>
              <a:avLst/>
              <a:gdLst>
                <a:gd name="T0" fmla="*/ 298 w 540"/>
                <a:gd name="T1" fmla="*/ 0 h 464"/>
                <a:gd name="T2" fmla="*/ 374 w 540"/>
                <a:gd name="T3" fmla="*/ 18 h 464"/>
                <a:gd name="T4" fmla="*/ 442 w 540"/>
                <a:gd name="T5" fmla="*/ 52 h 464"/>
                <a:gd name="T6" fmla="*/ 494 w 540"/>
                <a:gd name="T7" fmla="*/ 102 h 464"/>
                <a:gd name="T8" fmla="*/ 528 w 540"/>
                <a:gd name="T9" fmla="*/ 162 h 464"/>
                <a:gd name="T10" fmla="*/ 540 w 540"/>
                <a:gd name="T11" fmla="*/ 232 h 464"/>
                <a:gd name="T12" fmla="*/ 534 w 540"/>
                <a:gd name="T13" fmla="*/ 278 h 464"/>
                <a:gd name="T14" fmla="*/ 506 w 540"/>
                <a:gd name="T15" fmla="*/ 342 h 464"/>
                <a:gd name="T16" fmla="*/ 460 w 540"/>
                <a:gd name="T17" fmla="*/ 396 h 464"/>
                <a:gd name="T18" fmla="*/ 398 w 540"/>
                <a:gd name="T19" fmla="*/ 436 h 464"/>
                <a:gd name="T20" fmla="*/ 324 w 540"/>
                <a:gd name="T21" fmla="*/ 460 h 464"/>
                <a:gd name="T22" fmla="*/ 270 w 540"/>
                <a:gd name="T23" fmla="*/ 464 h 464"/>
                <a:gd name="T24" fmla="*/ 190 w 540"/>
                <a:gd name="T25" fmla="*/ 454 h 464"/>
                <a:gd name="T26" fmla="*/ 118 w 540"/>
                <a:gd name="T27" fmla="*/ 424 h 464"/>
                <a:gd name="T28" fmla="*/ 62 w 540"/>
                <a:gd name="T29" fmla="*/ 380 h 464"/>
                <a:gd name="T30" fmla="*/ 20 w 540"/>
                <a:gd name="T31" fmla="*/ 322 h 464"/>
                <a:gd name="T32" fmla="*/ 2 w 540"/>
                <a:gd name="T33" fmla="*/ 256 h 464"/>
                <a:gd name="T34" fmla="*/ 2 w 540"/>
                <a:gd name="T35" fmla="*/ 208 h 464"/>
                <a:gd name="T36" fmla="*/ 20 w 540"/>
                <a:gd name="T37" fmla="*/ 142 h 464"/>
                <a:gd name="T38" fmla="*/ 62 w 540"/>
                <a:gd name="T39" fmla="*/ 84 h 464"/>
                <a:gd name="T40" fmla="*/ 118 w 540"/>
                <a:gd name="T41" fmla="*/ 40 h 464"/>
                <a:gd name="T42" fmla="*/ 190 w 540"/>
                <a:gd name="T43" fmla="*/ 10 h 464"/>
                <a:gd name="T44" fmla="*/ 270 w 540"/>
                <a:gd name="T45" fmla="*/ 0 h 464"/>
                <a:gd name="T46" fmla="*/ 270 w 540"/>
                <a:gd name="T47" fmla="*/ 232 h 464"/>
                <a:gd name="T48" fmla="*/ 220 w 540"/>
                <a:gd name="T49" fmla="*/ 196 h 464"/>
                <a:gd name="T50" fmla="*/ 208 w 540"/>
                <a:gd name="T51" fmla="*/ 176 h 464"/>
                <a:gd name="T52" fmla="*/ 156 w 540"/>
                <a:gd name="T53" fmla="*/ 130 h 464"/>
                <a:gd name="T54" fmla="*/ 76 w 540"/>
                <a:gd name="T55" fmla="*/ 152 h 464"/>
                <a:gd name="T56" fmla="*/ 130 w 540"/>
                <a:gd name="T57" fmla="*/ 204 h 464"/>
                <a:gd name="T58" fmla="*/ 138 w 540"/>
                <a:gd name="T59" fmla="*/ 230 h 464"/>
                <a:gd name="T60" fmla="*/ 132 w 540"/>
                <a:gd name="T61" fmla="*/ 244 h 464"/>
                <a:gd name="T62" fmla="*/ 108 w 540"/>
                <a:gd name="T63" fmla="*/ 250 h 464"/>
                <a:gd name="T64" fmla="*/ 38 w 540"/>
                <a:gd name="T65" fmla="*/ 330 h 464"/>
                <a:gd name="T66" fmla="*/ 146 w 540"/>
                <a:gd name="T67" fmla="*/ 330 h 464"/>
                <a:gd name="T68" fmla="*/ 186 w 540"/>
                <a:gd name="T69" fmla="*/ 320 h 464"/>
                <a:gd name="T70" fmla="*/ 214 w 540"/>
                <a:gd name="T71" fmla="*/ 296 h 464"/>
                <a:gd name="T72" fmla="*/ 320 w 540"/>
                <a:gd name="T73" fmla="*/ 390 h 464"/>
                <a:gd name="T74" fmla="*/ 326 w 540"/>
                <a:gd name="T75" fmla="*/ 296 h 464"/>
                <a:gd name="T76" fmla="*/ 352 w 540"/>
                <a:gd name="T77" fmla="*/ 320 h 464"/>
                <a:gd name="T78" fmla="*/ 392 w 540"/>
                <a:gd name="T79" fmla="*/ 330 h 464"/>
                <a:gd name="T80" fmla="*/ 500 w 540"/>
                <a:gd name="T81" fmla="*/ 250 h 464"/>
                <a:gd name="T82" fmla="*/ 432 w 540"/>
                <a:gd name="T83" fmla="*/ 250 h 464"/>
                <a:gd name="T84" fmla="*/ 408 w 540"/>
                <a:gd name="T85" fmla="*/ 244 h 464"/>
                <a:gd name="T86" fmla="*/ 400 w 540"/>
                <a:gd name="T87" fmla="*/ 230 h 464"/>
                <a:gd name="T88" fmla="*/ 410 w 540"/>
                <a:gd name="T89" fmla="*/ 204 h 464"/>
                <a:gd name="T90" fmla="*/ 462 w 540"/>
                <a:gd name="T91" fmla="*/ 152 h 464"/>
                <a:gd name="T92" fmla="*/ 382 w 540"/>
                <a:gd name="T93" fmla="*/ 130 h 464"/>
                <a:gd name="T94" fmla="*/ 330 w 540"/>
                <a:gd name="T95" fmla="*/ 176 h 464"/>
                <a:gd name="T96" fmla="*/ 320 w 540"/>
                <a:gd name="T97" fmla="*/ 19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40" h="464">
                  <a:moveTo>
                    <a:pt x="270" y="0"/>
                  </a:moveTo>
                  <a:lnTo>
                    <a:pt x="270" y="0"/>
                  </a:lnTo>
                  <a:lnTo>
                    <a:pt x="298" y="0"/>
                  </a:lnTo>
                  <a:lnTo>
                    <a:pt x="324" y="4"/>
                  </a:lnTo>
                  <a:lnTo>
                    <a:pt x="350" y="10"/>
                  </a:lnTo>
                  <a:lnTo>
                    <a:pt x="374" y="18"/>
                  </a:lnTo>
                  <a:lnTo>
                    <a:pt x="398" y="28"/>
                  </a:lnTo>
                  <a:lnTo>
                    <a:pt x="420" y="40"/>
                  </a:lnTo>
                  <a:lnTo>
                    <a:pt x="442" y="52"/>
                  </a:lnTo>
                  <a:lnTo>
                    <a:pt x="460" y="68"/>
                  </a:lnTo>
                  <a:lnTo>
                    <a:pt x="478" y="84"/>
                  </a:lnTo>
                  <a:lnTo>
                    <a:pt x="494" y="102"/>
                  </a:lnTo>
                  <a:lnTo>
                    <a:pt x="506" y="122"/>
                  </a:lnTo>
                  <a:lnTo>
                    <a:pt x="518" y="142"/>
                  </a:lnTo>
                  <a:lnTo>
                    <a:pt x="528" y="162"/>
                  </a:lnTo>
                  <a:lnTo>
                    <a:pt x="534" y="184"/>
                  </a:lnTo>
                  <a:lnTo>
                    <a:pt x="538" y="208"/>
                  </a:lnTo>
                  <a:lnTo>
                    <a:pt x="540" y="232"/>
                  </a:lnTo>
                  <a:lnTo>
                    <a:pt x="540" y="232"/>
                  </a:lnTo>
                  <a:lnTo>
                    <a:pt x="538" y="256"/>
                  </a:lnTo>
                  <a:lnTo>
                    <a:pt x="534" y="278"/>
                  </a:lnTo>
                  <a:lnTo>
                    <a:pt x="528" y="300"/>
                  </a:lnTo>
                  <a:lnTo>
                    <a:pt x="518" y="322"/>
                  </a:lnTo>
                  <a:lnTo>
                    <a:pt x="506" y="342"/>
                  </a:lnTo>
                  <a:lnTo>
                    <a:pt x="494" y="362"/>
                  </a:lnTo>
                  <a:lnTo>
                    <a:pt x="478" y="380"/>
                  </a:lnTo>
                  <a:lnTo>
                    <a:pt x="460" y="396"/>
                  </a:lnTo>
                  <a:lnTo>
                    <a:pt x="442" y="410"/>
                  </a:lnTo>
                  <a:lnTo>
                    <a:pt x="420" y="424"/>
                  </a:lnTo>
                  <a:lnTo>
                    <a:pt x="398" y="436"/>
                  </a:lnTo>
                  <a:lnTo>
                    <a:pt x="374" y="446"/>
                  </a:lnTo>
                  <a:lnTo>
                    <a:pt x="350" y="454"/>
                  </a:lnTo>
                  <a:lnTo>
                    <a:pt x="324" y="460"/>
                  </a:lnTo>
                  <a:lnTo>
                    <a:pt x="298" y="462"/>
                  </a:lnTo>
                  <a:lnTo>
                    <a:pt x="270" y="464"/>
                  </a:lnTo>
                  <a:lnTo>
                    <a:pt x="270" y="464"/>
                  </a:lnTo>
                  <a:lnTo>
                    <a:pt x="242" y="462"/>
                  </a:lnTo>
                  <a:lnTo>
                    <a:pt x="216" y="458"/>
                  </a:lnTo>
                  <a:lnTo>
                    <a:pt x="190" y="454"/>
                  </a:lnTo>
                  <a:lnTo>
                    <a:pt x="164" y="446"/>
                  </a:lnTo>
                  <a:lnTo>
                    <a:pt x="140" y="436"/>
                  </a:lnTo>
                  <a:lnTo>
                    <a:pt x="118" y="424"/>
                  </a:lnTo>
                  <a:lnTo>
                    <a:pt x="98" y="410"/>
                  </a:lnTo>
                  <a:lnTo>
                    <a:pt x="78" y="396"/>
                  </a:lnTo>
                  <a:lnTo>
                    <a:pt x="62" y="380"/>
                  </a:lnTo>
                  <a:lnTo>
                    <a:pt x="46" y="362"/>
                  </a:lnTo>
                  <a:lnTo>
                    <a:pt x="32" y="342"/>
                  </a:lnTo>
                  <a:lnTo>
                    <a:pt x="20" y="322"/>
                  </a:lnTo>
                  <a:lnTo>
                    <a:pt x="12" y="300"/>
                  </a:lnTo>
                  <a:lnTo>
                    <a:pt x="6" y="278"/>
                  </a:lnTo>
                  <a:lnTo>
                    <a:pt x="2" y="256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08"/>
                  </a:lnTo>
                  <a:lnTo>
                    <a:pt x="6" y="184"/>
                  </a:lnTo>
                  <a:lnTo>
                    <a:pt x="12" y="162"/>
                  </a:lnTo>
                  <a:lnTo>
                    <a:pt x="20" y="142"/>
                  </a:lnTo>
                  <a:lnTo>
                    <a:pt x="32" y="120"/>
                  </a:lnTo>
                  <a:lnTo>
                    <a:pt x="46" y="102"/>
                  </a:lnTo>
                  <a:lnTo>
                    <a:pt x="62" y="84"/>
                  </a:lnTo>
                  <a:lnTo>
                    <a:pt x="78" y="68"/>
                  </a:lnTo>
                  <a:lnTo>
                    <a:pt x="98" y="52"/>
                  </a:lnTo>
                  <a:lnTo>
                    <a:pt x="118" y="40"/>
                  </a:lnTo>
                  <a:lnTo>
                    <a:pt x="140" y="28"/>
                  </a:lnTo>
                  <a:lnTo>
                    <a:pt x="164" y="18"/>
                  </a:lnTo>
                  <a:lnTo>
                    <a:pt x="190" y="10"/>
                  </a:lnTo>
                  <a:lnTo>
                    <a:pt x="216" y="4"/>
                  </a:lnTo>
                  <a:lnTo>
                    <a:pt x="242" y="0"/>
                  </a:lnTo>
                  <a:lnTo>
                    <a:pt x="270" y="0"/>
                  </a:lnTo>
                  <a:lnTo>
                    <a:pt x="270" y="0"/>
                  </a:lnTo>
                  <a:close/>
                  <a:moveTo>
                    <a:pt x="270" y="232"/>
                  </a:moveTo>
                  <a:lnTo>
                    <a:pt x="270" y="232"/>
                  </a:lnTo>
                  <a:close/>
                  <a:moveTo>
                    <a:pt x="220" y="50"/>
                  </a:moveTo>
                  <a:lnTo>
                    <a:pt x="220" y="50"/>
                  </a:lnTo>
                  <a:lnTo>
                    <a:pt x="220" y="196"/>
                  </a:lnTo>
                  <a:lnTo>
                    <a:pt x="220" y="196"/>
                  </a:lnTo>
                  <a:lnTo>
                    <a:pt x="214" y="186"/>
                  </a:lnTo>
                  <a:lnTo>
                    <a:pt x="208" y="176"/>
                  </a:lnTo>
                  <a:lnTo>
                    <a:pt x="194" y="160"/>
                  </a:lnTo>
                  <a:lnTo>
                    <a:pt x="176" y="144"/>
                  </a:lnTo>
                  <a:lnTo>
                    <a:pt x="156" y="130"/>
                  </a:lnTo>
                  <a:lnTo>
                    <a:pt x="48" y="130"/>
                  </a:lnTo>
                  <a:lnTo>
                    <a:pt x="48" y="130"/>
                  </a:lnTo>
                  <a:lnTo>
                    <a:pt x="76" y="152"/>
                  </a:lnTo>
                  <a:lnTo>
                    <a:pt x="106" y="178"/>
                  </a:lnTo>
                  <a:lnTo>
                    <a:pt x="120" y="192"/>
                  </a:lnTo>
                  <a:lnTo>
                    <a:pt x="130" y="204"/>
                  </a:lnTo>
                  <a:lnTo>
                    <a:pt x="136" y="218"/>
                  </a:lnTo>
                  <a:lnTo>
                    <a:pt x="138" y="230"/>
                  </a:lnTo>
                  <a:lnTo>
                    <a:pt x="138" y="230"/>
                  </a:lnTo>
                  <a:lnTo>
                    <a:pt x="138" y="236"/>
                  </a:lnTo>
                  <a:lnTo>
                    <a:pt x="136" y="240"/>
                  </a:lnTo>
                  <a:lnTo>
                    <a:pt x="132" y="244"/>
                  </a:lnTo>
                  <a:lnTo>
                    <a:pt x="128" y="246"/>
                  </a:lnTo>
                  <a:lnTo>
                    <a:pt x="11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38" y="25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146" y="330"/>
                  </a:lnTo>
                  <a:lnTo>
                    <a:pt x="146" y="330"/>
                  </a:lnTo>
                  <a:lnTo>
                    <a:pt x="166" y="328"/>
                  </a:lnTo>
                  <a:lnTo>
                    <a:pt x="176" y="324"/>
                  </a:lnTo>
                  <a:lnTo>
                    <a:pt x="186" y="320"/>
                  </a:lnTo>
                  <a:lnTo>
                    <a:pt x="196" y="314"/>
                  </a:lnTo>
                  <a:lnTo>
                    <a:pt x="206" y="306"/>
                  </a:lnTo>
                  <a:lnTo>
                    <a:pt x="214" y="296"/>
                  </a:lnTo>
                  <a:lnTo>
                    <a:pt x="220" y="284"/>
                  </a:lnTo>
                  <a:lnTo>
                    <a:pt x="220" y="390"/>
                  </a:lnTo>
                  <a:lnTo>
                    <a:pt x="320" y="390"/>
                  </a:lnTo>
                  <a:lnTo>
                    <a:pt x="320" y="284"/>
                  </a:lnTo>
                  <a:lnTo>
                    <a:pt x="320" y="284"/>
                  </a:lnTo>
                  <a:lnTo>
                    <a:pt x="326" y="296"/>
                  </a:lnTo>
                  <a:lnTo>
                    <a:pt x="334" y="306"/>
                  </a:lnTo>
                  <a:lnTo>
                    <a:pt x="342" y="314"/>
                  </a:lnTo>
                  <a:lnTo>
                    <a:pt x="352" y="320"/>
                  </a:lnTo>
                  <a:lnTo>
                    <a:pt x="362" y="324"/>
                  </a:lnTo>
                  <a:lnTo>
                    <a:pt x="372" y="328"/>
                  </a:lnTo>
                  <a:lnTo>
                    <a:pt x="392" y="330"/>
                  </a:lnTo>
                  <a:lnTo>
                    <a:pt x="392" y="330"/>
                  </a:lnTo>
                  <a:lnTo>
                    <a:pt x="500" y="330"/>
                  </a:lnTo>
                  <a:lnTo>
                    <a:pt x="500" y="250"/>
                  </a:lnTo>
                  <a:lnTo>
                    <a:pt x="500" y="250"/>
                  </a:lnTo>
                  <a:lnTo>
                    <a:pt x="432" y="250"/>
                  </a:lnTo>
                  <a:lnTo>
                    <a:pt x="432" y="250"/>
                  </a:lnTo>
                  <a:lnTo>
                    <a:pt x="422" y="250"/>
                  </a:lnTo>
                  <a:lnTo>
                    <a:pt x="412" y="246"/>
                  </a:lnTo>
                  <a:lnTo>
                    <a:pt x="408" y="244"/>
                  </a:lnTo>
                  <a:lnTo>
                    <a:pt x="404" y="240"/>
                  </a:lnTo>
                  <a:lnTo>
                    <a:pt x="402" y="236"/>
                  </a:lnTo>
                  <a:lnTo>
                    <a:pt x="400" y="230"/>
                  </a:lnTo>
                  <a:lnTo>
                    <a:pt x="400" y="230"/>
                  </a:lnTo>
                  <a:lnTo>
                    <a:pt x="402" y="218"/>
                  </a:lnTo>
                  <a:lnTo>
                    <a:pt x="410" y="204"/>
                  </a:lnTo>
                  <a:lnTo>
                    <a:pt x="420" y="192"/>
                  </a:lnTo>
                  <a:lnTo>
                    <a:pt x="432" y="178"/>
                  </a:lnTo>
                  <a:lnTo>
                    <a:pt x="462" y="152"/>
                  </a:lnTo>
                  <a:lnTo>
                    <a:pt x="492" y="130"/>
                  </a:lnTo>
                  <a:lnTo>
                    <a:pt x="382" y="130"/>
                  </a:lnTo>
                  <a:lnTo>
                    <a:pt x="382" y="130"/>
                  </a:lnTo>
                  <a:lnTo>
                    <a:pt x="364" y="144"/>
                  </a:lnTo>
                  <a:lnTo>
                    <a:pt x="346" y="160"/>
                  </a:lnTo>
                  <a:lnTo>
                    <a:pt x="330" y="176"/>
                  </a:lnTo>
                  <a:lnTo>
                    <a:pt x="324" y="186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20" y="50"/>
                  </a:lnTo>
                  <a:lnTo>
                    <a:pt x="22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5C38D3EF-421D-4733-83B1-0900F8CF8D4F}"/>
                </a:ext>
              </a:extLst>
            </p:cNvPr>
            <p:cNvGrpSpPr/>
            <p:nvPr/>
          </p:nvGrpSpPr>
          <p:grpSpPr>
            <a:xfrm>
              <a:off x="1314450" y="339725"/>
              <a:ext cx="5232400" cy="736600"/>
              <a:chOff x="1314450" y="339725"/>
              <a:chExt cx="5232400" cy="736600"/>
            </a:xfrm>
            <a:grpFill/>
          </p:grpSpPr>
          <p:sp>
            <p:nvSpPr>
              <p:cNvPr id="8" name="Freeform 9">
                <a:extLst>
                  <a:ext uri="{FF2B5EF4-FFF2-40B4-BE49-F238E27FC236}">
                    <a16:creationId xmlns:a16="http://schemas.microsoft.com/office/drawing/2014/main" id="{178FCD42-47FC-447D-BD4A-9F10D58E40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8175" y="352425"/>
                <a:ext cx="139700" cy="98425"/>
              </a:xfrm>
              <a:custGeom>
                <a:avLst/>
                <a:gdLst>
                  <a:gd name="T0" fmla="*/ 4 w 88"/>
                  <a:gd name="T1" fmla="*/ 0 h 62"/>
                  <a:gd name="T2" fmla="*/ 88 w 88"/>
                  <a:gd name="T3" fmla="*/ 0 h 62"/>
                  <a:gd name="T4" fmla="*/ 84 w 88"/>
                  <a:gd name="T5" fmla="*/ 62 h 62"/>
                  <a:gd name="T6" fmla="*/ 0 w 88"/>
                  <a:gd name="T7" fmla="*/ 62 h 62"/>
                  <a:gd name="T8" fmla="*/ 4 w 88"/>
                  <a:gd name="T9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" h="62">
                    <a:moveTo>
                      <a:pt x="4" y="0"/>
                    </a:moveTo>
                    <a:lnTo>
                      <a:pt x="88" y="0"/>
                    </a:lnTo>
                    <a:lnTo>
                      <a:pt x="84" y="62"/>
                    </a:lnTo>
                    <a:lnTo>
                      <a:pt x="0" y="6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" name="Freeform 10">
                <a:extLst>
                  <a:ext uri="{FF2B5EF4-FFF2-40B4-BE49-F238E27FC236}">
                    <a16:creationId xmlns:a16="http://schemas.microsoft.com/office/drawing/2014/main" id="{B36A55A5-7887-4C06-824A-733573BC88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97500" y="504825"/>
                <a:ext cx="393700" cy="393700"/>
              </a:xfrm>
              <a:custGeom>
                <a:avLst/>
                <a:gdLst>
                  <a:gd name="T0" fmla="*/ 152 w 248"/>
                  <a:gd name="T1" fmla="*/ 216 h 248"/>
                  <a:gd name="T2" fmla="*/ 138 w 248"/>
                  <a:gd name="T3" fmla="*/ 228 h 248"/>
                  <a:gd name="T4" fmla="*/ 112 w 248"/>
                  <a:gd name="T5" fmla="*/ 242 h 248"/>
                  <a:gd name="T6" fmla="*/ 92 w 248"/>
                  <a:gd name="T7" fmla="*/ 246 h 248"/>
                  <a:gd name="T8" fmla="*/ 80 w 248"/>
                  <a:gd name="T9" fmla="*/ 248 h 248"/>
                  <a:gd name="T10" fmla="*/ 44 w 248"/>
                  <a:gd name="T11" fmla="*/ 242 h 248"/>
                  <a:gd name="T12" fmla="*/ 18 w 248"/>
                  <a:gd name="T13" fmla="*/ 226 h 248"/>
                  <a:gd name="T14" fmla="*/ 4 w 248"/>
                  <a:gd name="T15" fmla="*/ 202 h 248"/>
                  <a:gd name="T16" fmla="*/ 0 w 248"/>
                  <a:gd name="T17" fmla="*/ 174 h 248"/>
                  <a:gd name="T18" fmla="*/ 2 w 248"/>
                  <a:gd name="T19" fmla="*/ 156 h 248"/>
                  <a:gd name="T20" fmla="*/ 20 w 248"/>
                  <a:gd name="T21" fmla="*/ 128 h 248"/>
                  <a:gd name="T22" fmla="*/ 54 w 248"/>
                  <a:gd name="T23" fmla="*/ 108 h 248"/>
                  <a:gd name="T24" fmla="*/ 104 w 248"/>
                  <a:gd name="T25" fmla="*/ 98 h 248"/>
                  <a:gd name="T26" fmla="*/ 162 w 248"/>
                  <a:gd name="T27" fmla="*/ 96 h 248"/>
                  <a:gd name="T28" fmla="*/ 164 w 248"/>
                  <a:gd name="T29" fmla="*/ 78 h 248"/>
                  <a:gd name="T30" fmla="*/ 162 w 248"/>
                  <a:gd name="T31" fmla="*/ 60 h 248"/>
                  <a:gd name="T32" fmla="*/ 154 w 248"/>
                  <a:gd name="T33" fmla="*/ 46 h 248"/>
                  <a:gd name="T34" fmla="*/ 136 w 248"/>
                  <a:gd name="T35" fmla="*/ 40 h 248"/>
                  <a:gd name="T36" fmla="*/ 126 w 248"/>
                  <a:gd name="T37" fmla="*/ 42 h 248"/>
                  <a:gd name="T38" fmla="*/ 114 w 248"/>
                  <a:gd name="T39" fmla="*/ 48 h 248"/>
                  <a:gd name="T40" fmla="*/ 106 w 248"/>
                  <a:gd name="T41" fmla="*/ 66 h 248"/>
                  <a:gd name="T42" fmla="*/ 22 w 248"/>
                  <a:gd name="T43" fmla="*/ 76 h 248"/>
                  <a:gd name="T44" fmla="*/ 24 w 248"/>
                  <a:gd name="T45" fmla="*/ 66 h 248"/>
                  <a:gd name="T46" fmla="*/ 28 w 248"/>
                  <a:gd name="T47" fmla="*/ 46 h 248"/>
                  <a:gd name="T48" fmla="*/ 38 w 248"/>
                  <a:gd name="T49" fmla="*/ 30 h 248"/>
                  <a:gd name="T50" fmla="*/ 54 w 248"/>
                  <a:gd name="T51" fmla="*/ 18 h 248"/>
                  <a:gd name="T52" fmla="*/ 62 w 248"/>
                  <a:gd name="T53" fmla="*/ 14 h 248"/>
                  <a:gd name="T54" fmla="*/ 102 w 248"/>
                  <a:gd name="T55" fmla="*/ 2 h 248"/>
                  <a:gd name="T56" fmla="*/ 144 w 248"/>
                  <a:gd name="T57" fmla="*/ 0 h 248"/>
                  <a:gd name="T58" fmla="*/ 164 w 248"/>
                  <a:gd name="T59" fmla="*/ 0 h 248"/>
                  <a:gd name="T60" fmla="*/ 200 w 248"/>
                  <a:gd name="T61" fmla="*/ 10 h 248"/>
                  <a:gd name="T62" fmla="*/ 230 w 248"/>
                  <a:gd name="T63" fmla="*/ 30 h 248"/>
                  <a:gd name="T64" fmla="*/ 240 w 248"/>
                  <a:gd name="T65" fmla="*/ 44 h 248"/>
                  <a:gd name="T66" fmla="*/ 246 w 248"/>
                  <a:gd name="T67" fmla="*/ 62 h 248"/>
                  <a:gd name="T68" fmla="*/ 248 w 248"/>
                  <a:gd name="T69" fmla="*/ 82 h 248"/>
                  <a:gd name="T70" fmla="*/ 242 w 248"/>
                  <a:gd name="T71" fmla="*/ 196 h 248"/>
                  <a:gd name="T72" fmla="*/ 242 w 248"/>
                  <a:gd name="T73" fmla="*/ 246 h 248"/>
                  <a:gd name="T74" fmla="*/ 152 w 248"/>
                  <a:gd name="T75" fmla="*/ 216 h 248"/>
                  <a:gd name="T76" fmla="*/ 114 w 248"/>
                  <a:gd name="T77" fmla="*/ 200 h 248"/>
                  <a:gd name="T78" fmla="*/ 138 w 248"/>
                  <a:gd name="T79" fmla="*/ 194 h 248"/>
                  <a:gd name="T80" fmla="*/ 152 w 248"/>
                  <a:gd name="T81" fmla="*/ 176 h 248"/>
                  <a:gd name="T82" fmla="*/ 158 w 248"/>
                  <a:gd name="T83" fmla="*/ 154 h 248"/>
                  <a:gd name="T84" fmla="*/ 160 w 248"/>
                  <a:gd name="T85" fmla="*/ 130 h 248"/>
                  <a:gd name="T86" fmla="*/ 122 w 248"/>
                  <a:gd name="T87" fmla="*/ 132 h 248"/>
                  <a:gd name="T88" fmla="*/ 110 w 248"/>
                  <a:gd name="T89" fmla="*/ 134 h 248"/>
                  <a:gd name="T90" fmla="*/ 94 w 248"/>
                  <a:gd name="T91" fmla="*/ 148 h 248"/>
                  <a:gd name="T92" fmla="*/ 86 w 248"/>
                  <a:gd name="T93" fmla="*/ 170 h 248"/>
                  <a:gd name="T94" fmla="*/ 86 w 248"/>
                  <a:gd name="T95" fmla="*/ 176 h 248"/>
                  <a:gd name="T96" fmla="*/ 92 w 248"/>
                  <a:gd name="T97" fmla="*/ 192 h 248"/>
                  <a:gd name="T98" fmla="*/ 102 w 248"/>
                  <a:gd name="T99" fmla="*/ 198 h 248"/>
                  <a:gd name="T100" fmla="*/ 114 w 248"/>
                  <a:gd name="T101" fmla="*/ 20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8" h="248">
                    <a:moveTo>
                      <a:pt x="152" y="216"/>
                    </a:moveTo>
                    <a:lnTo>
                      <a:pt x="152" y="216"/>
                    </a:lnTo>
                    <a:lnTo>
                      <a:pt x="152" y="216"/>
                    </a:lnTo>
                    <a:lnTo>
                      <a:pt x="138" y="228"/>
                    </a:lnTo>
                    <a:lnTo>
                      <a:pt x="122" y="238"/>
                    </a:lnTo>
                    <a:lnTo>
                      <a:pt x="112" y="242"/>
                    </a:lnTo>
                    <a:lnTo>
                      <a:pt x="102" y="246"/>
                    </a:lnTo>
                    <a:lnTo>
                      <a:pt x="92" y="246"/>
                    </a:lnTo>
                    <a:lnTo>
                      <a:pt x="80" y="248"/>
                    </a:lnTo>
                    <a:lnTo>
                      <a:pt x="80" y="248"/>
                    </a:lnTo>
                    <a:lnTo>
                      <a:pt x="60" y="246"/>
                    </a:lnTo>
                    <a:lnTo>
                      <a:pt x="44" y="242"/>
                    </a:lnTo>
                    <a:lnTo>
                      <a:pt x="30" y="234"/>
                    </a:lnTo>
                    <a:lnTo>
                      <a:pt x="18" y="226"/>
                    </a:lnTo>
                    <a:lnTo>
                      <a:pt x="10" y="216"/>
                    </a:lnTo>
                    <a:lnTo>
                      <a:pt x="4" y="202"/>
                    </a:lnTo>
                    <a:lnTo>
                      <a:pt x="0" y="188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2" y="156"/>
                    </a:lnTo>
                    <a:lnTo>
                      <a:pt x="8" y="142"/>
                    </a:lnTo>
                    <a:lnTo>
                      <a:pt x="20" y="128"/>
                    </a:lnTo>
                    <a:lnTo>
                      <a:pt x="34" y="116"/>
                    </a:lnTo>
                    <a:lnTo>
                      <a:pt x="54" y="108"/>
                    </a:lnTo>
                    <a:lnTo>
                      <a:pt x="76" y="102"/>
                    </a:lnTo>
                    <a:lnTo>
                      <a:pt x="104" y="98"/>
                    </a:lnTo>
                    <a:lnTo>
                      <a:pt x="134" y="96"/>
                    </a:lnTo>
                    <a:lnTo>
                      <a:pt x="162" y="96"/>
                    </a:lnTo>
                    <a:lnTo>
                      <a:pt x="162" y="96"/>
                    </a:lnTo>
                    <a:lnTo>
                      <a:pt x="164" y="78"/>
                    </a:lnTo>
                    <a:lnTo>
                      <a:pt x="164" y="70"/>
                    </a:lnTo>
                    <a:lnTo>
                      <a:pt x="162" y="60"/>
                    </a:lnTo>
                    <a:lnTo>
                      <a:pt x="160" y="52"/>
                    </a:lnTo>
                    <a:lnTo>
                      <a:pt x="154" y="46"/>
                    </a:lnTo>
                    <a:lnTo>
                      <a:pt x="146" y="42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26" y="42"/>
                    </a:lnTo>
                    <a:lnTo>
                      <a:pt x="120" y="44"/>
                    </a:lnTo>
                    <a:lnTo>
                      <a:pt x="114" y="48"/>
                    </a:lnTo>
                    <a:lnTo>
                      <a:pt x="110" y="54"/>
                    </a:lnTo>
                    <a:lnTo>
                      <a:pt x="106" y="66"/>
                    </a:lnTo>
                    <a:lnTo>
                      <a:pt x="104" y="76"/>
                    </a:lnTo>
                    <a:lnTo>
                      <a:pt x="22" y="76"/>
                    </a:lnTo>
                    <a:lnTo>
                      <a:pt x="22" y="76"/>
                    </a:lnTo>
                    <a:lnTo>
                      <a:pt x="24" y="66"/>
                    </a:lnTo>
                    <a:lnTo>
                      <a:pt x="26" y="54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38" y="30"/>
                    </a:lnTo>
                    <a:lnTo>
                      <a:pt x="46" y="24"/>
                    </a:lnTo>
                    <a:lnTo>
                      <a:pt x="54" y="18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2" y="6"/>
                    </a:lnTo>
                    <a:lnTo>
                      <a:pt x="102" y="2"/>
                    </a:lnTo>
                    <a:lnTo>
                      <a:pt x="124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64" y="0"/>
                    </a:lnTo>
                    <a:lnTo>
                      <a:pt x="182" y="4"/>
                    </a:lnTo>
                    <a:lnTo>
                      <a:pt x="200" y="10"/>
                    </a:lnTo>
                    <a:lnTo>
                      <a:pt x="216" y="18"/>
                    </a:lnTo>
                    <a:lnTo>
                      <a:pt x="230" y="30"/>
                    </a:lnTo>
                    <a:lnTo>
                      <a:pt x="236" y="38"/>
                    </a:lnTo>
                    <a:lnTo>
                      <a:pt x="240" y="44"/>
                    </a:lnTo>
                    <a:lnTo>
                      <a:pt x="244" y="52"/>
                    </a:lnTo>
                    <a:lnTo>
                      <a:pt x="246" y="62"/>
                    </a:lnTo>
                    <a:lnTo>
                      <a:pt x="248" y="72"/>
                    </a:lnTo>
                    <a:lnTo>
                      <a:pt x="248" y="82"/>
                    </a:lnTo>
                    <a:lnTo>
                      <a:pt x="242" y="196"/>
                    </a:lnTo>
                    <a:lnTo>
                      <a:pt x="242" y="196"/>
                    </a:lnTo>
                    <a:lnTo>
                      <a:pt x="240" y="214"/>
                    </a:lnTo>
                    <a:lnTo>
                      <a:pt x="242" y="246"/>
                    </a:lnTo>
                    <a:lnTo>
                      <a:pt x="158" y="246"/>
                    </a:lnTo>
                    <a:lnTo>
                      <a:pt x="152" y="216"/>
                    </a:lnTo>
                    <a:close/>
                    <a:moveTo>
                      <a:pt x="114" y="200"/>
                    </a:moveTo>
                    <a:lnTo>
                      <a:pt x="114" y="200"/>
                    </a:lnTo>
                    <a:lnTo>
                      <a:pt x="128" y="198"/>
                    </a:lnTo>
                    <a:lnTo>
                      <a:pt x="138" y="194"/>
                    </a:lnTo>
                    <a:lnTo>
                      <a:pt x="146" y="186"/>
                    </a:lnTo>
                    <a:lnTo>
                      <a:pt x="152" y="176"/>
                    </a:lnTo>
                    <a:lnTo>
                      <a:pt x="156" y="166"/>
                    </a:lnTo>
                    <a:lnTo>
                      <a:pt x="158" y="154"/>
                    </a:lnTo>
                    <a:lnTo>
                      <a:pt x="160" y="130"/>
                    </a:lnTo>
                    <a:lnTo>
                      <a:pt x="160" y="130"/>
                    </a:lnTo>
                    <a:lnTo>
                      <a:pt x="134" y="130"/>
                    </a:lnTo>
                    <a:lnTo>
                      <a:pt x="122" y="132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2" y="140"/>
                    </a:lnTo>
                    <a:lnTo>
                      <a:pt x="94" y="148"/>
                    </a:lnTo>
                    <a:lnTo>
                      <a:pt x="88" y="158"/>
                    </a:lnTo>
                    <a:lnTo>
                      <a:pt x="86" y="170"/>
                    </a:lnTo>
                    <a:lnTo>
                      <a:pt x="86" y="170"/>
                    </a:lnTo>
                    <a:lnTo>
                      <a:pt x="86" y="176"/>
                    </a:lnTo>
                    <a:lnTo>
                      <a:pt x="88" y="182"/>
                    </a:lnTo>
                    <a:lnTo>
                      <a:pt x="92" y="192"/>
                    </a:lnTo>
                    <a:lnTo>
                      <a:pt x="96" y="194"/>
                    </a:lnTo>
                    <a:lnTo>
                      <a:pt x="102" y="198"/>
                    </a:lnTo>
                    <a:lnTo>
                      <a:pt x="108" y="200"/>
                    </a:lnTo>
                    <a:lnTo>
                      <a:pt x="114" y="200"/>
                    </a:lnTo>
                    <a:lnTo>
                      <a:pt x="114" y="2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Freeform 11">
                <a:extLst>
                  <a:ext uri="{FF2B5EF4-FFF2-40B4-BE49-F238E27FC236}">
                    <a16:creationId xmlns:a16="http://schemas.microsoft.com/office/drawing/2014/main" id="{18AC3A23-EF36-4D81-ABDC-389239B5C0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92825" y="352425"/>
                <a:ext cx="454025" cy="542925"/>
              </a:xfrm>
              <a:custGeom>
                <a:avLst/>
                <a:gdLst>
                  <a:gd name="T0" fmla="*/ 0 w 286"/>
                  <a:gd name="T1" fmla="*/ 342 h 342"/>
                  <a:gd name="T2" fmla="*/ 24 w 286"/>
                  <a:gd name="T3" fmla="*/ 0 h 342"/>
                  <a:gd name="T4" fmla="*/ 114 w 286"/>
                  <a:gd name="T5" fmla="*/ 0 h 342"/>
                  <a:gd name="T6" fmla="*/ 90 w 286"/>
                  <a:gd name="T7" fmla="*/ 342 h 342"/>
                  <a:gd name="T8" fmla="*/ 0 w 286"/>
                  <a:gd name="T9" fmla="*/ 342 h 342"/>
                  <a:gd name="T10" fmla="*/ 100 w 286"/>
                  <a:gd name="T11" fmla="*/ 210 h 342"/>
                  <a:gd name="T12" fmla="*/ 184 w 286"/>
                  <a:gd name="T13" fmla="*/ 104 h 342"/>
                  <a:gd name="T14" fmla="*/ 286 w 286"/>
                  <a:gd name="T15" fmla="*/ 104 h 342"/>
                  <a:gd name="T16" fmla="*/ 194 w 286"/>
                  <a:gd name="T17" fmla="*/ 204 h 342"/>
                  <a:gd name="T18" fmla="*/ 282 w 286"/>
                  <a:gd name="T19" fmla="*/ 342 h 342"/>
                  <a:gd name="T20" fmla="*/ 170 w 286"/>
                  <a:gd name="T21" fmla="*/ 342 h 342"/>
                  <a:gd name="T22" fmla="*/ 100 w 286"/>
                  <a:gd name="T23" fmla="*/ 21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6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4" y="0"/>
                    </a:lnTo>
                    <a:lnTo>
                      <a:pt x="90" y="342"/>
                    </a:lnTo>
                    <a:lnTo>
                      <a:pt x="0" y="342"/>
                    </a:lnTo>
                    <a:close/>
                    <a:moveTo>
                      <a:pt x="100" y="210"/>
                    </a:moveTo>
                    <a:lnTo>
                      <a:pt x="184" y="104"/>
                    </a:lnTo>
                    <a:lnTo>
                      <a:pt x="286" y="104"/>
                    </a:lnTo>
                    <a:lnTo>
                      <a:pt x="194" y="204"/>
                    </a:lnTo>
                    <a:lnTo>
                      <a:pt x="282" y="342"/>
                    </a:lnTo>
                    <a:lnTo>
                      <a:pt x="170" y="342"/>
                    </a:lnTo>
                    <a:lnTo>
                      <a:pt x="10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Freeform 12">
                <a:extLst>
                  <a:ext uri="{FF2B5EF4-FFF2-40B4-BE49-F238E27FC236}">
                    <a16:creationId xmlns:a16="http://schemas.microsoft.com/office/drawing/2014/main" id="{A66A789A-EF0F-415C-92FD-D43843D9E7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6800" y="517525"/>
                <a:ext cx="292100" cy="377825"/>
              </a:xfrm>
              <a:custGeom>
                <a:avLst/>
                <a:gdLst>
                  <a:gd name="T0" fmla="*/ 104 w 184"/>
                  <a:gd name="T1" fmla="*/ 34 h 238"/>
                  <a:gd name="T2" fmla="*/ 106 w 184"/>
                  <a:gd name="T3" fmla="*/ 34 h 238"/>
                  <a:gd name="T4" fmla="*/ 106 w 184"/>
                  <a:gd name="T5" fmla="*/ 34 h 238"/>
                  <a:gd name="T6" fmla="*/ 114 w 184"/>
                  <a:gd name="T7" fmla="*/ 24 h 238"/>
                  <a:gd name="T8" fmla="*/ 124 w 184"/>
                  <a:gd name="T9" fmla="*/ 16 h 238"/>
                  <a:gd name="T10" fmla="*/ 132 w 184"/>
                  <a:gd name="T11" fmla="*/ 10 h 238"/>
                  <a:gd name="T12" fmla="*/ 142 w 184"/>
                  <a:gd name="T13" fmla="*/ 6 h 238"/>
                  <a:gd name="T14" fmla="*/ 152 w 184"/>
                  <a:gd name="T15" fmla="*/ 4 h 238"/>
                  <a:gd name="T16" fmla="*/ 162 w 184"/>
                  <a:gd name="T17" fmla="*/ 2 h 238"/>
                  <a:gd name="T18" fmla="*/ 184 w 184"/>
                  <a:gd name="T19" fmla="*/ 0 h 238"/>
                  <a:gd name="T20" fmla="*/ 178 w 184"/>
                  <a:gd name="T21" fmla="*/ 76 h 238"/>
                  <a:gd name="T22" fmla="*/ 178 w 184"/>
                  <a:gd name="T23" fmla="*/ 76 h 238"/>
                  <a:gd name="T24" fmla="*/ 160 w 184"/>
                  <a:gd name="T25" fmla="*/ 76 h 238"/>
                  <a:gd name="T26" fmla="*/ 160 w 184"/>
                  <a:gd name="T27" fmla="*/ 76 h 238"/>
                  <a:gd name="T28" fmla="*/ 140 w 184"/>
                  <a:gd name="T29" fmla="*/ 78 h 238"/>
                  <a:gd name="T30" fmla="*/ 126 w 184"/>
                  <a:gd name="T31" fmla="*/ 82 h 238"/>
                  <a:gd name="T32" fmla="*/ 116 w 184"/>
                  <a:gd name="T33" fmla="*/ 88 h 238"/>
                  <a:gd name="T34" fmla="*/ 108 w 184"/>
                  <a:gd name="T35" fmla="*/ 98 h 238"/>
                  <a:gd name="T36" fmla="*/ 102 w 184"/>
                  <a:gd name="T37" fmla="*/ 108 h 238"/>
                  <a:gd name="T38" fmla="*/ 100 w 184"/>
                  <a:gd name="T39" fmla="*/ 120 h 238"/>
                  <a:gd name="T40" fmla="*/ 98 w 184"/>
                  <a:gd name="T41" fmla="*/ 148 h 238"/>
                  <a:gd name="T42" fmla="*/ 92 w 184"/>
                  <a:gd name="T43" fmla="*/ 238 h 238"/>
                  <a:gd name="T44" fmla="*/ 0 w 184"/>
                  <a:gd name="T45" fmla="*/ 238 h 238"/>
                  <a:gd name="T46" fmla="*/ 12 w 184"/>
                  <a:gd name="T47" fmla="*/ 62 h 238"/>
                  <a:gd name="T48" fmla="*/ 12 w 184"/>
                  <a:gd name="T49" fmla="*/ 62 h 238"/>
                  <a:gd name="T50" fmla="*/ 14 w 184"/>
                  <a:gd name="T51" fmla="*/ 32 h 238"/>
                  <a:gd name="T52" fmla="*/ 14 w 184"/>
                  <a:gd name="T53" fmla="*/ 0 h 238"/>
                  <a:gd name="T54" fmla="*/ 102 w 184"/>
                  <a:gd name="T55" fmla="*/ 0 h 238"/>
                  <a:gd name="T56" fmla="*/ 104 w 184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4" h="238">
                    <a:moveTo>
                      <a:pt x="104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4" y="24"/>
                    </a:lnTo>
                    <a:lnTo>
                      <a:pt x="124" y="16"/>
                    </a:lnTo>
                    <a:lnTo>
                      <a:pt x="132" y="10"/>
                    </a:lnTo>
                    <a:lnTo>
                      <a:pt x="142" y="6"/>
                    </a:lnTo>
                    <a:lnTo>
                      <a:pt x="152" y="4"/>
                    </a:lnTo>
                    <a:lnTo>
                      <a:pt x="162" y="2"/>
                    </a:lnTo>
                    <a:lnTo>
                      <a:pt x="184" y="0"/>
                    </a:lnTo>
                    <a:lnTo>
                      <a:pt x="178" y="76"/>
                    </a:lnTo>
                    <a:lnTo>
                      <a:pt x="178" y="76"/>
                    </a:lnTo>
                    <a:lnTo>
                      <a:pt x="160" y="76"/>
                    </a:lnTo>
                    <a:lnTo>
                      <a:pt x="160" y="76"/>
                    </a:lnTo>
                    <a:lnTo>
                      <a:pt x="140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2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4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13">
                <a:extLst>
                  <a:ext uri="{FF2B5EF4-FFF2-40B4-BE49-F238E27FC236}">
                    <a16:creationId xmlns:a16="http://schemas.microsoft.com/office/drawing/2014/main" id="{73E39B2D-ADB7-4D1D-B21F-D326D5344E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9375" y="352425"/>
                <a:ext cx="174625" cy="542925"/>
              </a:xfrm>
              <a:custGeom>
                <a:avLst/>
                <a:gdLst>
                  <a:gd name="T0" fmla="*/ 0 w 110"/>
                  <a:gd name="T1" fmla="*/ 342 h 342"/>
                  <a:gd name="T2" fmla="*/ 24 w 110"/>
                  <a:gd name="T3" fmla="*/ 0 h 342"/>
                  <a:gd name="T4" fmla="*/ 110 w 110"/>
                  <a:gd name="T5" fmla="*/ 0 h 342"/>
                  <a:gd name="T6" fmla="*/ 86 w 110"/>
                  <a:gd name="T7" fmla="*/ 342 h 342"/>
                  <a:gd name="T8" fmla="*/ 0 w 110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0" y="0"/>
                    </a:lnTo>
                    <a:lnTo>
                      <a:pt x="86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14">
                <a:extLst>
                  <a:ext uri="{FF2B5EF4-FFF2-40B4-BE49-F238E27FC236}">
                    <a16:creationId xmlns:a16="http://schemas.microsoft.com/office/drawing/2014/main" id="{4F96BB26-4B10-440D-9F9C-1E45EE302A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40025" y="352425"/>
                <a:ext cx="438150" cy="546100"/>
              </a:xfrm>
              <a:custGeom>
                <a:avLst/>
                <a:gdLst>
                  <a:gd name="T0" fmla="*/ 112 w 276"/>
                  <a:gd name="T1" fmla="*/ 0 h 344"/>
                  <a:gd name="T2" fmla="*/ 104 w 276"/>
                  <a:gd name="T3" fmla="*/ 136 h 344"/>
                  <a:gd name="T4" fmla="*/ 120 w 276"/>
                  <a:gd name="T5" fmla="*/ 122 h 344"/>
                  <a:gd name="T6" fmla="*/ 146 w 276"/>
                  <a:gd name="T7" fmla="*/ 104 h 344"/>
                  <a:gd name="T8" fmla="*/ 168 w 276"/>
                  <a:gd name="T9" fmla="*/ 98 h 344"/>
                  <a:gd name="T10" fmla="*/ 180 w 276"/>
                  <a:gd name="T11" fmla="*/ 98 h 344"/>
                  <a:gd name="T12" fmla="*/ 206 w 276"/>
                  <a:gd name="T13" fmla="*/ 100 h 344"/>
                  <a:gd name="T14" fmla="*/ 226 w 276"/>
                  <a:gd name="T15" fmla="*/ 108 h 344"/>
                  <a:gd name="T16" fmla="*/ 244 w 276"/>
                  <a:gd name="T17" fmla="*/ 120 h 344"/>
                  <a:gd name="T18" fmla="*/ 258 w 276"/>
                  <a:gd name="T19" fmla="*/ 136 h 344"/>
                  <a:gd name="T20" fmla="*/ 274 w 276"/>
                  <a:gd name="T21" fmla="*/ 176 h 344"/>
                  <a:gd name="T22" fmla="*/ 276 w 276"/>
                  <a:gd name="T23" fmla="*/ 220 h 344"/>
                  <a:gd name="T24" fmla="*/ 274 w 276"/>
                  <a:gd name="T25" fmla="*/ 242 h 344"/>
                  <a:gd name="T26" fmla="*/ 260 w 276"/>
                  <a:gd name="T27" fmla="*/ 284 h 344"/>
                  <a:gd name="T28" fmla="*/ 240 w 276"/>
                  <a:gd name="T29" fmla="*/ 312 h 344"/>
                  <a:gd name="T30" fmla="*/ 222 w 276"/>
                  <a:gd name="T31" fmla="*/ 328 h 344"/>
                  <a:gd name="T32" fmla="*/ 202 w 276"/>
                  <a:gd name="T33" fmla="*/ 338 h 344"/>
                  <a:gd name="T34" fmla="*/ 176 w 276"/>
                  <a:gd name="T35" fmla="*/ 344 h 344"/>
                  <a:gd name="T36" fmla="*/ 160 w 276"/>
                  <a:gd name="T37" fmla="*/ 344 h 344"/>
                  <a:gd name="T38" fmla="*/ 140 w 276"/>
                  <a:gd name="T39" fmla="*/ 342 h 344"/>
                  <a:gd name="T40" fmla="*/ 106 w 276"/>
                  <a:gd name="T41" fmla="*/ 324 h 344"/>
                  <a:gd name="T42" fmla="*/ 92 w 276"/>
                  <a:gd name="T43" fmla="*/ 312 h 344"/>
                  <a:gd name="T44" fmla="*/ 0 w 276"/>
                  <a:gd name="T45" fmla="*/ 342 h 344"/>
                  <a:gd name="T46" fmla="*/ 94 w 276"/>
                  <a:gd name="T47" fmla="*/ 226 h 344"/>
                  <a:gd name="T48" fmla="*/ 96 w 276"/>
                  <a:gd name="T49" fmla="*/ 250 h 344"/>
                  <a:gd name="T50" fmla="*/ 102 w 276"/>
                  <a:gd name="T51" fmla="*/ 272 h 344"/>
                  <a:gd name="T52" fmla="*/ 114 w 276"/>
                  <a:gd name="T53" fmla="*/ 288 h 344"/>
                  <a:gd name="T54" fmla="*/ 134 w 276"/>
                  <a:gd name="T55" fmla="*/ 296 h 344"/>
                  <a:gd name="T56" fmla="*/ 148 w 276"/>
                  <a:gd name="T57" fmla="*/ 294 h 344"/>
                  <a:gd name="T58" fmla="*/ 168 w 276"/>
                  <a:gd name="T59" fmla="*/ 282 h 344"/>
                  <a:gd name="T60" fmla="*/ 180 w 276"/>
                  <a:gd name="T61" fmla="*/ 260 h 344"/>
                  <a:gd name="T62" fmla="*/ 186 w 276"/>
                  <a:gd name="T63" fmla="*/ 222 h 344"/>
                  <a:gd name="T64" fmla="*/ 186 w 276"/>
                  <a:gd name="T65" fmla="*/ 198 h 344"/>
                  <a:gd name="T66" fmla="*/ 180 w 276"/>
                  <a:gd name="T67" fmla="*/ 174 h 344"/>
                  <a:gd name="T68" fmla="*/ 168 w 276"/>
                  <a:gd name="T69" fmla="*/ 156 h 344"/>
                  <a:gd name="T70" fmla="*/ 146 w 276"/>
                  <a:gd name="T71" fmla="*/ 150 h 344"/>
                  <a:gd name="T72" fmla="*/ 132 w 276"/>
                  <a:gd name="T73" fmla="*/ 152 h 344"/>
                  <a:gd name="T74" fmla="*/ 112 w 276"/>
                  <a:gd name="T75" fmla="*/ 166 h 344"/>
                  <a:gd name="T76" fmla="*/ 100 w 276"/>
                  <a:gd name="T77" fmla="*/ 188 h 344"/>
                  <a:gd name="T78" fmla="*/ 94 w 276"/>
                  <a:gd name="T79" fmla="*/ 226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6" h="344">
                    <a:moveTo>
                      <a:pt x="24" y="0"/>
                    </a:moveTo>
                    <a:lnTo>
                      <a:pt x="112" y="0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20" y="122"/>
                    </a:lnTo>
                    <a:lnTo>
                      <a:pt x="138" y="108"/>
                    </a:lnTo>
                    <a:lnTo>
                      <a:pt x="146" y="104"/>
                    </a:lnTo>
                    <a:lnTo>
                      <a:pt x="158" y="100"/>
                    </a:lnTo>
                    <a:lnTo>
                      <a:pt x="168" y="98"/>
                    </a:lnTo>
                    <a:lnTo>
                      <a:pt x="180" y="98"/>
                    </a:lnTo>
                    <a:lnTo>
                      <a:pt x="180" y="98"/>
                    </a:lnTo>
                    <a:lnTo>
                      <a:pt x="194" y="98"/>
                    </a:lnTo>
                    <a:lnTo>
                      <a:pt x="206" y="100"/>
                    </a:lnTo>
                    <a:lnTo>
                      <a:pt x="216" y="104"/>
                    </a:lnTo>
                    <a:lnTo>
                      <a:pt x="226" y="108"/>
                    </a:lnTo>
                    <a:lnTo>
                      <a:pt x="236" y="114"/>
                    </a:lnTo>
                    <a:lnTo>
                      <a:pt x="244" y="120"/>
                    </a:lnTo>
                    <a:lnTo>
                      <a:pt x="250" y="128"/>
                    </a:lnTo>
                    <a:lnTo>
                      <a:pt x="258" y="136"/>
                    </a:lnTo>
                    <a:lnTo>
                      <a:pt x="266" y="156"/>
                    </a:lnTo>
                    <a:lnTo>
                      <a:pt x="274" y="176"/>
                    </a:lnTo>
                    <a:lnTo>
                      <a:pt x="276" y="198"/>
                    </a:lnTo>
                    <a:lnTo>
                      <a:pt x="276" y="220"/>
                    </a:lnTo>
                    <a:lnTo>
                      <a:pt x="276" y="220"/>
                    </a:lnTo>
                    <a:lnTo>
                      <a:pt x="274" y="242"/>
                    </a:lnTo>
                    <a:lnTo>
                      <a:pt x="268" y="264"/>
                    </a:lnTo>
                    <a:lnTo>
                      <a:pt x="260" y="284"/>
                    </a:lnTo>
                    <a:lnTo>
                      <a:pt x="248" y="304"/>
                    </a:lnTo>
                    <a:lnTo>
                      <a:pt x="240" y="312"/>
                    </a:lnTo>
                    <a:lnTo>
                      <a:pt x="232" y="320"/>
                    </a:lnTo>
                    <a:lnTo>
                      <a:pt x="222" y="328"/>
                    </a:lnTo>
                    <a:lnTo>
                      <a:pt x="212" y="334"/>
                    </a:lnTo>
                    <a:lnTo>
                      <a:pt x="202" y="338"/>
                    </a:lnTo>
                    <a:lnTo>
                      <a:pt x="188" y="342"/>
                    </a:lnTo>
                    <a:lnTo>
                      <a:pt x="176" y="344"/>
                    </a:lnTo>
                    <a:lnTo>
                      <a:pt x="160" y="344"/>
                    </a:lnTo>
                    <a:lnTo>
                      <a:pt x="160" y="344"/>
                    </a:lnTo>
                    <a:lnTo>
                      <a:pt x="150" y="344"/>
                    </a:lnTo>
                    <a:lnTo>
                      <a:pt x="140" y="342"/>
                    </a:lnTo>
                    <a:lnTo>
                      <a:pt x="122" y="336"/>
                    </a:lnTo>
                    <a:lnTo>
                      <a:pt x="106" y="324"/>
                    </a:lnTo>
                    <a:lnTo>
                      <a:pt x="94" y="312"/>
                    </a:lnTo>
                    <a:lnTo>
                      <a:pt x="92" y="312"/>
                    </a:lnTo>
                    <a:lnTo>
                      <a:pt x="88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  <a:moveTo>
                      <a:pt x="94" y="226"/>
                    </a:moveTo>
                    <a:lnTo>
                      <a:pt x="94" y="226"/>
                    </a:lnTo>
                    <a:lnTo>
                      <a:pt x="96" y="250"/>
                    </a:lnTo>
                    <a:lnTo>
                      <a:pt x="98" y="260"/>
                    </a:lnTo>
                    <a:lnTo>
                      <a:pt x="102" y="272"/>
                    </a:lnTo>
                    <a:lnTo>
                      <a:pt x="106" y="282"/>
                    </a:lnTo>
                    <a:lnTo>
                      <a:pt x="114" y="288"/>
                    </a:lnTo>
                    <a:lnTo>
                      <a:pt x="122" y="294"/>
                    </a:lnTo>
                    <a:lnTo>
                      <a:pt x="134" y="296"/>
                    </a:lnTo>
                    <a:lnTo>
                      <a:pt x="134" y="296"/>
                    </a:lnTo>
                    <a:lnTo>
                      <a:pt x="148" y="294"/>
                    </a:lnTo>
                    <a:lnTo>
                      <a:pt x="158" y="288"/>
                    </a:lnTo>
                    <a:lnTo>
                      <a:pt x="168" y="282"/>
                    </a:lnTo>
                    <a:lnTo>
                      <a:pt x="174" y="272"/>
                    </a:lnTo>
                    <a:lnTo>
                      <a:pt x="180" y="260"/>
                    </a:lnTo>
                    <a:lnTo>
                      <a:pt x="184" y="248"/>
                    </a:lnTo>
                    <a:lnTo>
                      <a:pt x="186" y="222"/>
                    </a:lnTo>
                    <a:lnTo>
                      <a:pt x="186" y="222"/>
                    </a:lnTo>
                    <a:lnTo>
                      <a:pt x="186" y="198"/>
                    </a:lnTo>
                    <a:lnTo>
                      <a:pt x="184" y="186"/>
                    </a:lnTo>
                    <a:lnTo>
                      <a:pt x="180" y="174"/>
                    </a:lnTo>
                    <a:lnTo>
                      <a:pt x="176" y="164"/>
                    </a:lnTo>
                    <a:lnTo>
                      <a:pt x="168" y="156"/>
                    </a:lnTo>
                    <a:lnTo>
                      <a:pt x="158" y="152"/>
                    </a:lnTo>
                    <a:lnTo>
                      <a:pt x="146" y="150"/>
                    </a:lnTo>
                    <a:lnTo>
                      <a:pt x="146" y="150"/>
                    </a:lnTo>
                    <a:lnTo>
                      <a:pt x="132" y="152"/>
                    </a:lnTo>
                    <a:lnTo>
                      <a:pt x="120" y="156"/>
                    </a:lnTo>
                    <a:lnTo>
                      <a:pt x="112" y="166"/>
                    </a:lnTo>
                    <a:lnTo>
                      <a:pt x="104" y="176"/>
                    </a:lnTo>
                    <a:lnTo>
                      <a:pt x="100" y="188"/>
                    </a:lnTo>
                    <a:lnTo>
                      <a:pt x="98" y="200"/>
                    </a:lnTo>
                    <a:lnTo>
                      <a:pt x="94" y="226"/>
                    </a:lnTo>
                    <a:lnTo>
                      <a:pt x="94" y="2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15">
                <a:extLst>
                  <a:ext uri="{FF2B5EF4-FFF2-40B4-BE49-F238E27FC236}">
                    <a16:creationId xmlns:a16="http://schemas.microsoft.com/office/drawing/2014/main" id="{752DA0B4-A9DF-4355-942F-1900725767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97225" y="504825"/>
                <a:ext cx="406400" cy="396875"/>
              </a:xfrm>
              <a:custGeom>
                <a:avLst/>
                <a:gdLst>
                  <a:gd name="T0" fmla="*/ 86 w 256"/>
                  <a:gd name="T1" fmla="*/ 142 h 250"/>
                  <a:gd name="T2" fmla="*/ 86 w 256"/>
                  <a:gd name="T3" fmla="*/ 166 h 250"/>
                  <a:gd name="T4" fmla="*/ 90 w 256"/>
                  <a:gd name="T5" fmla="*/ 184 h 250"/>
                  <a:gd name="T6" fmla="*/ 102 w 256"/>
                  <a:gd name="T7" fmla="*/ 196 h 250"/>
                  <a:gd name="T8" fmla="*/ 124 w 256"/>
                  <a:gd name="T9" fmla="*/ 202 h 250"/>
                  <a:gd name="T10" fmla="*/ 132 w 256"/>
                  <a:gd name="T11" fmla="*/ 200 h 250"/>
                  <a:gd name="T12" fmla="*/ 148 w 256"/>
                  <a:gd name="T13" fmla="*/ 196 h 250"/>
                  <a:gd name="T14" fmla="*/ 158 w 256"/>
                  <a:gd name="T15" fmla="*/ 186 h 250"/>
                  <a:gd name="T16" fmla="*/ 164 w 256"/>
                  <a:gd name="T17" fmla="*/ 174 h 250"/>
                  <a:gd name="T18" fmla="*/ 248 w 256"/>
                  <a:gd name="T19" fmla="*/ 170 h 250"/>
                  <a:gd name="T20" fmla="*/ 246 w 256"/>
                  <a:gd name="T21" fmla="*/ 180 h 250"/>
                  <a:gd name="T22" fmla="*/ 238 w 256"/>
                  <a:gd name="T23" fmla="*/ 198 h 250"/>
                  <a:gd name="T24" fmla="*/ 218 w 256"/>
                  <a:gd name="T25" fmla="*/ 222 h 250"/>
                  <a:gd name="T26" fmla="*/ 202 w 256"/>
                  <a:gd name="T27" fmla="*/ 234 h 250"/>
                  <a:gd name="T28" fmla="*/ 168 w 256"/>
                  <a:gd name="T29" fmla="*/ 246 h 250"/>
                  <a:gd name="T30" fmla="*/ 128 w 256"/>
                  <a:gd name="T31" fmla="*/ 250 h 250"/>
                  <a:gd name="T32" fmla="*/ 96 w 256"/>
                  <a:gd name="T33" fmla="*/ 248 h 250"/>
                  <a:gd name="T34" fmla="*/ 66 w 256"/>
                  <a:gd name="T35" fmla="*/ 242 h 250"/>
                  <a:gd name="T36" fmla="*/ 44 w 256"/>
                  <a:gd name="T37" fmla="*/ 232 h 250"/>
                  <a:gd name="T38" fmla="*/ 26 w 256"/>
                  <a:gd name="T39" fmla="*/ 218 h 250"/>
                  <a:gd name="T40" fmla="*/ 12 w 256"/>
                  <a:gd name="T41" fmla="*/ 200 h 250"/>
                  <a:gd name="T42" fmla="*/ 4 w 256"/>
                  <a:gd name="T43" fmla="*/ 178 h 250"/>
                  <a:gd name="T44" fmla="*/ 0 w 256"/>
                  <a:gd name="T45" fmla="*/ 150 h 250"/>
                  <a:gd name="T46" fmla="*/ 0 w 256"/>
                  <a:gd name="T47" fmla="*/ 118 h 250"/>
                  <a:gd name="T48" fmla="*/ 4 w 256"/>
                  <a:gd name="T49" fmla="*/ 92 h 250"/>
                  <a:gd name="T50" fmla="*/ 14 w 256"/>
                  <a:gd name="T51" fmla="*/ 68 h 250"/>
                  <a:gd name="T52" fmla="*/ 26 w 256"/>
                  <a:gd name="T53" fmla="*/ 48 h 250"/>
                  <a:gd name="T54" fmla="*/ 44 w 256"/>
                  <a:gd name="T55" fmla="*/ 32 h 250"/>
                  <a:gd name="T56" fmla="*/ 86 w 256"/>
                  <a:gd name="T57" fmla="*/ 8 h 250"/>
                  <a:gd name="T58" fmla="*/ 138 w 256"/>
                  <a:gd name="T59" fmla="*/ 0 h 250"/>
                  <a:gd name="T60" fmla="*/ 154 w 256"/>
                  <a:gd name="T61" fmla="*/ 2 h 250"/>
                  <a:gd name="T62" fmla="*/ 184 w 256"/>
                  <a:gd name="T63" fmla="*/ 6 h 250"/>
                  <a:gd name="T64" fmla="*/ 208 w 256"/>
                  <a:gd name="T65" fmla="*/ 18 h 250"/>
                  <a:gd name="T66" fmla="*/ 228 w 256"/>
                  <a:gd name="T67" fmla="*/ 32 h 250"/>
                  <a:gd name="T68" fmla="*/ 242 w 256"/>
                  <a:gd name="T69" fmla="*/ 50 h 250"/>
                  <a:gd name="T70" fmla="*/ 250 w 256"/>
                  <a:gd name="T71" fmla="*/ 72 h 250"/>
                  <a:gd name="T72" fmla="*/ 256 w 256"/>
                  <a:gd name="T73" fmla="*/ 112 h 250"/>
                  <a:gd name="T74" fmla="*/ 86 w 256"/>
                  <a:gd name="T75" fmla="*/ 142 h 250"/>
                  <a:gd name="T76" fmla="*/ 172 w 256"/>
                  <a:gd name="T77" fmla="*/ 98 h 250"/>
                  <a:gd name="T78" fmla="*/ 170 w 256"/>
                  <a:gd name="T79" fmla="*/ 78 h 250"/>
                  <a:gd name="T80" fmla="*/ 164 w 256"/>
                  <a:gd name="T81" fmla="*/ 62 h 250"/>
                  <a:gd name="T82" fmla="*/ 158 w 256"/>
                  <a:gd name="T83" fmla="*/ 56 h 250"/>
                  <a:gd name="T84" fmla="*/ 142 w 256"/>
                  <a:gd name="T85" fmla="*/ 48 h 250"/>
                  <a:gd name="T86" fmla="*/ 134 w 256"/>
                  <a:gd name="T87" fmla="*/ 46 h 250"/>
                  <a:gd name="T88" fmla="*/ 114 w 256"/>
                  <a:gd name="T89" fmla="*/ 52 h 250"/>
                  <a:gd name="T90" fmla="*/ 102 w 256"/>
                  <a:gd name="T91" fmla="*/ 62 h 250"/>
                  <a:gd name="T92" fmla="*/ 94 w 256"/>
                  <a:gd name="T93" fmla="*/ 78 h 250"/>
                  <a:gd name="T94" fmla="*/ 172 w 256"/>
                  <a:gd name="T95" fmla="*/ 98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6" h="250">
                    <a:moveTo>
                      <a:pt x="86" y="142"/>
                    </a:moveTo>
                    <a:lnTo>
                      <a:pt x="86" y="142"/>
                    </a:lnTo>
                    <a:lnTo>
                      <a:pt x="84" y="154"/>
                    </a:lnTo>
                    <a:lnTo>
                      <a:pt x="86" y="166"/>
                    </a:lnTo>
                    <a:lnTo>
                      <a:pt x="88" y="176"/>
                    </a:lnTo>
                    <a:lnTo>
                      <a:pt x="90" y="184"/>
                    </a:lnTo>
                    <a:lnTo>
                      <a:pt x="96" y="192"/>
                    </a:lnTo>
                    <a:lnTo>
                      <a:pt x="102" y="196"/>
                    </a:lnTo>
                    <a:lnTo>
                      <a:pt x="112" y="200"/>
                    </a:lnTo>
                    <a:lnTo>
                      <a:pt x="124" y="202"/>
                    </a:lnTo>
                    <a:lnTo>
                      <a:pt x="124" y="202"/>
                    </a:lnTo>
                    <a:lnTo>
                      <a:pt x="132" y="200"/>
                    </a:lnTo>
                    <a:lnTo>
                      <a:pt x="140" y="198"/>
                    </a:lnTo>
                    <a:lnTo>
                      <a:pt x="148" y="196"/>
                    </a:lnTo>
                    <a:lnTo>
                      <a:pt x="154" y="192"/>
                    </a:lnTo>
                    <a:lnTo>
                      <a:pt x="158" y="186"/>
                    </a:lnTo>
                    <a:lnTo>
                      <a:pt x="162" y="180"/>
                    </a:lnTo>
                    <a:lnTo>
                      <a:pt x="164" y="174"/>
                    </a:lnTo>
                    <a:lnTo>
                      <a:pt x="164" y="170"/>
                    </a:lnTo>
                    <a:lnTo>
                      <a:pt x="248" y="170"/>
                    </a:lnTo>
                    <a:lnTo>
                      <a:pt x="248" y="170"/>
                    </a:lnTo>
                    <a:lnTo>
                      <a:pt x="246" y="180"/>
                    </a:lnTo>
                    <a:lnTo>
                      <a:pt x="242" y="190"/>
                    </a:lnTo>
                    <a:lnTo>
                      <a:pt x="238" y="198"/>
                    </a:lnTo>
                    <a:lnTo>
                      <a:pt x="232" y="208"/>
                    </a:lnTo>
                    <a:lnTo>
                      <a:pt x="218" y="222"/>
                    </a:lnTo>
                    <a:lnTo>
                      <a:pt x="202" y="234"/>
                    </a:lnTo>
                    <a:lnTo>
                      <a:pt x="202" y="234"/>
                    </a:lnTo>
                    <a:lnTo>
                      <a:pt x="186" y="242"/>
                    </a:lnTo>
                    <a:lnTo>
                      <a:pt x="168" y="246"/>
                    </a:lnTo>
                    <a:lnTo>
                      <a:pt x="148" y="248"/>
                    </a:lnTo>
                    <a:lnTo>
                      <a:pt x="128" y="250"/>
                    </a:lnTo>
                    <a:lnTo>
                      <a:pt x="128" y="250"/>
                    </a:lnTo>
                    <a:lnTo>
                      <a:pt x="96" y="248"/>
                    </a:lnTo>
                    <a:lnTo>
                      <a:pt x="80" y="244"/>
                    </a:lnTo>
                    <a:lnTo>
                      <a:pt x="66" y="242"/>
                    </a:lnTo>
                    <a:lnTo>
                      <a:pt x="54" y="238"/>
                    </a:lnTo>
                    <a:lnTo>
                      <a:pt x="44" y="232"/>
                    </a:lnTo>
                    <a:lnTo>
                      <a:pt x="34" y="226"/>
                    </a:lnTo>
                    <a:lnTo>
                      <a:pt x="26" y="218"/>
                    </a:lnTo>
                    <a:lnTo>
                      <a:pt x="18" y="210"/>
                    </a:lnTo>
                    <a:lnTo>
                      <a:pt x="12" y="200"/>
                    </a:lnTo>
                    <a:lnTo>
                      <a:pt x="8" y="190"/>
                    </a:lnTo>
                    <a:lnTo>
                      <a:pt x="4" y="178"/>
                    </a:lnTo>
                    <a:lnTo>
                      <a:pt x="2" y="164"/>
                    </a:lnTo>
                    <a:lnTo>
                      <a:pt x="0" y="150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2" y="106"/>
                    </a:lnTo>
                    <a:lnTo>
                      <a:pt x="4" y="92"/>
                    </a:lnTo>
                    <a:lnTo>
                      <a:pt x="8" y="80"/>
                    </a:lnTo>
                    <a:lnTo>
                      <a:pt x="14" y="68"/>
                    </a:lnTo>
                    <a:lnTo>
                      <a:pt x="20" y="58"/>
                    </a:lnTo>
                    <a:lnTo>
                      <a:pt x="26" y="48"/>
                    </a:lnTo>
                    <a:lnTo>
                      <a:pt x="34" y="40"/>
                    </a:lnTo>
                    <a:lnTo>
                      <a:pt x="44" y="32"/>
                    </a:lnTo>
                    <a:lnTo>
                      <a:pt x="64" y="18"/>
                    </a:lnTo>
                    <a:lnTo>
                      <a:pt x="86" y="8"/>
                    </a:lnTo>
                    <a:lnTo>
                      <a:pt x="110" y="2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4" y="2"/>
                    </a:lnTo>
                    <a:lnTo>
                      <a:pt x="170" y="4"/>
                    </a:lnTo>
                    <a:lnTo>
                      <a:pt x="184" y="6"/>
                    </a:lnTo>
                    <a:lnTo>
                      <a:pt x="196" y="12"/>
                    </a:lnTo>
                    <a:lnTo>
                      <a:pt x="208" y="18"/>
                    </a:lnTo>
                    <a:lnTo>
                      <a:pt x="218" y="24"/>
                    </a:lnTo>
                    <a:lnTo>
                      <a:pt x="228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46" y="60"/>
                    </a:lnTo>
                    <a:lnTo>
                      <a:pt x="250" y="72"/>
                    </a:lnTo>
                    <a:lnTo>
                      <a:pt x="254" y="84"/>
                    </a:lnTo>
                    <a:lnTo>
                      <a:pt x="256" y="112"/>
                    </a:lnTo>
                    <a:lnTo>
                      <a:pt x="254" y="142"/>
                    </a:lnTo>
                    <a:lnTo>
                      <a:pt x="86" y="142"/>
                    </a:lnTo>
                    <a:close/>
                    <a:moveTo>
                      <a:pt x="172" y="98"/>
                    </a:moveTo>
                    <a:lnTo>
                      <a:pt x="172" y="98"/>
                    </a:lnTo>
                    <a:lnTo>
                      <a:pt x="172" y="88"/>
                    </a:lnTo>
                    <a:lnTo>
                      <a:pt x="170" y="78"/>
                    </a:lnTo>
                    <a:lnTo>
                      <a:pt x="168" y="70"/>
                    </a:lnTo>
                    <a:lnTo>
                      <a:pt x="164" y="62"/>
                    </a:lnTo>
                    <a:lnTo>
                      <a:pt x="164" y="62"/>
                    </a:lnTo>
                    <a:lnTo>
                      <a:pt x="158" y="56"/>
                    </a:lnTo>
                    <a:lnTo>
                      <a:pt x="150" y="50"/>
                    </a:lnTo>
                    <a:lnTo>
                      <a:pt x="142" y="48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22" y="48"/>
                    </a:lnTo>
                    <a:lnTo>
                      <a:pt x="114" y="52"/>
                    </a:lnTo>
                    <a:lnTo>
                      <a:pt x="106" y="56"/>
                    </a:lnTo>
                    <a:lnTo>
                      <a:pt x="102" y="62"/>
                    </a:lnTo>
                    <a:lnTo>
                      <a:pt x="96" y="70"/>
                    </a:lnTo>
                    <a:lnTo>
                      <a:pt x="94" y="78"/>
                    </a:lnTo>
                    <a:lnTo>
                      <a:pt x="90" y="98"/>
                    </a:lnTo>
                    <a:lnTo>
                      <a:pt x="172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16">
                <a:extLst>
                  <a:ext uri="{FF2B5EF4-FFF2-40B4-BE49-F238E27FC236}">
                    <a16:creationId xmlns:a16="http://schemas.microsoft.com/office/drawing/2014/main" id="{69E1D591-BD39-4F7C-822F-DEFBECB96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4450" y="352425"/>
                <a:ext cx="196850" cy="542925"/>
              </a:xfrm>
              <a:custGeom>
                <a:avLst/>
                <a:gdLst>
                  <a:gd name="T0" fmla="*/ 24 w 124"/>
                  <a:gd name="T1" fmla="*/ 0 h 342"/>
                  <a:gd name="T2" fmla="*/ 124 w 124"/>
                  <a:gd name="T3" fmla="*/ 0 h 342"/>
                  <a:gd name="T4" fmla="*/ 100 w 124"/>
                  <a:gd name="T5" fmla="*/ 342 h 342"/>
                  <a:gd name="T6" fmla="*/ 0 w 124"/>
                  <a:gd name="T7" fmla="*/ 342 h 342"/>
                  <a:gd name="T8" fmla="*/ 24 w 124"/>
                  <a:gd name="T9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342">
                    <a:moveTo>
                      <a:pt x="24" y="0"/>
                    </a:moveTo>
                    <a:lnTo>
                      <a:pt x="124" y="0"/>
                    </a:lnTo>
                    <a:lnTo>
                      <a:pt x="100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17">
                <a:extLst>
                  <a:ext uri="{FF2B5EF4-FFF2-40B4-BE49-F238E27FC236}">
                    <a16:creationId xmlns:a16="http://schemas.microsoft.com/office/drawing/2014/main" id="{EE2D1F80-EAE6-43F1-BEA2-1741B57139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8600" y="352425"/>
                <a:ext cx="368300" cy="542925"/>
              </a:xfrm>
              <a:custGeom>
                <a:avLst/>
                <a:gdLst>
                  <a:gd name="T0" fmla="*/ 120 w 232"/>
                  <a:gd name="T1" fmla="*/ 0 h 342"/>
                  <a:gd name="T2" fmla="*/ 0 w 232"/>
                  <a:gd name="T3" fmla="*/ 152 h 342"/>
                  <a:gd name="T4" fmla="*/ 106 w 232"/>
                  <a:gd name="T5" fmla="*/ 342 h 342"/>
                  <a:gd name="T6" fmla="*/ 226 w 232"/>
                  <a:gd name="T7" fmla="*/ 342 h 342"/>
                  <a:gd name="T8" fmla="*/ 106 w 232"/>
                  <a:gd name="T9" fmla="*/ 148 h 342"/>
                  <a:gd name="T10" fmla="*/ 232 w 232"/>
                  <a:gd name="T11" fmla="*/ 0 h 342"/>
                  <a:gd name="T12" fmla="*/ 120 w 232"/>
                  <a:gd name="T13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2" h="342">
                    <a:moveTo>
                      <a:pt x="120" y="0"/>
                    </a:moveTo>
                    <a:lnTo>
                      <a:pt x="0" y="152"/>
                    </a:lnTo>
                    <a:lnTo>
                      <a:pt x="106" y="342"/>
                    </a:lnTo>
                    <a:lnTo>
                      <a:pt x="226" y="342"/>
                    </a:lnTo>
                    <a:lnTo>
                      <a:pt x="106" y="148"/>
                    </a:lnTo>
                    <a:lnTo>
                      <a:pt x="232" y="0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18">
                <a:extLst>
                  <a:ext uri="{FF2B5EF4-FFF2-40B4-BE49-F238E27FC236}">
                    <a16:creationId xmlns:a16="http://schemas.microsoft.com/office/drawing/2014/main" id="{EEC377DA-470E-406E-A16D-E61E0F0CF5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6425" y="517525"/>
                <a:ext cx="158750" cy="377825"/>
              </a:xfrm>
              <a:custGeom>
                <a:avLst/>
                <a:gdLst>
                  <a:gd name="T0" fmla="*/ 16 w 100"/>
                  <a:gd name="T1" fmla="*/ 0 h 238"/>
                  <a:gd name="T2" fmla="*/ 100 w 100"/>
                  <a:gd name="T3" fmla="*/ 0 h 238"/>
                  <a:gd name="T4" fmla="*/ 84 w 100"/>
                  <a:gd name="T5" fmla="*/ 238 h 238"/>
                  <a:gd name="T6" fmla="*/ 0 w 100"/>
                  <a:gd name="T7" fmla="*/ 238 h 238"/>
                  <a:gd name="T8" fmla="*/ 16 w 100"/>
                  <a:gd name="T9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238">
                    <a:moveTo>
                      <a:pt x="16" y="0"/>
                    </a:moveTo>
                    <a:lnTo>
                      <a:pt x="100" y="0"/>
                    </a:lnTo>
                    <a:lnTo>
                      <a:pt x="84" y="238"/>
                    </a:lnTo>
                    <a:lnTo>
                      <a:pt x="0" y="238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19">
                <a:extLst>
                  <a:ext uri="{FF2B5EF4-FFF2-40B4-BE49-F238E27FC236}">
                    <a16:creationId xmlns:a16="http://schemas.microsoft.com/office/drawing/2014/main" id="{A0E1BE29-9E5B-4B32-A2C4-B4CBF71C02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8350" y="504825"/>
                <a:ext cx="692150" cy="390525"/>
              </a:xfrm>
              <a:custGeom>
                <a:avLst/>
                <a:gdLst>
                  <a:gd name="T0" fmla="*/ 106 w 436"/>
                  <a:gd name="T1" fmla="*/ 40 h 246"/>
                  <a:gd name="T2" fmla="*/ 106 w 436"/>
                  <a:gd name="T3" fmla="*/ 40 h 246"/>
                  <a:gd name="T4" fmla="*/ 128 w 436"/>
                  <a:gd name="T5" fmla="*/ 20 h 246"/>
                  <a:gd name="T6" fmla="*/ 150 w 436"/>
                  <a:gd name="T7" fmla="*/ 8 h 246"/>
                  <a:gd name="T8" fmla="*/ 172 w 436"/>
                  <a:gd name="T9" fmla="*/ 2 h 246"/>
                  <a:gd name="T10" fmla="*/ 192 w 436"/>
                  <a:gd name="T11" fmla="*/ 2 h 246"/>
                  <a:gd name="T12" fmla="*/ 216 w 436"/>
                  <a:gd name="T13" fmla="*/ 6 h 246"/>
                  <a:gd name="T14" fmla="*/ 238 w 436"/>
                  <a:gd name="T15" fmla="*/ 14 h 246"/>
                  <a:gd name="T16" fmla="*/ 254 w 436"/>
                  <a:gd name="T17" fmla="*/ 28 h 246"/>
                  <a:gd name="T18" fmla="*/ 264 w 436"/>
                  <a:gd name="T19" fmla="*/ 44 h 246"/>
                  <a:gd name="T20" fmla="*/ 272 w 436"/>
                  <a:gd name="T21" fmla="*/ 34 h 246"/>
                  <a:gd name="T22" fmla="*/ 290 w 436"/>
                  <a:gd name="T23" fmla="*/ 18 h 246"/>
                  <a:gd name="T24" fmla="*/ 312 w 436"/>
                  <a:gd name="T25" fmla="*/ 8 h 246"/>
                  <a:gd name="T26" fmla="*/ 338 w 436"/>
                  <a:gd name="T27" fmla="*/ 2 h 246"/>
                  <a:gd name="T28" fmla="*/ 352 w 436"/>
                  <a:gd name="T29" fmla="*/ 0 h 246"/>
                  <a:gd name="T30" fmla="*/ 386 w 436"/>
                  <a:gd name="T31" fmla="*/ 6 h 246"/>
                  <a:gd name="T32" fmla="*/ 414 w 436"/>
                  <a:gd name="T33" fmla="*/ 24 h 246"/>
                  <a:gd name="T34" fmla="*/ 432 w 436"/>
                  <a:gd name="T35" fmla="*/ 50 h 246"/>
                  <a:gd name="T36" fmla="*/ 436 w 436"/>
                  <a:gd name="T37" fmla="*/ 86 h 246"/>
                  <a:gd name="T38" fmla="*/ 332 w 436"/>
                  <a:gd name="T39" fmla="*/ 246 h 246"/>
                  <a:gd name="T40" fmla="*/ 342 w 436"/>
                  <a:gd name="T41" fmla="*/ 106 h 246"/>
                  <a:gd name="T42" fmla="*/ 342 w 436"/>
                  <a:gd name="T43" fmla="*/ 80 h 246"/>
                  <a:gd name="T44" fmla="*/ 336 w 436"/>
                  <a:gd name="T45" fmla="*/ 66 h 246"/>
                  <a:gd name="T46" fmla="*/ 322 w 436"/>
                  <a:gd name="T47" fmla="*/ 58 h 246"/>
                  <a:gd name="T48" fmla="*/ 312 w 436"/>
                  <a:gd name="T49" fmla="*/ 58 h 246"/>
                  <a:gd name="T50" fmla="*/ 288 w 436"/>
                  <a:gd name="T51" fmla="*/ 66 h 246"/>
                  <a:gd name="T52" fmla="*/ 276 w 436"/>
                  <a:gd name="T53" fmla="*/ 82 h 246"/>
                  <a:gd name="T54" fmla="*/ 270 w 436"/>
                  <a:gd name="T55" fmla="*/ 100 h 246"/>
                  <a:gd name="T56" fmla="*/ 260 w 436"/>
                  <a:gd name="T57" fmla="*/ 246 h 246"/>
                  <a:gd name="T58" fmla="*/ 180 w 436"/>
                  <a:gd name="T59" fmla="*/ 106 h 246"/>
                  <a:gd name="T60" fmla="*/ 178 w 436"/>
                  <a:gd name="T61" fmla="*/ 88 h 246"/>
                  <a:gd name="T62" fmla="*/ 174 w 436"/>
                  <a:gd name="T63" fmla="*/ 72 h 246"/>
                  <a:gd name="T64" fmla="*/ 164 w 436"/>
                  <a:gd name="T65" fmla="*/ 62 h 246"/>
                  <a:gd name="T66" fmla="*/ 148 w 436"/>
                  <a:gd name="T67" fmla="*/ 58 h 246"/>
                  <a:gd name="T68" fmla="*/ 132 w 436"/>
                  <a:gd name="T69" fmla="*/ 60 h 246"/>
                  <a:gd name="T70" fmla="*/ 114 w 436"/>
                  <a:gd name="T71" fmla="*/ 72 h 246"/>
                  <a:gd name="T72" fmla="*/ 104 w 436"/>
                  <a:gd name="T73" fmla="*/ 92 h 246"/>
                  <a:gd name="T74" fmla="*/ 102 w 436"/>
                  <a:gd name="T75" fmla="*/ 110 h 246"/>
                  <a:gd name="T76" fmla="*/ 0 w 436"/>
                  <a:gd name="T77" fmla="*/ 246 h 246"/>
                  <a:gd name="T78" fmla="*/ 106 w 436"/>
                  <a:gd name="T79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36" h="246">
                    <a:moveTo>
                      <a:pt x="106" y="8"/>
                    </a:moveTo>
                    <a:lnTo>
                      <a:pt x="106" y="40"/>
                    </a:lnTo>
                    <a:lnTo>
                      <a:pt x="106" y="40"/>
                    </a:lnTo>
                    <a:lnTo>
                      <a:pt x="106" y="40"/>
                    </a:lnTo>
                    <a:lnTo>
                      <a:pt x="118" y="28"/>
                    </a:lnTo>
                    <a:lnTo>
                      <a:pt x="128" y="20"/>
                    </a:lnTo>
                    <a:lnTo>
                      <a:pt x="140" y="12"/>
                    </a:lnTo>
                    <a:lnTo>
                      <a:pt x="150" y="8"/>
                    </a:lnTo>
                    <a:lnTo>
                      <a:pt x="162" y="4"/>
                    </a:lnTo>
                    <a:lnTo>
                      <a:pt x="172" y="2"/>
                    </a:lnTo>
                    <a:lnTo>
                      <a:pt x="192" y="2"/>
                    </a:lnTo>
                    <a:lnTo>
                      <a:pt x="192" y="2"/>
                    </a:lnTo>
                    <a:lnTo>
                      <a:pt x="204" y="2"/>
                    </a:lnTo>
                    <a:lnTo>
                      <a:pt x="216" y="6"/>
                    </a:lnTo>
                    <a:lnTo>
                      <a:pt x="228" y="8"/>
                    </a:lnTo>
                    <a:lnTo>
                      <a:pt x="238" y="14"/>
                    </a:lnTo>
                    <a:lnTo>
                      <a:pt x="246" y="20"/>
                    </a:lnTo>
                    <a:lnTo>
                      <a:pt x="254" y="28"/>
                    </a:lnTo>
                    <a:lnTo>
                      <a:pt x="260" y="36"/>
                    </a:lnTo>
                    <a:lnTo>
                      <a:pt x="264" y="44"/>
                    </a:lnTo>
                    <a:lnTo>
                      <a:pt x="264" y="44"/>
                    </a:lnTo>
                    <a:lnTo>
                      <a:pt x="272" y="34"/>
                    </a:lnTo>
                    <a:lnTo>
                      <a:pt x="280" y="26"/>
                    </a:lnTo>
                    <a:lnTo>
                      <a:pt x="290" y="18"/>
                    </a:lnTo>
                    <a:lnTo>
                      <a:pt x="302" y="12"/>
                    </a:lnTo>
                    <a:lnTo>
                      <a:pt x="312" y="8"/>
                    </a:lnTo>
                    <a:lnTo>
                      <a:pt x="326" y="4"/>
                    </a:lnTo>
                    <a:lnTo>
                      <a:pt x="338" y="2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70" y="2"/>
                    </a:lnTo>
                    <a:lnTo>
                      <a:pt x="386" y="6"/>
                    </a:lnTo>
                    <a:lnTo>
                      <a:pt x="402" y="14"/>
                    </a:lnTo>
                    <a:lnTo>
                      <a:pt x="414" y="24"/>
                    </a:lnTo>
                    <a:lnTo>
                      <a:pt x="424" y="36"/>
                    </a:lnTo>
                    <a:lnTo>
                      <a:pt x="432" y="50"/>
                    </a:lnTo>
                    <a:lnTo>
                      <a:pt x="436" y="68"/>
                    </a:lnTo>
                    <a:lnTo>
                      <a:pt x="436" y="86"/>
                    </a:lnTo>
                    <a:lnTo>
                      <a:pt x="424" y="246"/>
                    </a:lnTo>
                    <a:lnTo>
                      <a:pt x="332" y="246"/>
                    </a:lnTo>
                    <a:lnTo>
                      <a:pt x="342" y="106"/>
                    </a:lnTo>
                    <a:lnTo>
                      <a:pt x="342" y="106"/>
                    </a:lnTo>
                    <a:lnTo>
                      <a:pt x="342" y="88"/>
                    </a:lnTo>
                    <a:lnTo>
                      <a:pt x="342" y="80"/>
                    </a:lnTo>
                    <a:lnTo>
                      <a:pt x="340" y="74"/>
                    </a:lnTo>
                    <a:lnTo>
                      <a:pt x="336" y="66"/>
                    </a:lnTo>
                    <a:lnTo>
                      <a:pt x="330" y="62"/>
                    </a:lnTo>
                    <a:lnTo>
                      <a:pt x="322" y="58"/>
                    </a:lnTo>
                    <a:lnTo>
                      <a:pt x="312" y="58"/>
                    </a:lnTo>
                    <a:lnTo>
                      <a:pt x="312" y="58"/>
                    </a:lnTo>
                    <a:lnTo>
                      <a:pt x="298" y="60"/>
                    </a:lnTo>
                    <a:lnTo>
                      <a:pt x="288" y="66"/>
                    </a:lnTo>
                    <a:lnTo>
                      <a:pt x="280" y="72"/>
                    </a:lnTo>
                    <a:lnTo>
                      <a:pt x="276" y="82"/>
                    </a:lnTo>
                    <a:lnTo>
                      <a:pt x="272" y="92"/>
                    </a:lnTo>
                    <a:lnTo>
                      <a:pt x="270" y="100"/>
                    </a:lnTo>
                    <a:lnTo>
                      <a:pt x="270" y="110"/>
                    </a:lnTo>
                    <a:lnTo>
                      <a:pt x="260" y="246"/>
                    </a:lnTo>
                    <a:lnTo>
                      <a:pt x="170" y="246"/>
                    </a:lnTo>
                    <a:lnTo>
                      <a:pt x="180" y="106"/>
                    </a:lnTo>
                    <a:lnTo>
                      <a:pt x="180" y="106"/>
                    </a:lnTo>
                    <a:lnTo>
                      <a:pt x="178" y="88"/>
                    </a:lnTo>
                    <a:lnTo>
                      <a:pt x="178" y="80"/>
                    </a:lnTo>
                    <a:lnTo>
                      <a:pt x="174" y="72"/>
                    </a:lnTo>
                    <a:lnTo>
                      <a:pt x="170" y="66"/>
                    </a:lnTo>
                    <a:lnTo>
                      <a:pt x="164" y="62"/>
                    </a:lnTo>
                    <a:lnTo>
                      <a:pt x="15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32" y="60"/>
                    </a:lnTo>
                    <a:lnTo>
                      <a:pt x="122" y="66"/>
                    </a:lnTo>
                    <a:lnTo>
                      <a:pt x="114" y="72"/>
                    </a:lnTo>
                    <a:lnTo>
                      <a:pt x="108" y="82"/>
                    </a:lnTo>
                    <a:lnTo>
                      <a:pt x="104" y="92"/>
                    </a:lnTo>
                    <a:lnTo>
                      <a:pt x="104" y="100"/>
                    </a:lnTo>
                    <a:lnTo>
                      <a:pt x="102" y="110"/>
                    </a:lnTo>
                    <a:lnTo>
                      <a:pt x="94" y="246"/>
                    </a:lnTo>
                    <a:lnTo>
                      <a:pt x="0" y="246"/>
                    </a:lnTo>
                    <a:lnTo>
                      <a:pt x="16" y="8"/>
                    </a:lnTo>
                    <a:lnTo>
                      <a:pt x="106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20">
                <a:extLst>
                  <a:ext uri="{FF2B5EF4-FFF2-40B4-BE49-F238E27FC236}">
                    <a16:creationId xmlns:a16="http://schemas.microsoft.com/office/drawing/2014/main" id="{A936AE2D-CE87-4EBD-8AD3-4054049070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4000" y="517525"/>
                <a:ext cx="454025" cy="558800"/>
              </a:xfrm>
              <a:custGeom>
                <a:avLst/>
                <a:gdLst>
                  <a:gd name="T0" fmla="*/ 116 w 286"/>
                  <a:gd name="T1" fmla="*/ 352 h 352"/>
                  <a:gd name="T2" fmla="*/ 34 w 286"/>
                  <a:gd name="T3" fmla="*/ 352 h 352"/>
                  <a:gd name="T4" fmla="*/ 86 w 286"/>
                  <a:gd name="T5" fmla="*/ 242 h 352"/>
                  <a:gd name="T6" fmla="*/ 0 w 286"/>
                  <a:gd name="T7" fmla="*/ 0 h 352"/>
                  <a:gd name="T8" fmla="*/ 100 w 286"/>
                  <a:gd name="T9" fmla="*/ 0 h 352"/>
                  <a:gd name="T10" fmla="*/ 140 w 286"/>
                  <a:gd name="T11" fmla="*/ 148 h 352"/>
                  <a:gd name="T12" fmla="*/ 202 w 286"/>
                  <a:gd name="T13" fmla="*/ 0 h 352"/>
                  <a:gd name="T14" fmla="*/ 286 w 286"/>
                  <a:gd name="T15" fmla="*/ 0 h 352"/>
                  <a:gd name="T16" fmla="*/ 116 w 286"/>
                  <a:gd name="T17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6" h="352">
                    <a:moveTo>
                      <a:pt x="116" y="352"/>
                    </a:moveTo>
                    <a:lnTo>
                      <a:pt x="34" y="352"/>
                    </a:lnTo>
                    <a:lnTo>
                      <a:pt x="86" y="242"/>
                    </a:lnTo>
                    <a:lnTo>
                      <a:pt x="0" y="0"/>
                    </a:lnTo>
                    <a:lnTo>
                      <a:pt x="100" y="0"/>
                    </a:lnTo>
                    <a:lnTo>
                      <a:pt x="140" y="148"/>
                    </a:lnTo>
                    <a:lnTo>
                      <a:pt x="202" y="0"/>
                    </a:lnTo>
                    <a:lnTo>
                      <a:pt x="286" y="0"/>
                    </a:lnTo>
                    <a:lnTo>
                      <a:pt x="116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21">
                <a:extLst>
                  <a:ext uri="{FF2B5EF4-FFF2-40B4-BE49-F238E27FC236}">
                    <a16:creationId xmlns:a16="http://schemas.microsoft.com/office/drawing/2014/main" id="{686E72A2-232A-407E-99D2-C17E820F29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3575" y="593725"/>
                <a:ext cx="241300" cy="117475"/>
              </a:xfrm>
              <a:custGeom>
                <a:avLst/>
                <a:gdLst>
                  <a:gd name="T0" fmla="*/ 36 w 152"/>
                  <a:gd name="T1" fmla="*/ 0 h 74"/>
                  <a:gd name="T2" fmla="*/ 152 w 152"/>
                  <a:gd name="T3" fmla="*/ 0 h 74"/>
                  <a:gd name="T4" fmla="*/ 114 w 152"/>
                  <a:gd name="T5" fmla="*/ 74 h 74"/>
                  <a:gd name="T6" fmla="*/ 0 w 152"/>
                  <a:gd name="T7" fmla="*/ 74 h 74"/>
                  <a:gd name="T8" fmla="*/ 36 w 152"/>
                  <a:gd name="T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74">
                    <a:moveTo>
                      <a:pt x="36" y="0"/>
                    </a:moveTo>
                    <a:lnTo>
                      <a:pt x="152" y="0"/>
                    </a:lnTo>
                    <a:lnTo>
                      <a:pt x="114" y="74"/>
                    </a:lnTo>
                    <a:lnTo>
                      <a:pt x="0" y="7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22">
                <a:extLst>
                  <a:ext uri="{FF2B5EF4-FFF2-40B4-BE49-F238E27FC236}">
                    <a16:creationId xmlns:a16="http://schemas.microsoft.com/office/drawing/2014/main" id="{71CECB97-95C1-4A90-82EA-842128F05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1225" y="339725"/>
                <a:ext cx="504825" cy="558800"/>
              </a:xfrm>
              <a:custGeom>
                <a:avLst/>
                <a:gdLst>
                  <a:gd name="T0" fmla="*/ 180 w 318"/>
                  <a:gd name="T1" fmla="*/ 0 h 352"/>
                  <a:gd name="T2" fmla="*/ 232 w 318"/>
                  <a:gd name="T3" fmla="*/ 6 h 352"/>
                  <a:gd name="T4" fmla="*/ 266 w 318"/>
                  <a:gd name="T5" fmla="*/ 20 h 352"/>
                  <a:gd name="T6" fmla="*/ 286 w 318"/>
                  <a:gd name="T7" fmla="*/ 32 h 352"/>
                  <a:gd name="T8" fmla="*/ 302 w 318"/>
                  <a:gd name="T9" fmla="*/ 50 h 352"/>
                  <a:gd name="T10" fmla="*/ 312 w 318"/>
                  <a:gd name="T11" fmla="*/ 74 h 352"/>
                  <a:gd name="T12" fmla="*/ 318 w 318"/>
                  <a:gd name="T13" fmla="*/ 100 h 352"/>
                  <a:gd name="T14" fmla="*/ 222 w 318"/>
                  <a:gd name="T15" fmla="*/ 116 h 352"/>
                  <a:gd name="T16" fmla="*/ 222 w 318"/>
                  <a:gd name="T17" fmla="*/ 108 h 352"/>
                  <a:gd name="T18" fmla="*/ 216 w 318"/>
                  <a:gd name="T19" fmla="*/ 90 h 352"/>
                  <a:gd name="T20" fmla="*/ 204 w 318"/>
                  <a:gd name="T21" fmla="*/ 76 h 352"/>
                  <a:gd name="T22" fmla="*/ 188 w 318"/>
                  <a:gd name="T23" fmla="*/ 68 h 352"/>
                  <a:gd name="T24" fmla="*/ 176 w 318"/>
                  <a:gd name="T25" fmla="*/ 68 h 352"/>
                  <a:gd name="T26" fmla="*/ 150 w 318"/>
                  <a:gd name="T27" fmla="*/ 72 h 352"/>
                  <a:gd name="T28" fmla="*/ 128 w 318"/>
                  <a:gd name="T29" fmla="*/ 88 h 352"/>
                  <a:gd name="T30" fmla="*/ 108 w 318"/>
                  <a:gd name="T31" fmla="*/ 118 h 352"/>
                  <a:gd name="T32" fmla="*/ 98 w 318"/>
                  <a:gd name="T33" fmla="*/ 162 h 352"/>
                  <a:gd name="T34" fmla="*/ 96 w 318"/>
                  <a:gd name="T35" fmla="*/ 188 h 352"/>
                  <a:gd name="T36" fmla="*/ 98 w 318"/>
                  <a:gd name="T37" fmla="*/ 234 h 352"/>
                  <a:gd name="T38" fmla="*/ 112 w 318"/>
                  <a:gd name="T39" fmla="*/ 266 h 352"/>
                  <a:gd name="T40" fmla="*/ 122 w 318"/>
                  <a:gd name="T41" fmla="*/ 278 h 352"/>
                  <a:gd name="T42" fmla="*/ 138 w 318"/>
                  <a:gd name="T43" fmla="*/ 284 h 352"/>
                  <a:gd name="T44" fmla="*/ 158 w 318"/>
                  <a:gd name="T45" fmla="*/ 288 h 352"/>
                  <a:gd name="T46" fmla="*/ 174 w 318"/>
                  <a:gd name="T47" fmla="*/ 286 h 352"/>
                  <a:gd name="T48" fmla="*/ 198 w 318"/>
                  <a:gd name="T49" fmla="*/ 274 h 352"/>
                  <a:gd name="T50" fmla="*/ 212 w 318"/>
                  <a:gd name="T51" fmla="*/ 256 h 352"/>
                  <a:gd name="T52" fmla="*/ 218 w 318"/>
                  <a:gd name="T53" fmla="*/ 236 h 352"/>
                  <a:gd name="T54" fmla="*/ 314 w 318"/>
                  <a:gd name="T55" fmla="*/ 236 h 352"/>
                  <a:gd name="T56" fmla="*/ 306 w 318"/>
                  <a:gd name="T57" fmla="*/ 270 h 352"/>
                  <a:gd name="T58" fmla="*/ 290 w 318"/>
                  <a:gd name="T59" fmla="*/ 300 h 352"/>
                  <a:gd name="T60" fmla="*/ 272 w 318"/>
                  <a:gd name="T61" fmla="*/ 318 h 352"/>
                  <a:gd name="T62" fmla="*/ 248 w 318"/>
                  <a:gd name="T63" fmla="*/ 334 h 352"/>
                  <a:gd name="T64" fmla="*/ 216 w 318"/>
                  <a:gd name="T65" fmla="*/ 346 h 352"/>
                  <a:gd name="T66" fmla="*/ 176 w 318"/>
                  <a:gd name="T67" fmla="*/ 352 h 352"/>
                  <a:gd name="T68" fmla="*/ 152 w 318"/>
                  <a:gd name="T69" fmla="*/ 352 h 352"/>
                  <a:gd name="T70" fmla="*/ 106 w 318"/>
                  <a:gd name="T71" fmla="*/ 348 h 352"/>
                  <a:gd name="T72" fmla="*/ 70 w 318"/>
                  <a:gd name="T73" fmla="*/ 336 h 352"/>
                  <a:gd name="T74" fmla="*/ 42 w 318"/>
                  <a:gd name="T75" fmla="*/ 316 h 352"/>
                  <a:gd name="T76" fmla="*/ 22 w 318"/>
                  <a:gd name="T77" fmla="*/ 292 h 352"/>
                  <a:gd name="T78" fmla="*/ 8 w 318"/>
                  <a:gd name="T79" fmla="*/ 262 h 352"/>
                  <a:gd name="T80" fmla="*/ 2 w 318"/>
                  <a:gd name="T81" fmla="*/ 230 h 352"/>
                  <a:gd name="T82" fmla="*/ 0 w 318"/>
                  <a:gd name="T83" fmla="*/ 194 h 352"/>
                  <a:gd name="T84" fmla="*/ 2 w 318"/>
                  <a:gd name="T85" fmla="*/ 160 h 352"/>
                  <a:gd name="T86" fmla="*/ 18 w 318"/>
                  <a:gd name="T87" fmla="*/ 102 h 352"/>
                  <a:gd name="T88" fmla="*/ 32 w 318"/>
                  <a:gd name="T89" fmla="*/ 74 h 352"/>
                  <a:gd name="T90" fmla="*/ 52 w 318"/>
                  <a:gd name="T91" fmla="*/ 50 h 352"/>
                  <a:gd name="T92" fmla="*/ 76 w 318"/>
                  <a:gd name="T93" fmla="*/ 30 h 352"/>
                  <a:gd name="T94" fmla="*/ 106 w 318"/>
                  <a:gd name="T95" fmla="*/ 14 h 352"/>
                  <a:gd name="T96" fmla="*/ 140 w 318"/>
                  <a:gd name="T97" fmla="*/ 4 h 352"/>
                  <a:gd name="T98" fmla="*/ 180 w 318"/>
                  <a:gd name="T99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18" h="352">
                    <a:moveTo>
                      <a:pt x="180" y="0"/>
                    </a:moveTo>
                    <a:lnTo>
                      <a:pt x="180" y="0"/>
                    </a:lnTo>
                    <a:lnTo>
                      <a:pt x="206" y="0"/>
                    </a:lnTo>
                    <a:lnTo>
                      <a:pt x="232" y="6"/>
                    </a:lnTo>
                    <a:lnTo>
                      <a:pt x="256" y="14"/>
                    </a:lnTo>
                    <a:lnTo>
                      <a:pt x="266" y="20"/>
                    </a:lnTo>
                    <a:lnTo>
                      <a:pt x="276" y="26"/>
                    </a:lnTo>
                    <a:lnTo>
                      <a:pt x="286" y="32"/>
                    </a:lnTo>
                    <a:lnTo>
                      <a:pt x="294" y="42"/>
                    </a:lnTo>
                    <a:lnTo>
                      <a:pt x="302" y="50"/>
                    </a:lnTo>
                    <a:lnTo>
                      <a:pt x="308" y="62"/>
                    </a:lnTo>
                    <a:lnTo>
                      <a:pt x="312" y="74"/>
                    </a:lnTo>
                    <a:lnTo>
                      <a:pt x="316" y="86"/>
                    </a:lnTo>
                    <a:lnTo>
                      <a:pt x="318" y="100"/>
                    </a:lnTo>
                    <a:lnTo>
                      <a:pt x="318" y="116"/>
                    </a:lnTo>
                    <a:lnTo>
                      <a:pt x="222" y="116"/>
                    </a:lnTo>
                    <a:lnTo>
                      <a:pt x="222" y="116"/>
                    </a:lnTo>
                    <a:lnTo>
                      <a:pt x="222" y="108"/>
                    </a:lnTo>
                    <a:lnTo>
                      <a:pt x="220" y="98"/>
                    </a:lnTo>
                    <a:lnTo>
                      <a:pt x="216" y="90"/>
                    </a:lnTo>
                    <a:lnTo>
                      <a:pt x="212" y="84"/>
                    </a:lnTo>
                    <a:lnTo>
                      <a:pt x="204" y="76"/>
                    </a:lnTo>
                    <a:lnTo>
                      <a:pt x="198" y="72"/>
                    </a:lnTo>
                    <a:lnTo>
                      <a:pt x="188" y="68"/>
                    </a:lnTo>
                    <a:lnTo>
                      <a:pt x="176" y="68"/>
                    </a:lnTo>
                    <a:lnTo>
                      <a:pt x="176" y="68"/>
                    </a:lnTo>
                    <a:lnTo>
                      <a:pt x="164" y="68"/>
                    </a:lnTo>
                    <a:lnTo>
                      <a:pt x="150" y="72"/>
                    </a:lnTo>
                    <a:lnTo>
                      <a:pt x="138" y="80"/>
                    </a:lnTo>
                    <a:lnTo>
                      <a:pt x="128" y="88"/>
                    </a:lnTo>
                    <a:lnTo>
                      <a:pt x="118" y="102"/>
                    </a:lnTo>
                    <a:lnTo>
                      <a:pt x="108" y="118"/>
                    </a:lnTo>
                    <a:lnTo>
                      <a:pt x="102" y="138"/>
                    </a:lnTo>
                    <a:lnTo>
                      <a:pt x="98" y="162"/>
                    </a:lnTo>
                    <a:lnTo>
                      <a:pt x="98" y="162"/>
                    </a:lnTo>
                    <a:lnTo>
                      <a:pt x="96" y="188"/>
                    </a:lnTo>
                    <a:lnTo>
                      <a:pt x="96" y="212"/>
                    </a:lnTo>
                    <a:lnTo>
                      <a:pt x="98" y="234"/>
                    </a:lnTo>
                    <a:lnTo>
                      <a:pt x="104" y="252"/>
                    </a:lnTo>
                    <a:lnTo>
                      <a:pt x="112" y="266"/>
                    </a:lnTo>
                    <a:lnTo>
                      <a:pt x="116" y="272"/>
                    </a:lnTo>
                    <a:lnTo>
                      <a:pt x="122" y="278"/>
                    </a:lnTo>
                    <a:lnTo>
                      <a:pt x="130" y="282"/>
                    </a:lnTo>
                    <a:lnTo>
                      <a:pt x="138" y="284"/>
                    </a:lnTo>
                    <a:lnTo>
                      <a:pt x="148" y="286"/>
                    </a:lnTo>
                    <a:lnTo>
                      <a:pt x="158" y="288"/>
                    </a:lnTo>
                    <a:lnTo>
                      <a:pt x="158" y="288"/>
                    </a:lnTo>
                    <a:lnTo>
                      <a:pt x="174" y="286"/>
                    </a:lnTo>
                    <a:lnTo>
                      <a:pt x="188" y="280"/>
                    </a:lnTo>
                    <a:lnTo>
                      <a:pt x="198" y="274"/>
                    </a:lnTo>
                    <a:lnTo>
                      <a:pt x="206" y="264"/>
                    </a:lnTo>
                    <a:lnTo>
                      <a:pt x="212" y="256"/>
                    </a:lnTo>
                    <a:lnTo>
                      <a:pt x="214" y="248"/>
                    </a:lnTo>
                    <a:lnTo>
                      <a:pt x="218" y="236"/>
                    </a:lnTo>
                    <a:lnTo>
                      <a:pt x="314" y="236"/>
                    </a:lnTo>
                    <a:lnTo>
                      <a:pt x="314" y="236"/>
                    </a:lnTo>
                    <a:lnTo>
                      <a:pt x="312" y="252"/>
                    </a:lnTo>
                    <a:lnTo>
                      <a:pt x="306" y="270"/>
                    </a:lnTo>
                    <a:lnTo>
                      <a:pt x="296" y="290"/>
                    </a:lnTo>
                    <a:lnTo>
                      <a:pt x="290" y="300"/>
                    </a:lnTo>
                    <a:lnTo>
                      <a:pt x="282" y="308"/>
                    </a:lnTo>
                    <a:lnTo>
                      <a:pt x="272" y="318"/>
                    </a:lnTo>
                    <a:lnTo>
                      <a:pt x="260" y="326"/>
                    </a:lnTo>
                    <a:lnTo>
                      <a:pt x="248" y="334"/>
                    </a:lnTo>
                    <a:lnTo>
                      <a:pt x="232" y="340"/>
                    </a:lnTo>
                    <a:lnTo>
                      <a:pt x="216" y="346"/>
                    </a:lnTo>
                    <a:lnTo>
                      <a:pt x="196" y="350"/>
                    </a:lnTo>
                    <a:lnTo>
                      <a:pt x="176" y="352"/>
                    </a:lnTo>
                    <a:lnTo>
                      <a:pt x="152" y="352"/>
                    </a:lnTo>
                    <a:lnTo>
                      <a:pt x="152" y="352"/>
                    </a:lnTo>
                    <a:lnTo>
                      <a:pt x="128" y="352"/>
                    </a:lnTo>
                    <a:lnTo>
                      <a:pt x="106" y="348"/>
                    </a:lnTo>
                    <a:lnTo>
                      <a:pt x="86" y="342"/>
                    </a:lnTo>
                    <a:lnTo>
                      <a:pt x="70" y="336"/>
                    </a:lnTo>
                    <a:lnTo>
                      <a:pt x="54" y="326"/>
                    </a:lnTo>
                    <a:lnTo>
                      <a:pt x="42" y="316"/>
                    </a:lnTo>
                    <a:lnTo>
                      <a:pt x="30" y="304"/>
                    </a:lnTo>
                    <a:lnTo>
                      <a:pt x="22" y="292"/>
                    </a:lnTo>
                    <a:lnTo>
                      <a:pt x="14" y="276"/>
                    </a:lnTo>
                    <a:lnTo>
                      <a:pt x="8" y="262"/>
                    </a:lnTo>
                    <a:lnTo>
                      <a:pt x="4" y="246"/>
                    </a:lnTo>
                    <a:lnTo>
                      <a:pt x="2" y="230"/>
                    </a:lnTo>
                    <a:lnTo>
                      <a:pt x="0" y="212"/>
                    </a:lnTo>
                    <a:lnTo>
                      <a:pt x="0" y="194"/>
                    </a:lnTo>
                    <a:lnTo>
                      <a:pt x="2" y="160"/>
                    </a:lnTo>
                    <a:lnTo>
                      <a:pt x="2" y="160"/>
                    </a:lnTo>
                    <a:lnTo>
                      <a:pt x="8" y="130"/>
                    </a:lnTo>
                    <a:lnTo>
                      <a:pt x="18" y="102"/>
                    </a:lnTo>
                    <a:lnTo>
                      <a:pt x="24" y="88"/>
                    </a:lnTo>
                    <a:lnTo>
                      <a:pt x="32" y="74"/>
                    </a:lnTo>
                    <a:lnTo>
                      <a:pt x="42" y="62"/>
                    </a:lnTo>
                    <a:lnTo>
                      <a:pt x="52" y="50"/>
                    </a:lnTo>
                    <a:lnTo>
                      <a:pt x="64" y="40"/>
                    </a:lnTo>
                    <a:lnTo>
                      <a:pt x="76" y="30"/>
                    </a:lnTo>
                    <a:lnTo>
                      <a:pt x="90" y="20"/>
                    </a:lnTo>
                    <a:lnTo>
                      <a:pt x="106" y="14"/>
                    </a:lnTo>
                    <a:lnTo>
                      <a:pt x="122" y="8"/>
                    </a:lnTo>
                    <a:lnTo>
                      <a:pt x="140" y="4"/>
                    </a:lnTo>
                    <a:lnTo>
                      <a:pt x="160" y="0"/>
                    </a:lnTo>
                    <a:lnTo>
                      <a:pt x="180" y="0"/>
                    </a:lnTo>
                    <a:lnTo>
                      <a:pt x="18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23">
                <a:extLst>
                  <a:ext uri="{FF2B5EF4-FFF2-40B4-BE49-F238E27FC236}">
                    <a16:creationId xmlns:a16="http://schemas.microsoft.com/office/drawing/2014/main" id="{55FCA5A7-5ADB-484B-A948-2458352469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29225" y="352425"/>
                <a:ext cx="177800" cy="542925"/>
              </a:xfrm>
              <a:custGeom>
                <a:avLst/>
                <a:gdLst>
                  <a:gd name="T0" fmla="*/ 0 w 112"/>
                  <a:gd name="T1" fmla="*/ 342 h 342"/>
                  <a:gd name="T2" fmla="*/ 24 w 112"/>
                  <a:gd name="T3" fmla="*/ 0 h 342"/>
                  <a:gd name="T4" fmla="*/ 112 w 112"/>
                  <a:gd name="T5" fmla="*/ 0 h 342"/>
                  <a:gd name="T6" fmla="*/ 88 w 112"/>
                  <a:gd name="T7" fmla="*/ 342 h 342"/>
                  <a:gd name="T8" fmla="*/ 0 w 112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2" y="0"/>
                    </a:lnTo>
                    <a:lnTo>
                      <a:pt x="88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24">
                <a:extLst>
                  <a:ext uri="{FF2B5EF4-FFF2-40B4-BE49-F238E27FC236}">
                    <a16:creationId xmlns:a16="http://schemas.microsoft.com/office/drawing/2014/main" id="{76ED67C0-E3ED-4760-8657-26E92F456B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3900" y="517525"/>
                <a:ext cx="295275" cy="377825"/>
              </a:xfrm>
              <a:custGeom>
                <a:avLst/>
                <a:gdLst>
                  <a:gd name="T0" fmla="*/ 106 w 186"/>
                  <a:gd name="T1" fmla="*/ 34 h 238"/>
                  <a:gd name="T2" fmla="*/ 106 w 186"/>
                  <a:gd name="T3" fmla="*/ 34 h 238"/>
                  <a:gd name="T4" fmla="*/ 106 w 186"/>
                  <a:gd name="T5" fmla="*/ 34 h 238"/>
                  <a:gd name="T6" fmla="*/ 116 w 186"/>
                  <a:gd name="T7" fmla="*/ 24 h 238"/>
                  <a:gd name="T8" fmla="*/ 124 w 186"/>
                  <a:gd name="T9" fmla="*/ 16 h 238"/>
                  <a:gd name="T10" fmla="*/ 134 w 186"/>
                  <a:gd name="T11" fmla="*/ 10 h 238"/>
                  <a:gd name="T12" fmla="*/ 144 w 186"/>
                  <a:gd name="T13" fmla="*/ 6 h 238"/>
                  <a:gd name="T14" fmla="*/ 154 w 186"/>
                  <a:gd name="T15" fmla="*/ 4 h 238"/>
                  <a:gd name="T16" fmla="*/ 164 w 186"/>
                  <a:gd name="T17" fmla="*/ 2 h 238"/>
                  <a:gd name="T18" fmla="*/ 186 w 186"/>
                  <a:gd name="T19" fmla="*/ 0 h 238"/>
                  <a:gd name="T20" fmla="*/ 180 w 186"/>
                  <a:gd name="T21" fmla="*/ 76 h 238"/>
                  <a:gd name="T22" fmla="*/ 180 w 186"/>
                  <a:gd name="T23" fmla="*/ 76 h 238"/>
                  <a:gd name="T24" fmla="*/ 162 w 186"/>
                  <a:gd name="T25" fmla="*/ 76 h 238"/>
                  <a:gd name="T26" fmla="*/ 162 w 186"/>
                  <a:gd name="T27" fmla="*/ 76 h 238"/>
                  <a:gd name="T28" fmla="*/ 142 w 186"/>
                  <a:gd name="T29" fmla="*/ 78 h 238"/>
                  <a:gd name="T30" fmla="*/ 126 w 186"/>
                  <a:gd name="T31" fmla="*/ 82 h 238"/>
                  <a:gd name="T32" fmla="*/ 116 w 186"/>
                  <a:gd name="T33" fmla="*/ 88 h 238"/>
                  <a:gd name="T34" fmla="*/ 108 w 186"/>
                  <a:gd name="T35" fmla="*/ 98 h 238"/>
                  <a:gd name="T36" fmla="*/ 104 w 186"/>
                  <a:gd name="T37" fmla="*/ 108 h 238"/>
                  <a:gd name="T38" fmla="*/ 100 w 186"/>
                  <a:gd name="T39" fmla="*/ 120 h 238"/>
                  <a:gd name="T40" fmla="*/ 98 w 186"/>
                  <a:gd name="T41" fmla="*/ 148 h 238"/>
                  <a:gd name="T42" fmla="*/ 92 w 186"/>
                  <a:gd name="T43" fmla="*/ 238 h 238"/>
                  <a:gd name="T44" fmla="*/ 0 w 186"/>
                  <a:gd name="T45" fmla="*/ 238 h 238"/>
                  <a:gd name="T46" fmla="*/ 14 w 186"/>
                  <a:gd name="T47" fmla="*/ 62 h 238"/>
                  <a:gd name="T48" fmla="*/ 14 w 186"/>
                  <a:gd name="T49" fmla="*/ 62 h 238"/>
                  <a:gd name="T50" fmla="*/ 14 w 186"/>
                  <a:gd name="T51" fmla="*/ 32 h 238"/>
                  <a:gd name="T52" fmla="*/ 14 w 186"/>
                  <a:gd name="T53" fmla="*/ 0 h 238"/>
                  <a:gd name="T54" fmla="*/ 102 w 186"/>
                  <a:gd name="T55" fmla="*/ 0 h 238"/>
                  <a:gd name="T56" fmla="*/ 106 w 186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6" h="238">
                    <a:moveTo>
                      <a:pt x="106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6" y="24"/>
                    </a:lnTo>
                    <a:lnTo>
                      <a:pt x="124" y="16"/>
                    </a:lnTo>
                    <a:lnTo>
                      <a:pt x="134" y="10"/>
                    </a:lnTo>
                    <a:lnTo>
                      <a:pt x="144" y="6"/>
                    </a:lnTo>
                    <a:lnTo>
                      <a:pt x="154" y="4"/>
                    </a:lnTo>
                    <a:lnTo>
                      <a:pt x="164" y="2"/>
                    </a:lnTo>
                    <a:lnTo>
                      <a:pt x="186" y="0"/>
                    </a:lnTo>
                    <a:lnTo>
                      <a:pt x="180" y="76"/>
                    </a:lnTo>
                    <a:lnTo>
                      <a:pt x="180" y="76"/>
                    </a:lnTo>
                    <a:lnTo>
                      <a:pt x="162" y="76"/>
                    </a:lnTo>
                    <a:lnTo>
                      <a:pt x="162" y="76"/>
                    </a:lnTo>
                    <a:lnTo>
                      <a:pt x="142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4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6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CF28061-1141-4FCB-8D5C-F9F5D5767B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719"/>
          <a:stretch/>
        </p:blipFill>
        <p:spPr>
          <a:xfrm>
            <a:off x="-1" y="921544"/>
            <a:ext cx="12192001" cy="5014912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F45298-9D9B-4CF2-99E1-62ECC178E8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7FBFD-78E1-42FB-85FC-D9CE5E3DEFA5}" type="slidenum">
              <a:rPr lang="en-US" smtClean="0"/>
              <a:t>2</a:t>
            </a:fld>
            <a:endParaRPr lang="en-US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5C2CF95F-1270-4DA0-9349-05B504DB2D6A}"/>
              </a:ext>
            </a:extLst>
          </p:cNvPr>
          <p:cNvGraphicFramePr>
            <a:graphicFrameLocks noGrp="1"/>
          </p:cNvGraphicFramePr>
          <p:nvPr/>
        </p:nvGraphicFramePr>
        <p:xfrm>
          <a:off x="13227169" y="-126434490"/>
          <a:ext cx="162560" cy="2019738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2560">
                  <a:extLst>
                    <a:ext uri="{9D8B030D-6E8A-4147-A177-3AD203B41FA5}">
                      <a16:colId xmlns:a16="http://schemas.microsoft.com/office/drawing/2014/main" val="1921908511"/>
                    </a:ext>
                  </a:extLst>
                </a:gridCol>
              </a:tblGrid>
              <a:tr h="20197381">
                <a:tc>
                  <a:txBody>
                    <a:bodyPr/>
                    <a:lstStyle/>
                    <a:p>
                      <a:pPr marL="342900" lvl="0" indent="-342900" algn="l">
                        <a:spcAft>
                          <a:spcPts val="0"/>
                        </a:spcAft>
                      </a:pPr>
                      <a:endParaRPr lang="en-US" dirty="0">
                        <a:effectLst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63439672"/>
                  </a:ext>
                </a:extLst>
              </a:tr>
            </a:tbl>
          </a:graphicData>
        </a:graphic>
      </p:graphicFrame>
      <p:pic>
        <p:nvPicPr>
          <p:cNvPr id="15" name="Picture 2">
            <a:extLst>
              <a:ext uri="{FF2B5EF4-FFF2-40B4-BE49-F238E27FC236}">
                <a16:creationId xmlns:a16="http://schemas.microsoft.com/office/drawing/2014/main" id="{83C0D9B0-DE20-4B4D-9BD6-4116AE0B5826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621023" y="1448623"/>
            <a:ext cx="4789177" cy="88998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BB63BF4-2070-44FA-94A7-A598AE24845C}"/>
              </a:ext>
            </a:extLst>
          </p:cNvPr>
          <p:cNvSpPr/>
          <p:nvPr/>
        </p:nvSpPr>
        <p:spPr>
          <a:xfrm>
            <a:off x="506723" y="2644876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A modern digital experience for all K-C employees to learn, connect, and engage.</a:t>
            </a:r>
            <a:endParaRPr lang="en-US" sz="20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C78ACFC-3D1B-4E5F-A05B-298DD8F36FCD}"/>
              </a:ext>
            </a:extLst>
          </p:cNvPr>
          <p:cNvSpPr/>
          <p:nvPr/>
        </p:nvSpPr>
        <p:spPr>
          <a:xfrm>
            <a:off x="506723" y="3505239"/>
            <a:ext cx="6096000" cy="1631216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lvl="0" indent="-285750">
              <a:buFont typeface="Wingdings" panose="05000000000000000000" pitchFamily="2" charset="2"/>
              <a:buChar char="ü"/>
              <a:defRPr/>
            </a:pPr>
            <a:r>
              <a:rPr lang="en-US" sz="2000" b="1" dirty="0">
                <a:solidFill>
                  <a:srgbClr val="FFFFFF"/>
                </a:solidFill>
              </a:rPr>
              <a:t>Inclusive </a:t>
            </a:r>
            <a:r>
              <a:rPr lang="en-US" sz="2000" dirty="0">
                <a:solidFill>
                  <a:srgbClr val="FFFFFF"/>
                </a:solidFill>
              </a:rPr>
              <a:t>- reaches every employee </a:t>
            </a:r>
          </a:p>
          <a:p>
            <a:pPr marL="285750" lvl="0" indent="-285750">
              <a:buFont typeface="Wingdings" panose="05000000000000000000" pitchFamily="2" charset="2"/>
              <a:buChar char="ü"/>
              <a:defRPr/>
            </a:pPr>
            <a:r>
              <a:rPr lang="en-US" sz="2000" b="1" dirty="0">
                <a:solidFill>
                  <a:srgbClr val="FFFFFF"/>
                </a:solidFill>
              </a:rPr>
              <a:t>Convenient</a:t>
            </a:r>
            <a:r>
              <a:rPr lang="en-US" sz="2000" dirty="0">
                <a:solidFill>
                  <a:srgbClr val="FFFFFF"/>
                </a:solidFill>
              </a:rPr>
              <a:t> - find what you need quickly</a:t>
            </a:r>
          </a:p>
          <a:p>
            <a:pPr marL="285750" lvl="0" indent="-285750">
              <a:buFont typeface="Wingdings" panose="05000000000000000000" pitchFamily="2" charset="2"/>
              <a:buChar char="ü"/>
              <a:defRPr/>
            </a:pPr>
            <a:r>
              <a:rPr lang="en-US" sz="2000" b="1" dirty="0">
                <a:solidFill>
                  <a:srgbClr val="FFFFFF"/>
                </a:solidFill>
              </a:rPr>
              <a:t>Fast</a:t>
            </a:r>
            <a:r>
              <a:rPr lang="en-US" sz="2000" dirty="0">
                <a:solidFill>
                  <a:srgbClr val="FFFFFF"/>
                </a:solidFill>
              </a:rPr>
              <a:t> - stay up-to-date in a matter of minutes </a:t>
            </a:r>
          </a:p>
          <a:p>
            <a:pPr marL="285750" lvl="0" indent="-285750">
              <a:buFont typeface="Wingdings" panose="05000000000000000000" pitchFamily="2" charset="2"/>
              <a:buChar char="ü"/>
              <a:defRPr/>
            </a:pPr>
            <a:r>
              <a:rPr lang="en-US" sz="2000" b="1" dirty="0">
                <a:solidFill>
                  <a:srgbClr val="FFFFFF"/>
                </a:solidFill>
              </a:rPr>
              <a:t>Relevant</a:t>
            </a:r>
            <a:r>
              <a:rPr lang="en-US" sz="2000" dirty="0">
                <a:solidFill>
                  <a:srgbClr val="FFFFFF"/>
                </a:solidFill>
              </a:rPr>
              <a:t> - content tailored to you</a:t>
            </a:r>
          </a:p>
          <a:p>
            <a:pPr marL="285750" lvl="0" indent="-285750">
              <a:buFont typeface="Wingdings" panose="05000000000000000000" pitchFamily="2" charset="2"/>
              <a:buChar char="ü"/>
              <a:defRPr/>
            </a:pPr>
            <a:r>
              <a:rPr lang="en-US" sz="2000" b="1" dirty="0">
                <a:solidFill>
                  <a:srgbClr val="FFFFFF"/>
                </a:solidFill>
              </a:rPr>
              <a:t>Easy </a:t>
            </a:r>
            <a:r>
              <a:rPr lang="en-US" sz="2000" dirty="0">
                <a:solidFill>
                  <a:srgbClr val="FFFFFF"/>
                </a:solidFill>
              </a:rPr>
              <a:t>- no training required  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2819318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rcRect l="2515" r="8595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356DA29-6D0A-42AD-8E71-A3F1B6103BC2}"/>
              </a:ext>
            </a:extLst>
          </p:cNvPr>
          <p:cNvGrpSpPr/>
          <p:nvPr/>
        </p:nvGrpSpPr>
        <p:grpSpPr>
          <a:xfrm>
            <a:off x="270622" y="6413584"/>
            <a:ext cx="2165537" cy="271230"/>
            <a:chOff x="158750" y="276225"/>
            <a:chExt cx="6388100" cy="800100"/>
          </a:xfrm>
          <a:solidFill>
            <a:schemeClr val="bg1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740A8BE4-4BB4-44EA-81ED-F557033A48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750" y="276225"/>
              <a:ext cx="857250" cy="736600"/>
            </a:xfrm>
            <a:custGeom>
              <a:avLst/>
              <a:gdLst>
                <a:gd name="T0" fmla="*/ 298 w 540"/>
                <a:gd name="T1" fmla="*/ 0 h 464"/>
                <a:gd name="T2" fmla="*/ 374 w 540"/>
                <a:gd name="T3" fmla="*/ 18 h 464"/>
                <a:gd name="T4" fmla="*/ 442 w 540"/>
                <a:gd name="T5" fmla="*/ 52 h 464"/>
                <a:gd name="T6" fmla="*/ 494 w 540"/>
                <a:gd name="T7" fmla="*/ 102 h 464"/>
                <a:gd name="T8" fmla="*/ 528 w 540"/>
                <a:gd name="T9" fmla="*/ 162 h 464"/>
                <a:gd name="T10" fmla="*/ 540 w 540"/>
                <a:gd name="T11" fmla="*/ 232 h 464"/>
                <a:gd name="T12" fmla="*/ 534 w 540"/>
                <a:gd name="T13" fmla="*/ 278 h 464"/>
                <a:gd name="T14" fmla="*/ 506 w 540"/>
                <a:gd name="T15" fmla="*/ 342 h 464"/>
                <a:gd name="T16" fmla="*/ 460 w 540"/>
                <a:gd name="T17" fmla="*/ 396 h 464"/>
                <a:gd name="T18" fmla="*/ 398 w 540"/>
                <a:gd name="T19" fmla="*/ 436 h 464"/>
                <a:gd name="T20" fmla="*/ 324 w 540"/>
                <a:gd name="T21" fmla="*/ 460 h 464"/>
                <a:gd name="T22" fmla="*/ 270 w 540"/>
                <a:gd name="T23" fmla="*/ 464 h 464"/>
                <a:gd name="T24" fmla="*/ 190 w 540"/>
                <a:gd name="T25" fmla="*/ 454 h 464"/>
                <a:gd name="T26" fmla="*/ 118 w 540"/>
                <a:gd name="T27" fmla="*/ 424 h 464"/>
                <a:gd name="T28" fmla="*/ 62 w 540"/>
                <a:gd name="T29" fmla="*/ 380 h 464"/>
                <a:gd name="T30" fmla="*/ 20 w 540"/>
                <a:gd name="T31" fmla="*/ 322 h 464"/>
                <a:gd name="T32" fmla="*/ 2 w 540"/>
                <a:gd name="T33" fmla="*/ 256 h 464"/>
                <a:gd name="T34" fmla="*/ 2 w 540"/>
                <a:gd name="T35" fmla="*/ 208 h 464"/>
                <a:gd name="T36" fmla="*/ 20 w 540"/>
                <a:gd name="T37" fmla="*/ 142 h 464"/>
                <a:gd name="T38" fmla="*/ 62 w 540"/>
                <a:gd name="T39" fmla="*/ 84 h 464"/>
                <a:gd name="T40" fmla="*/ 118 w 540"/>
                <a:gd name="T41" fmla="*/ 40 h 464"/>
                <a:gd name="T42" fmla="*/ 190 w 540"/>
                <a:gd name="T43" fmla="*/ 10 h 464"/>
                <a:gd name="T44" fmla="*/ 270 w 540"/>
                <a:gd name="T45" fmla="*/ 0 h 464"/>
                <a:gd name="T46" fmla="*/ 270 w 540"/>
                <a:gd name="T47" fmla="*/ 232 h 464"/>
                <a:gd name="T48" fmla="*/ 220 w 540"/>
                <a:gd name="T49" fmla="*/ 196 h 464"/>
                <a:gd name="T50" fmla="*/ 208 w 540"/>
                <a:gd name="T51" fmla="*/ 176 h 464"/>
                <a:gd name="T52" fmla="*/ 156 w 540"/>
                <a:gd name="T53" fmla="*/ 130 h 464"/>
                <a:gd name="T54" fmla="*/ 76 w 540"/>
                <a:gd name="T55" fmla="*/ 152 h 464"/>
                <a:gd name="T56" fmla="*/ 130 w 540"/>
                <a:gd name="T57" fmla="*/ 204 h 464"/>
                <a:gd name="T58" fmla="*/ 138 w 540"/>
                <a:gd name="T59" fmla="*/ 230 h 464"/>
                <a:gd name="T60" fmla="*/ 132 w 540"/>
                <a:gd name="T61" fmla="*/ 244 h 464"/>
                <a:gd name="T62" fmla="*/ 108 w 540"/>
                <a:gd name="T63" fmla="*/ 250 h 464"/>
                <a:gd name="T64" fmla="*/ 38 w 540"/>
                <a:gd name="T65" fmla="*/ 330 h 464"/>
                <a:gd name="T66" fmla="*/ 146 w 540"/>
                <a:gd name="T67" fmla="*/ 330 h 464"/>
                <a:gd name="T68" fmla="*/ 186 w 540"/>
                <a:gd name="T69" fmla="*/ 320 h 464"/>
                <a:gd name="T70" fmla="*/ 214 w 540"/>
                <a:gd name="T71" fmla="*/ 296 h 464"/>
                <a:gd name="T72" fmla="*/ 320 w 540"/>
                <a:gd name="T73" fmla="*/ 390 h 464"/>
                <a:gd name="T74" fmla="*/ 326 w 540"/>
                <a:gd name="T75" fmla="*/ 296 h 464"/>
                <a:gd name="T76" fmla="*/ 352 w 540"/>
                <a:gd name="T77" fmla="*/ 320 h 464"/>
                <a:gd name="T78" fmla="*/ 392 w 540"/>
                <a:gd name="T79" fmla="*/ 330 h 464"/>
                <a:gd name="T80" fmla="*/ 500 w 540"/>
                <a:gd name="T81" fmla="*/ 250 h 464"/>
                <a:gd name="T82" fmla="*/ 432 w 540"/>
                <a:gd name="T83" fmla="*/ 250 h 464"/>
                <a:gd name="T84" fmla="*/ 408 w 540"/>
                <a:gd name="T85" fmla="*/ 244 h 464"/>
                <a:gd name="T86" fmla="*/ 400 w 540"/>
                <a:gd name="T87" fmla="*/ 230 h 464"/>
                <a:gd name="T88" fmla="*/ 410 w 540"/>
                <a:gd name="T89" fmla="*/ 204 h 464"/>
                <a:gd name="T90" fmla="*/ 462 w 540"/>
                <a:gd name="T91" fmla="*/ 152 h 464"/>
                <a:gd name="T92" fmla="*/ 382 w 540"/>
                <a:gd name="T93" fmla="*/ 130 h 464"/>
                <a:gd name="T94" fmla="*/ 330 w 540"/>
                <a:gd name="T95" fmla="*/ 176 h 464"/>
                <a:gd name="T96" fmla="*/ 320 w 540"/>
                <a:gd name="T97" fmla="*/ 19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40" h="464">
                  <a:moveTo>
                    <a:pt x="270" y="0"/>
                  </a:moveTo>
                  <a:lnTo>
                    <a:pt x="270" y="0"/>
                  </a:lnTo>
                  <a:lnTo>
                    <a:pt x="298" y="0"/>
                  </a:lnTo>
                  <a:lnTo>
                    <a:pt x="324" y="4"/>
                  </a:lnTo>
                  <a:lnTo>
                    <a:pt x="350" y="10"/>
                  </a:lnTo>
                  <a:lnTo>
                    <a:pt x="374" y="18"/>
                  </a:lnTo>
                  <a:lnTo>
                    <a:pt x="398" y="28"/>
                  </a:lnTo>
                  <a:lnTo>
                    <a:pt x="420" y="40"/>
                  </a:lnTo>
                  <a:lnTo>
                    <a:pt x="442" y="52"/>
                  </a:lnTo>
                  <a:lnTo>
                    <a:pt x="460" y="68"/>
                  </a:lnTo>
                  <a:lnTo>
                    <a:pt x="478" y="84"/>
                  </a:lnTo>
                  <a:lnTo>
                    <a:pt x="494" y="102"/>
                  </a:lnTo>
                  <a:lnTo>
                    <a:pt x="506" y="122"/>
                  </a:lnTo>
                  <a:lnTo>
                    <a:pt x="518" y="142"/>
                  </a:lnTo>
                  <a:lnTo>
                    <a:pt x="528" y="162"/>
                  </a:lnTo>
                  <a:lnTo>
                    <a:pt x="534" y="184"/>
                  </a:lnTo>
                  <a:lnTo>
                    <a:pt x="538" y="208"/>
                  </a:lnTo>
                  <a:lnTo>
                    <a:pt x="540" y="232"/>
                  </a:lnTo>
                  <a:lnTo>
                    <a:pt x="540" y="232"/>
                  </a:lnTo>
                  <a:lnTo>
                    <a:pt x="538" y="256"/>
                  </a:lnTo>
                  <a:lnTo>
                    <a:pt x="534" y="278"/>
                  </a:lnTo>
                  <a:lnTo>
                    <a:pt x="528" y="300"/>
                  </a:lnTo>
                  <a:lnTo>
                    <a:pt x="518" y="322"/>
                  </a:lnTo>
                  <a:lnTo>
                    <a:pt x="506" y="342"/>
                  </a:lnTo>
                  <a:lnTo>
                    <a:pt x="494" y="362"/>
                  </a:lnTo>
                  <a:lnTo>
                    <a:pt x="478" y="380"/>
                  </a:lnTo>
                  <a:lnTo>
                    <a:pt x="460" y="396"/>
                  </a:lnTo>
                  <a:lnTo>
                    <a:pt x="442" y="410"/>
                  </a:lnTo>
                  <a:lnTo>
                    <a:pt x="420" y="424"/>
                  </a:lnTo>
                  <a:lnTo>
                    <a:pt x="398" y="436"/>
                  </a:lnTo>
                  <a:lnTo>
                    <a:pt x="374" y="446"/>
                  </a:lnTo>
                  <a:lnTo>
                    <a:pt x="350" y="454"/>
                  </a:lnTo>
                  <a:lnTo>
                    <a:pt x="324" y="460"/>
                  </a:lnTo>
                  <a:lnTo>
                    <a:pt x="298" y="462"/>
                  </a:lnTo>
                  <a:lnTo>
                    <a:pt x="270" y="464"/>
                  </a:lnTo>
                  <a:lnTo>
                    <a:pt x="270" y="464"/>
                  </a:lnTo>
                  <a:lnTo>
                    <a:pt x="242" y="462"/>
                  </a:lnTo>
                  <a:lnTo>
                    <a:pt x="216" y="458"/>
                  </a:lnTo>
                  <a:lnTo>
                    <a:pt x="190" y="454"/>
                  </a:lnTo>
                  <a:lnTo>
                    <a:pt x="164" y="446"/>
                  </a:lnTo>
                  <a:lnTo>
                    <a:pt x="140" y="436"/>
                  </a:lnTo>
                  <a:lnTo>
                    <a:pt x="118" y="424"/>
                  </a:lnTo>
                  <a:lnTo>
                    <a:pt x="98" y="410"/>
                  </a:lnTo>
                  <a:lnTo>
                    <a:pt x="78" y="396"/>
                  </a:lnTo>
                  <a:lnTo>
                    <a:pt x="62" y="380"/>
                  </a:lnTo>
                  <a:lnTo>
                    <a:pt x="46" y="362"/>
                  </a:lnTo>
                  <a:lnTo>
                    <a:pt x="32" y="342"/>
                  </a:lnTo>
                  <a:lnTo>
                    <a:pt x="20" y="322"/>
                  </a:lnTo>
                  <a:lnTo>
                    <a:pt x="12" y="300"/>
                  </a:lnTo>
                  <a:lnTo>
                    <a:pt x="6" y="278"/>
                  </a:lnTo>
                  <a:lnTo>
                    <a:pt x="2" y="256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08"/>
                  </a:lnTo>
                  <a:lnTo>
                    <a:pt x="6" y="184"/>
                  </a:lnTo>
                  <a:lnTo>
                    <a:pt x="12" y="162"/>
                  </a:lnTo>
                  <a:lnTo>
                    <a:pt x="20" y="142"/>
                  </a:lnTo>
                  <a:lnTo>
                    <a:pt x="32" y="120"/>
                  </a:lnTo>
                  <a:lnTo>
                    <a:pt x="46" y="102"/>
                  </a:lnTo>
                  <a:lnTo>
                    <a:pt x="62" y="84"/>
                  </a:lnTo>
                  <a:lnTo>
                    <a:pt x="78" y="68"/>
                  </a:lnTo>
                  <a:lnTo>
                    <a:pt x="98" y="52"/>
                  </a:lnTo>
                  <a:lnTo>
                    <a:pt x="118" y="40"/>
                  </a:lnTo>
                  <a:lnTo>
                    <a:pt x="140" y="28"/>
                  </a:lnTo>
                  <a:lnTo>
                    <a:pt x="164" y="18"/>
                  </a:lnTo>
                  <a:lnTo>
                    <a:pt x="190" y="10"/>
                  </a:lnTo>
                  <a:lnTo>
                    <a:pt x="216" y="4"/>
                  </a:lnTo>
                  <a:lnTo>
                    <a:pt x="242" y="0"/>
                  </a:lnTo>
                  <a:lnTo>
                    <a:pt x="270" y="0"/>
                  </a:lnTo>
                  <a:lnTo>
                    <a:pt x="270" y="0"/>
                  </a:lnTo>
                  <a:close/>
                  <a:moveTo>
                    <a:pt x="270" y="232"/>
                  </a:moveTo>
                  <a:lnTo>
                    <a:pt x="270" y="232"/>
                  </a:lnTo>
                  <a:close/>
                  <a:moveTo>
                    <a:pt x="220" y="50"/>
                  </a:moveTo>
                  <a:lnTo>
                    <a:pt x="220" y="50"/>
                  </a:lnTo>
                  <a:lnTo>
                    <a:pt x="220" y="196"/>
                  </a:lnTo>
                  <a:lnTo>
                    <a:pt x="220" y="196"/>
                  </a:lnTo>
                  <a:lnTo>
                    <a:pt x="214" y="186"/>
                  </a:lnTo>
                  <a:lnTo>
                    <a:pt x="208" y="176"/>
                  </a:lnTo>
                  <a:lnTo>
                    <a:pt x="194" y="160"/>
                  </a:lnTo>
                  <a:lnTo>
                    <a:pt x="176" y="144"/>
                  </a:lnTo>
                  <a:lnTo>
                    <a:pt x="156" y="130"/>
                  </a:lnTo>
                  <a:lnTo>
                    <a:pt x="48" y="130"/>
                  </a:lnTo>
                  <a:lnTo>
                    <a:pt x="48" y="130"/>
                  </a:lnTo>
                  <a:lnTo>
                    <a:pt x="76" y="152"/>
                  </a:lnTo>
                  <a:lnTo>
                    <a:pt x="106" y="178"/>
                  </a:lnTo>
                  <a:lnTo>
                    <a:pt x="120" y="192"/>
                  </a:lnTo>
                  <a:lnTo>
                    <a:pt x="130" y="204"/>
                  </a:lnTo>
                  <a:lnTo>
                    <a:pt x="136" y="218"/>
                  </a:lnTo>
                  <a:lnTo>
                    <a:pt x="138" y="230"/>
                  </a:lnTo>
                  <a:lnTo>
                    <a:pt x="138" y="230"/>
                  </a:lnTo>
                  <a:lnTo>
                    <a:pt x="138" y="236"/>
                  </a:lnTo>
                  <a:lnTo>
                    <a:pt x="136" y="240"/>
                  </a:lnTo>
                  <a:lnTo>
                    <a:pt x="132" y="244"/>
                  </a:lnTo>
                  <a:lnTo>
                    <a:pt x="128" y="246"/>
                  </a:lnTo>
                  <a:lnTo>
                    <a:pt x="11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38" y="25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146" y="330"/>
                  </a:lnTo>
                  <a:lnTo>
                    <a:pt x="146" y="330"/>
                  </a:lnTo>
                  <a:lnTo>
                    <a:pt x="166" y="328"/>
                  </a:lnTo>
                  <a:lnTo>
                    <a:pt x="176" y="324"/>
                  </a:lnTo>
                  <a:lnTo>
                    <a:pt x="186" y="320"/>
                  </a:lnTo>
                  <a:lnTo>
                    <a:pt x="196" y="314"/>
                  </a:lnTo>
                  <a:lnTo>
                    <a:pt x="206" y="306"/>
                  </a:lnTo>
                  <a:lnTo>
                    <a:pt x="214" y="296"/>
                  </a:lnTo>
                  <a:lnTo>
                    <a:pt x="220" y="284"/>
                  </a:lnTo>
                  <a:lnTo>
                    <a:pt x="220" y="390"/>
                  </a:lnTo>
                  <a:lnTo>
                    <a:pt x="320" y="390"/>
                  </a:lnTo>
                  <a:lnTo>
                    <a:pt x="320" y="284"/>
                  </a:lnTo>
                  <a:lnTo>
                    <a:pt x="320" y="284"/>
                  </a:lnTo>
                  <a:lnTo>
                    <a:pt x="326" y="296"/>
                  </a:lnTo>
                  <a:lnTo>
                    <a:pt x="334" y="306"/>
                  </a:lnTo>
                  <a:lnTo>
                    <a:pt x="342" y="314"/>
                  </a:lnTo>
                  <a:lnTo>
                    <a:pt x="352" y="320"/>
                  </a:lnTo>
                  <a:lnTo>
                    <a:pt x="362" y="324"/>
                  </a:lnTo>
                  <a:lnTo>
                    <a:pt x="372" y="328"/>
                  </a:lnTo>
                  <a:lnTo>
                    <a:pt x="392" y="330"/>
                  </a:lnTo>
                  <a:lnTo>
                    <a:pt x="392" y="330"/>
                  </a:lnTo>
                  <a:lnTo>
                    <a:pt x="500" y="330"/>
                  </a:lnTo>
                  <a:lnTo>
                    <a:pt x="500" y="250"/>
                  </a:lnTo>
                  <a:lnTo>
                    <a:pt x="500" y="250"/>
                  </a:lnTo>
                  <a:lnTo>
                    <a:pt x="432" y="250"/>
                  </a:lnTo>
                  <a:lnTo>
                    <a:pt x="432" y="250"/>
                  </a:lnTo>
                  <a:lnTo>
                    <a:pt x="422" y="250"/>
                  </a:lnTo>
                  <a:lnTo>
                    <a:pt x="412" y="246"/>
                  </a:lnTo>
                  <a:lnTo>
                    <a:pt x="408" y="244"/>
                  </a:lnTo>
                  <a:lnTo>
                    <a:pt x="404" y="240"/>
                  </a:lnTo>
                  <a:lnTo>
                    <a:pt x="402" y="236"/>
                  </a:lnTo>
                  <a:lnTo>
                    <a:pt x="400" y="230"/>
                  </a:lnTo>
                  <a:lnTo>
                    <a:pt x="400" y="230"/>
                  </a:lnTo>
                  <a:lnTo>
                    <a:pt x="402" y="218"/>
                  </a:lnTo>
                  <a:lnTo>
                    <a:pt x="410" y="204"/>
                  </a:lnTo>
                  <a:lnTo>
                    <a:pt x="420" y="192"/>
                  </a:lnTo>
                  <a:lnTo>
                    <a:pt x="432" y="178"/>
                  </a:lnTo>
                  <a:lnTo>
                    <a:pt x="462" y="152"/>
                  </a:lnTo>
                  <a:lnTo>
                    <a:pt x="492" y="130"/>
                  </a:lnTo>
                  <a:lnTo>
                    <a:pt x="382" y="130"/>
                  </a:lnTo>
                  <a:lnTo>
                    <a:pt x="382" y="130"/>
                  </a:lnTo>
                  <a:lnTo>
                    <a:pt x="364" y="144"/>
                  </a:lnTo>
                  <a:lnTo>
                    <a:pt x="346" y="160"/>
                  </a:lnTo>
                  <a:lnTo>
                    <a:pt x="330" y="176"/>
                  </a:lnTo>
                  <a:lnTo>
                    <a:pt x="324" y="186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20" y="50"/>
                  </a:lnTo>
                  <a:lnTo>
                    <a:pt x="22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5C38D3EF-421D-4733-83B1-0900F8CF8D4F}"/>
                </a:ext>
              </a:extLst>
            </p:cNvPr>
            <p:cNvGrpSpPr/>
            <p:nvPr/>
          </p:nvGrpSpPr>
          <p:grpSpPr>
            <a:xfrm>
              <a:off x="1314450" y="339725"/>
              <a:ext cx="5232400" cy="736600"/>
              <a:chOff x="1314450" y="339725"/>
              <a:chExt cx="5232400" cy="736600"/>
            </a:xfrm>
            <a:grpFill/>
          </p:grpSpPr>
          <p:sp>
            <p:nvSpPr>
              <p:cNvPr id="8" name="Freeform 9">
                <a:extLst>
                  <a:ext uri="{FF2B5EF4-FFF2-40B4-BE49-F238E27FC236}">
                    <a16:creationId xmlns:a16="http://schemas.microsoft.com/office/drawing/2014/main" id="{178FCD42-47FC-447D-BD4A-9F10D58E40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8175" y="352425"/>
                <a:ext cx="139700" cy="98425"/>
              </a:xfrm>
              <a:custGeom>
                <a:avLst/>
                <a:gdLst>
                  <a:gd name="T0" fmla="*/ 4 w 88"/>
                  <a:gd name="T1" fmla="*/ 0 h 62"/>
                  <a:gd name="T2" fmla="*/ 88 w 88"/>
                  <a:gd name="T3" fmla="*/ 0 h 62"/>
                  <a:gd name="T4" fmla="*/ 84 w 88"/>
                  <a:gd name="T5" fmla="*/ 62 h 62"/>
                  <a:gd name="T6" fmla="*/ 0 w 88"/>
                  <a:gd name="T7" fmla="*/ 62 h 62"/>
                  <a:gd name="T8" fmla="*/ 4 w 88"/>
                  <a:gd name="T9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" h="62">
                    <a:moveTo>
                      <a:pt x="4" y="0"/>
                    </a:moveTo>
                    <a:lnTo>
                      <a:pt x="88" y="0"/>
                    </a:lnTo>
                    <a:lnTo>
                      <a:pt x="84" y="62"/>
                    </a:lnTo>
                    <a:lnTo>
                      <a:pt x="0" y="6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" name="Freeform 10">
                <a:extLst>
                  <a:ext uri="{FF2B5EF4-FFF2-40B4-BE49-F238E27FC236}">
                    <a16:creationId xmlns:a16="http://schemas.microsoft.com/office/drawing/2014/main" id="{B36A55A5-7887-4C06-824A-733573BC88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97500" y="504825"/>
                <a:ext cx="393700" cy="393700"/>
              </a:xfrm>
              <a:custGeom>
                <a:avLst/>
                <a:gdLst>
                  <a:gd name="T0" fmla="*/ 152 w 248"/>
                  <a:gd name="T1" fmla="*/ 216 h 248"/>
                  <a:gd name="T2" fmla="*/ 138 w 248"/>
                  <a:gd name="T3" fmla="*/ 228 h 248"/>
                  <a:gd name="T4" fmla="*/ 112 w 248"/>
                  <a:gd name="T5" fmla="*/ 242 h 248"/>
                  <a:gd name="T6" fmla="*/ 92 w 248"/>
                  <a:gd name="T7" fmla="*/ 246 h 248"/>
                  <a:gd name="T8" fmla="*/ 80 w 248"/>
                  <a:gd name="T9" fmla="*/ 248 h 248"/>
                  <a:gd name="T10" fmla="*/ 44 w 248"/>
                  <a:gd name="T11" fmla="*/ 242 h 248"/>
                  <a:gd name="T12" fmla="*/ 18 w 248"/>
                  <a:gd name="T13" fmla="*/ 226 h 248"/>
                  <a:gd name="T14" fmla="*/ 4 w 248"/>
                  <a:gd name="T15" fmla="*/ 202 h 248"/>
                  <a:gd name="T16" fmla="*/ 0 w 248"/>
                  <a:gd name="T17" fmla="*/ 174 h 248"/>
                  <a:gd name="T18" fmla="*/ 2 w 248"/>
                  <a:gd name="T19" fmla="*/ 156 h 248"/>
                  <a:gd name="T20" fmla="*/ 20 w 248"/>
                  <a:gd name="T21" fmla="*/ 128 h 248"/>
                  <a:gd name="T22" fmla="*/ 54 w 248"/>
                  <a:gd name="T23" fmla="*/ 108 h 248"/>
                  <a:gd name="T24" fmla="*/ 104 w 248"/>
                  <a:gd name="T25" fmla="*/ 98 h 248"/>
                  <a:gd name="T26" fmla="*/ 162 w 248"/>
                  <a:gd name="T27" fmla="*/ 96 h 248"/>
                  <a:gd name="T28" fmla="*/ 164 w 248"/>
                  <a:gd name="T29" fmla="*/ 78 h 248"/>
                  <a:gd name="T30" fmla="*/ 162 w 248"/>
                  <a:gd name="T31" fmla="*/ 60 h 248"/>
                  <a:gd name="T32" fmla="*/ 154 w 248"/>
                  <a:gd name="T33" fmla="*/ 46 h 248"/>
                  <a:gd name="T34" fmla="*/ 136 w 248"/>
                  <a:gd name="T35" fmla="*/ 40 h 248"/>
                  <a:gd name="T36" fmla="*/ 126 w 248"/>
                  <a:gd name="T37" fmla="*/ 42 h 248"/>
                  <a:gd name="T38" fmla="*/ 114 w 248"/>
                  <a:gd name="T39" fmla="*/ 48 h 248"/>
                  <a:gd name="T40" fmla="*/ 106 w 248"/>
                  <a:gd name="T41" fmla="*/ 66 h 248"/>
                  <a:gd name="T42" fmla="*/ 22 w 248"/>
                  <a:gd name="T43" fmla="*/ 76 h 248"/>
                  <a:gd name="T44" fmla="*/ 24 w 248"/>
                  <a:gd name="T45" fmla="*/ 66 h 248"/>
                  <a:gd name="T46" fmla="*/ 28 w 248"/>
                  <a:gd name="T47" fmla="*/ 46 h 248"/>
                  <a:gd name="T48" fmla="*/ 38 w 248"/>
                  <a:gd name="T49" fmla="*/ 30 h 248"/>
                  <a:gd name="T50" fmla="*/ 54 w 248"/>
                  <a:gd name="T51" fmla="*/ 18 h 248"/>
                  <a:gd name="T52" fmla="*/ 62 w 248"/>
                  <a:gd name="T53" fmla="*/ 14 h 248"/>
                  <a:gd name="T54" fmla="*/ 102 w 248"/>
                  <a:gd name="T55" fmla="*/ 2 h 248"/>
                  <a:gd name="T56" fmla="*/ 144 w 248"/>
                  <a:gd name="T57" fmla="*/ 0 h 248"/>
                  <a:gd name="T58" fmla="*/ 164 w 248"/>
                  <a:gd name="T59" fmla="*/ 0 h 248"/>
                  <a:gd name="T60" fmla="*/ 200 w 248"/>
                  <a:gd name="T61" fmla="*/ 10 h 248"/>
                  <a:gd name="T62" fmla="*/ 230 w 248"/>
                  <a:gd name="T63" fmla="*/ 30 h 248"/>
                  <a:gd name="T64" fmla="*/ 240 w 248"/>
                  <a:gd name="T65" fmla="*/ 44 h 248"/>
                  <a:gd name="T66" fmla="*/ 246 w 248"/>
                  <a:gd name="T67" fmla="*/ 62 h 248"/>
                  <a:gd name="T68" fmla="*/ 248 w 248"/>
                  <a:gd name="T69" fmla="*/ 82 h 248"/>
                  <a:gd name="T70" fmla="*/ 242 w 248"/>
                  <a:gd name="T71" fmla="*/ 196 h 248"/>
                  <a:gd name="T72" fmla="*/ 242 w 248"/>
                  <a:gd name="T73" fmla="*/ 246 h 248"/>
                  <a:gd name="T74" fmla="*/ 152 w 248"/>
                  <a:gd name="T75" fmla="*/ 216 h 248"/>
                  <a:gd name="T76" fmla="*/ 114 w 248"/>
                  <a:gd name="T77" fmla="*/ 200 h 248"/>
                  <a:gd name="T78" fmla="*/ 138 w 248"/>
                  <a:gd name="T79" fmla="*/ 194 h 248"/>
                  <a:gd name="T80" fmla="*/ 152 w 248"/>
                  <a:gd name="T81" fmla="*/ 176 h 248"/>
                  <a:gd name="T82" fmla="*/ 158 w 248"/>
                  <a:gd name="T83" fmla="*/ 154 h 248"/>
                  <a:gd name="T84" fmla="*/ 160 w 248"/>
                  <a:gd name="T85" fmla="*/ 130 h 248"/>
                  <a:gd name="T86" fmla="*/ 122 w 248"/>
                  <a:gd name="T87" fmla="*/ 132 h 248"/>
                  <a:gd name="T88" fmla="*/ 110 w 248"/>
                  <a:gd name="T89" fmla="*/ 134 h 248"/>
                  <a:gd name="T90" fmla="*/ 94 w 248"/>
                  <a:gd name="T91" fmla="*/ 148 h 248"/>
                  <a:gd name="T92" fmla="*/ 86 w 248"/>
                  <a:gd name="T93" fmla="*/ 170 h 248"/>
                  <a:gd name="T94" fmla="*/ 86 w 248"/>
                  <a:gd name="T95" fmla="*/ 176 h 248"/>
                  <a:gd name="T96" fmla="*/ 92 w 248"/>
                  <a:gd name="T97" fmla="*/ 192 h 248"/>
                  <a:gd name="T98" fmla="*/ 102 w 248"/>
                  <a:gd name="T99" fmla="*/ 198 h 248"/>
                  <a:gd name="T100" fmla="*/ 114 w 248"/>
                  <a:gd name="T101" fmla="*/ 20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8" h="248">
                    <a:moveTo>
                      <a:pt x="152" y="216"/>
                    </a:moveTo>
                    <a:lnTo>
                      <a:pt x="152" y="216"/>
                    </a:lnTo>
                    <a:lnTo>
                      <a:pt x="152" y="216"/>
                    </a:lnTo>
                    <a:lnTo>
                      <a:pt x="138" y="228"/>
                    </a:lnTo>
                    <a:lnTo>
                      <a:pt x="122" y="238"/>
                    </a:lnTo>
                    <a:lnTo>
                      <a:pt x="112" y="242"/>
                    </a:lnTo>
                    <a:lnTo>
                      <a:pt x="102" y="246"/>
                    </a:lnTo>
                    <a:lnTo>
                      <a:pt x="92" y="246"/>
                    </a:lnTo>
                    <a:lnTo>
                      <a:pt x="80" y="248"/>
                    </a:lnTo>
                    <a:lnTo>
                      <a:pt x="80" y="248"/>
                    </a:lnTo>
                    <a:lnTo>
                      <a:pt x="60" y="246"/>
                    </a:lnTo>
                    <a:lnTo>
                      <a:pt x="44" y="242"/>
                    </a:lnTo>
                    <a:lnTo>
                      <a:pt x="30" y="234"/>
                    </a:lnTo>
                    <a:lnTo>
                      <a:pt x="18" y="226"/>
                    </a:lnTo>
                    <a:lnTo>
                      <a:pt x="10" y="216"/>
                    </a:lnTo>
                    <a:lnTo>
                      <a:pt x="4" y="202"/>
                    </a:lnTo>
                    <a:lnTo>
                      <a:pt x="0" y="188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2" y="156"/>
                    </a:lnTo>
                    <a:lnTo>
                      <a:pt x="8" y="142"/>
                    </a:lnTo>
                    <a:lnTo>
                      <a:pt x="20" y="128"/>
                    </a:lnTo>
                    <a:lnTo>
                      <a:pt x="34" y="116"/>
                    </a:lnTo>
                    <a:lnTo>
                      <a:pt x="54" y="108"/>
                    </a:lnTo>
                    <a:lnTo>
                      <a:pt x="76" y="102"/>
                    </a:lnTo>
                    <a:lnTo>
                      <a:pt x="104" y="98"/>
                    </a:lnTo>
                    <a:lnTo>
                      <a:pt x="134" y="96"/>
                    </a:lnTo>
                    <a:lnTo>
                      <a:pt x="162" y="96"/>
                    </a:lnTo>
                    <a:lnTo>
                      <a:pt x="162" y="96"/>
                    </a:lnTo>
                    <a:lnTo>
                      <a:pt x="164" y="78"/>
                    </a:lnTo>
                    <a:lnTo>
                      <a:pt x="164" y="70"/>
                    </a:lnTo>
                    <a:lnTo>
                      <a:pt x="162" y="60"/>
                    </a:lnTo>
                    <a:lnTo>
                      <a:pt x="160" y="52"/>
                    </a:lnTo>
                    <a:lnTo>
                      <a:pt x="154" y="46"/>
                    </a:lnTo>
                    <a:lnTo>
                      <a:pt x="146" y="42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26" y="42"/>
                    </a:lnTo>
                    <a:lnTo>
                      <a:pt x="120" y="44"/>
                    </a:lnTo>
                    <a:lnTo>
                      <a:pt x="114" y="48"/>
                    </a:lnTo>
                    <a:lnTo>
                      <a:pt x="110" y="54"/>
                    </a:lnTo>
                    <a:lnTo>
                      <a:pt x="106" y="66"/>
                    </a:lnTo>
                    <a:lnTo>
                      <a:pt x="104" y="76"/>
                    </a:lnTo>
                    <a:lnTo>
                      <a:pt x="22" y="76"/>
                    </a:lnTo>
                    <a:lnTo>
                      <a:pt x="22" y="76"/>
                    </a:lnTo>
                    <a:lnTo>
                      <a:pt x="24" y="66"/>
                    </a:lnTo>
                    <a:lnTo>
                      <a:pt x="26" y="54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38" y="30"/>
                    </a:lnTo>
                    <a:lnTo>
                      <a:pt x="46" y="24"/>
                    </a:lnTo>
                    <a:lnTo>
                      <a:pt x="54" y="18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2" y="6"/>
                    </a:lnTo>
                    <a:lnTo>
                      <a:pt x="102" y="2"/>
                    </a:lnTo>
                    <a:lnTo>
                      <a:pt x="124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64" y="0"/>
                    </a:lnTo>
                    <a:lnTo>
                      <a:pt x="182" y="4"/>
                    </a:lnTo>
                    <a:lnTo>
                      <a:pt x="200" y="10"/>
                    </a:lnTo>
                    <a:lnTo>
                      <a:pt x="216" y="18"/>
                    </a:lnTo>
                    <a:lnTo>
                      <a:pt x="230" y="30"/>
                    </a:lnTo>
                    <a:lnTo>
                      <a:pt x="236" y="38"/>
                    </a:lnTo>
                    <a:lnTo>
                      <a:pt x="240" y="44"/>
                    </a:lnTo>
                    <a:lnTo>
                      <a:pt x="244" y="52"/>
                    </a:lnTo>
                    <a:lnTo>
                      <a:pt x="246" y="62"/>
                    </a:lnTo>
                    <a:lnTo>
                      <a:pt x="248" y="72"/>
                    </a:lnTo>
                    <a:lnTo>
                      <a:pt x="248" y="82"/>
                    </a:lnTo>
                    <a:lnTo>
                      <a:pt x="242" y="196"/>
                    </a:lnTo>
                    <a:lnTo>
                      <a:pt x="242" y="196"/>
                    </a:lnTo>
                    <a:lnTo>
                      <a:pt x="240" y="214"/>
                    </a:lnTo>
                    <a:lnTo>
                      <a:pt x="242" y="246"/>
                    </a:lnTo>
                    <a:lnTo>
                      <a:pt x="158" y="246"/>
                    </a:lnTo>
                    <a:lnTo>
                      <a:pt x="152" y="216"/>
                    </a:lnTo>
                    <a:close/>
                    <a:moveTo>
                      <a:pt x="114" y="200"/>
                    </a:moveTo>
                    <a:lnTo>
                      <a:pt x="114" y="200"/>
                    </a:lnTo>
                    <a:lnTo>
                      <a:pt x="128" y="198"/>
                    </a:lnTo>
                    <a:lnTo>
                      <a:pt x="138" y="194"/>
                    </a:lnTo>
                    <a:lnTo>
                      <a:pt x="146" y="186"/>
                    </a:lnTo>
                    <a:lnTo>
                      <a:pt x="152" y="176"/>
                    </a:lnTo>
                    <a:lnTo>
                      <a:pt x="156" y="166"/>
                    </a:lnTo>
                    <a:lnTo>
                      <a:pt x="158" y="154"/>
                    </a:lnTo>
                    <a:lnTo>
                      <a:pt x="160" y="130"/>
                    </a:lnTo>
                    <a:lnTo>
                      <a:pt x="160" y="130"/>
                    </a:lnTo>
                    <a:lnTo>
                      <a:pt x="134" y="130"/>
                    </a:lnTo>
                    <a:lnTo>
                      <a:pt x="122" y="132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2" y="140"/>
                    </a:lnTo>
                    <a:lnTo>
                      <a:pt x="94" y="148"/>
                    </a:lnTo>
                    <a:lnTo>
                      <a:pt x="88" y="158"/>
                    </a:lnTo>
                    <a:lnTo>
                      <a:pt x="86" y="170"/>
                    </a:lnTo>
                    <a:lnTo>
                      <a:pt x="86" y="170"/>
                    </a:lnTo>
                    <a:lnTo>
                      <a:pt x="86" y="176"/>
                    </a:lnTo>
                    <a:lnTo>
                      <a:pt x="88" y="182"/>
                    </a:lnTo>
                    <a:lnTo>
                      <a:pt x="92" y="192"/>
                    </a:lnTo>
                    <a:lnTo>
                      <a:pt x="96" y="194"/>
                    </a:lnTo>
                    <a:lnTo>
                      <a:pt x="102" y="198"/>
                    </a:lnTo>
                    <a:lnTo>
                      <a:pt x="108" y="200"/>
                    </a:lnTo>
                    <a:lnTo>
                      <a:pt x="114" y="200"/>
                    </a:lnTo>
                    <a:lnTo>
                      <a:pt x="114" y="2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Freeform 11">
                <a:extLst>
                  <a:ext uri="{FF2B5EF4-FFF2-40B4-BE49-F238E27FC236}">
                    <a16:creationId xmlns:a16="http://schemas.microsoft.com/office/drawing/2014/main" id="{18AC3A23-EF36-4D81-ABDC-389239B5C0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92825" y="352425"/>
                <a:ext cx="454025" cy="542925"/>
              </a:xfrm>
              <a:custGeom>
                <a:avLst/>
                <a:gdLst>
                  <a:gd name="T0" fmla="*/ 0 w 286"/>
                  <a:gd name="T1" fmla="*/ 342 h 342"/>
                  <a:gd name="T2" fmla="*/ 24 w 286"/>
                  <a:gd name="T3" fmla="*/ 0 h 342"/>
                  <a:gd name="T4" fmla="*/ 114 w 286"/>
                  <a:gd name="T5" fmla="*/ 0 h 342"/>
                  <a:gd name="T6" fmla="*/ 90 w 286"/>
                  <a:gd name="T7" fmla="*/ 342 h 342"/>
                  <a:gd name="T8" fmla="*/ 0 w 286"/>
                  <a:gd name="T9" fmla="*/ 342 h 342"/>
                  <a:gd name="T10" fmla="*/ 100 w 286"/>
                  <a:gd name="T11" fmla="*/ 210 h 342"/>
                  <a:gd name="T12" fmla="*/ 184 w 286"/>
                  <a:gd name="T13" fmla="*/ 104 h 342"/>
                  <a:gd name="T14" fmla="*/ 286 w 286"/>
                  <a:gd name="T15" fmla="*/ 104 h 342"/>
                  <a:gd name="T16" fmla="*/ 194 w 286"/>
                  <a:gd name="T17" fmla="*/ 204 h 342"/>
                  <a:gd name="T18" fmla="*/ 282 w 286"/>
                  <a:gd name="T19" fmla="*/ 342 h 342"/>
                  <a:gd name="T20" fmla="*/ 170 w 286"/>
                  <a:gd name="T21" fmla="*/ 342 h 342"/>
                  <a:gd name="T22" fmla="*/ 100 w 286"/>
                  <a:gd name="T23" fmla="*/ 21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6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4" y="0"/>
                    </a:lnTo>
                    <a:lnTo>
                      <a:pt x="90" y="342"/>
                    </a:lnTo>
                    <a:lnTo>
                      <a:pt x="0" y="342"/>
                    </a:lnTo>
                    <a:close/>
                    <a:moveTo>
                      <a:pt x="100" y="210"/>
                    </a:moveTo>
                    <a:lnTo>
                      <a:pt x="184" y="104"/>
                    </a:lnTo>
                    <a:lnTo>
                      <a:pt x="286" y="104"/>
                    </a:lnTo>
                    <a:lnTo>
                      <a:pt x="194" y="204"/>
                    </a:lnTo>
                    <a:lnTo>
                      <a:pt x="282" y="342"/>
                    </a:lnTo>
                    <a:lnTo>
                      <a:pt x="170" y="342"/>
                    </a:lnTo>
                    <a:lnTo>
                      <a:pt x="10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Freeform 12">
                <a:extLst>
                  <a:ext uri="{FF2B5EF4-FFF2-40B4-BE49-F238E27FC236}">
                    <a16:creationId xmlns:a16="http://schemas.microsoft.com/office/drawing/2014/main" id="{A66A789A-EF0F-415C-92FD-D43843D9E7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6800" y="517525"/>
                <a:ext cx="292100" cy="377825"/>
              </a:xfrm>
              <a:custGeom>
                <a:avLst/>
                <a:gdLst>
                  <a:gd name="T0" fmla="*/ 104 w 184"/>
                  <a:gd name="T1" fmla="*/ 34 h 238"/>
                  <a:gd name="T2" fmla="*/ 106 w 184"/>
                  <a:gd name="T3" fmla="*/ 34 h 238"/>
                  <a:gd name="T4" fmla="*/ 106 w 184"/>
                  <a:gd name="T5" fmla="*/ 34 h 238"/>
                  <a:gd name="T6" fmla="*/ 114 w 184"/>
                  <a:gd name="T7" fmla="*/ 24 h 238"/>
                  <a:gd name="T8" fmla="*/ 124 w 184"/>
                  <a:gd name="T9" fmla="*/ 16 h 238"/>
                  <a:gd name="T10" fmla="*/ 132 w 184"/>
                  <a:gd name="T11" fmla="*/ 10 h 238"/>
                  <a:gd name="T12" fmla="*/ 142 w 184"/>
                  <a:gd name="T13" fmla="*/ 6 h 238"/>
                  <a:gd name="T14" fmla="*/ 152 w 184"/>
                  <a:gd name="T15" fmla="*/ 4 h 238"/>
                  <a:gd name="T16" fmla="*/ 162 w 184"/>
                  <a:gd name="T17" fmla="*/ 2 h 238"/>
                  <a:gd name="T18" fmla="*/ 184 w 184"/>
                  <a:gd name="T19" fmla="*/ 0 h 238"/>
                  <a:gd name="T20" fmla="*/ 178 w 184"/>
                  <a:gd name="T21" fmla="*/ 76 h 238"/>
                  <a:gd name="T22" fmla="*/ 178 w 184"/>
                  <a:gd name="T23" fmla="*/ 76 h 238"/>
                  <a:gd name="T24" fmla="*/ 160 w 184"/>
                  <a:gd name="T25" fmla="*/ 76 h 238"/>
                  <a:gd name="T26" fmla="*/ 160 w 184"/>
                  <a:gd name="T27" fmla="*/ 76 h 238"/>
                  <a:gd name="T28" fmla="*/ 140 w 184"/>
                  <a:gd name="T29" fmla="*/ 78 h 238"/>
                  <a:gd name="T30" fmla="*/ 126 w 184"/>
                  <a:gd name="T31" fmla="*/ 82 h 238"/>
                  <a:gd name="T32" fmla="*/ 116 w 184"/>
                  <a:gd name="T33" fmla="*/ 88 h 238"/>
                  <a:gd name="T34" fmla="*/ 108 w 184"/>
                  <a:gd name="T35" fmla="*/ 98 h 238"/>
                  <a:gd name="T36" fmla="*/ 102 w 184"/>
                  <a:gd name="T37" fmla="*/ 108 h 238"/>
                  <a:gd name="T38" fmla="*/ 100 w 184"/>
                  <a:gd name="T39" fmla="*/ 120 h 238"/>
                  <a:gd name="T40" fmla="*/ 98 w 184"/>
                  <a:gd name="T41" fmla="*/ 148 h 238"/>
                  <a:gd name="T42" fmla="*/ 92 w 184"/>
                  <a:gd name="T43" fmla="*/ 238 h 238"/>
                  <a:gd name="T44" fmla="*/ 0 w 184"/>
                  <a:gd name="T45" fmla="*/ 238 h 238"/>
                  <a:gd name="T46" fmla="*/ 12 w 184"/>
                  <a:gd name="T47" fmla="*/ 62 h 238"/>
                  <a:gd name="T48" fmla="*/ 12 w 184"/>
                  <a:gd name="T49" fmla="*/ 62 h 238"/>
                  <a:gd name="T50" fmla="*/ 14 w 184"/>
                  <a:gd name="T51" fmla="*/ 32 h 238"/>
                  <a:gd name="T52" fmla="*/ 14 w 184"/>
                  <a:gd name="T53" fmla="*/ 0 h 238"/>
                  <a:gd name="T54" fmla="*/ 102 w 184"/>
                  <a:gd name="T55" fmla="*/ 0 h 238"/>
                  <a:gd name="T56" fmla="*/ 104 w 184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4" h="238">
                    <a:moveTo>
                      <a:pt x="104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4" y="24"/>
                    </a:lnTo>
                    <a:lnTo>
                      <a:pt x="124" y="16"/>
                    </a:lnTo>
                    <a:lnTo>
                      <a:pt x="132" y="10"/>
                    </a:lnTo>
                    <a:lnTo>
                      <a:pt x="142" y="6"/>
                    </a:lnTo>
                    <a:lnTo>
                      <a:pt x="152" y="4"/>
                    </a:lnTo>
                    <a:lnTo>
                      <a:pt x="162" y="2"/>
                    </a:lnTo>
                    <a:lnTo>
                      <a:pt x="184" y="0"/>
                    </a:lnTo>
                    <a:lnTo>
                      <a:pt x="178" y="76"/>
                    </a:lnTo>
                    <a:lnTo>
                      <a:pt x="178" y="76"/>
                    </a:lnTo>
                    <a:lnTo>
                      <a:pt x="160" y="76"/>
                    </a:lnTo>
                    <a:lnTo>
                      <a:pt x="160" y="76"/>
                    </a:lnTo>
                    <a:lnTo>
                      <a:pt x="140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2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4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13">
                <a:extLst>
                  <a:ext uri="{FF2B5EF4-FFF2-40B4-BE49-F238E27FC236}">
                    <a16:creationId xmlns:a16="http://schemas.microsoft.com/office/drawing/2014/main" id="{73E39B2D-ADB7-4D1D-B21F-D326D5344E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9375" y="352425"/>
                <a:ext cx="174625" cy="542925"/>
              </a:xfrm>
              <a:custGeom>
                <a:avLst/>
                <a:gdLst>
                  <a:gd name="T0" fmla="*/ 0 w 110"/>
                  <a:gd name="T1" fmla="*/ 342 h 342"/>
                  <a:gd name="T2" fmla="*/ 24 w 110"/>
                  <a:gd name="T3" fmla="*/ 0 h 342"/>
                  <a:gd name="T4" fmla="*/ 110 w 110"/>
                  <a:gd name="T5" fmla="*/ 0 h 342"/>
                  <a:gd name="T6" fmla="*/ 86 w 110"/>
                  <a:gd name="T7" fmla="*/ 342 h 342"/>
                  <a:gd name="T8" fmla="*/ 0 w 110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0" y="0"/>
                    </a:lnTo>
                    <a:lnTo>
                      <a:pt x="86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14">
                <a:extLst>
                  <a:ext uri="{FF2B5EF4-FFF2-40B4-BE49-F238E27FC236}">
                    <a16:creationId xmlns:a16="http://schemas.microsoft.com/office/drawing/2014/main" id="{4F96BB26-4B10-440D-9F9C-1E45EE302A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40025" y="352425"/>
                <a:ext cx="438150" cy="546100"/>
              </a:xfrm>
              <a:custGeom>
                <a:avLst/>
                <a:gdLst>
                  <a:gd name="T0" fmla="*/ 112 w 276"/>
                  <a:gd name="T1" fmla="*/ 0 h 344"/>
                  <a:gd name="T2" fmla="*/ 104 w 276"/>
                  <a:gd name="T3" fmla="*/ 136 h 344"/>
                  <a:gd name="T4" fmla="*/ 120 w 276"/>
                  <a:gd name="T5" fmla="*/ 122 h 344"/>
                  <a:gd name="T6" fmla="*/ 146 w 276"/>
                  <a:gd name="T7" fmla="*/ 104 h 344"/>
                  <a:gd name="T8" fmla="*/ 168 w 276"/>
                  <a:gd name="T9" fmla="*/ 98 h 344"/>
                  <a:gd name="T10" fmla="*/ 180 w 276"/>
                  <a:gd name="T11" fmla="*/ 98 h 344"/>
                  <a:gd name="T12" fmla="*/ 206 w 276"/>
                  <a:gd name="T13" fmla="*/ 100 h 344"/>
                  <a:gd name="T14" fmla="*/ 226 w 276"/>
                  <a:gd name="T15" fmla="*/ 108 h 344"/>
                  <a:gd name="T16" fmla="*/ 244 w 276"/>
                  <a:gd name="T17" fmla="*/ 120 h 344"/>
                  <a:gd name="T18" fmla="*/ 258 w 276"/>
                  <a:gd name="T19" fmla="*/ 136 h 344"/>
                  <a:gd name="T20" fmla="*/ 274 w 276"/>
                  <a:gd name="T21" fmla="*/ 176 h 344"/>
                  <a:gd name="T22" fmla="*/ 276 w 276"/>
                  <a:gd name="T23" fmla="*/ 220 h 344"/>
                  <a:gd name="T24" fmla="*/ 274 w 276"/>
                  <a:gd name="T25" fmla="*/ 242 h 344"/>
                  <a:gd name="T26" fmla="*/ 260 w 276"/>
                  <a:gd name="T27" fmla="*/ 284 h 344"/>
                  <a:gd name="T28" fmla="*/ 240 w 276"/>
                  <a:gd name="T29" fmla="*/ 312 h 344"/>
                  <a:gd name="T30" fmla="*/ 222 w 276"/>
                  <a:gd name="T31" fmla="*/ 328 h 344"/>
                  <a:gd name="T32" fmla="*/ 202 w 276"/>
                  <a:gd name="T33" fmla="*/ 338 h 344"/>
                  <a:gd name="T34" fmla="*/ 176 w 276"/>
                  <a:gd name="T35" fmla="*/ 344 h 344"/>
                  <a:gd name="T36" fmla="*/ 160 w 276"/>
                  <a:gd name="T37" fmla="*/ 344 h 344"/>
                  <a:gd name="T38" fmla="*/ 140 w 276"/>
                  <a:gd name="T39" fmla="*/ 342 h 344"/>
                  <a:gd name="T40" fmla="*/ 106 w 276"/>
                  <a:gd name="T41" fmla="*/ 324 h 344"/>
                  <a:gd name="T42" fmla="*/ 92 w 276"/>
                  <a:gd name="T43" fmla="*/ 312 h 344"/>
                  <a:gd name="T44" fmla="*/ 0 w 276"/>
                  <a:gd name="T45" fmla="*/ 342 h 344"/>
                  <a:gd name="T46" fmla="*/ 94 w 276"/>
                  <a:gd name="T47" fmla="*/ 226 h 344"/>
                  <a:gd name="T48" fmla="*/ 96 w 276"/>
                  <a:gd name="T49" fmla="*/ 250 h 344"/>
                  <a:gd name="T50" fmla="*/ 102 w 276"/>
                  <a:gd name="T51" fmla="*/ 272 h 344"/>
                  <a:gd name="T52" fmla="*/ 114 w 276"/>
                  <a:gd name="T53" fmla="*/ 288 h 344"/>
                  <a:gd name="T54" fmla="*/ 134 w 276"/>
                  <a:gd name="T55" fmla="*/ 296 h 344"/>
                  <a:gd name="T56" fmla="*/ 148 w 276"/>
                  <a:gd name="T57" fmla="*/ 294 h 344"/>
                  <a:gd name="T58" fmla="*/ 168 w 276"/>
                  <a:gd name="T59" fmla="*/ 282 h 344"/>
                  <a:gd name="T60" fmla="*/ 180 w 276"/>
                  <a:gd name="T61" fmla="*/ 260 h 344"/>
                  <a:gd name="T62" fmla="*/ 186 w 276"/>
                  <a:gd name="T63" fmla="*/ 222 h 344"/>
                  <a:gd name="T64" fmla="*/ 186 w 276"/>
                  <a:gd name="T65" fmla="*/ 198 h 344"/>
                  <a:gd name="T66" fmla="*/ 180 w 276"/>
                  <a:gd name="T67" fmla="*/ 174 h 344"/>
                  <a:gd name="T68" fmla="*/ 168 w 276"/>
                  <a:gd name="T69" fmla="*/ 156 h 344"/>
                  <a:gd name="T70" fmla="*/ 146 w 276"/>
                  <a:gd name="T71" fmla="*/ 150 h 344"/>
                  <a:gd name="T72" fmla="*/ 132 w 276"/>
                  <a:gd name="T73" fmla="*/ 152 h 344"/>
                  <a:gd name="T74" fmla="*/ 112 w 276"/>
                  <a:gd name="T75" fmla="*/ 166 h 344"/>
                  <a:gd name="T76" fmla="*/ 100 w 276"/>
                  <a:gd name="T77" fmla="*/ 188 h 344"/>
                  <a:gd name="T78" fmla="*/ 94 w 276"/>
                  <a:gd name="T79" fmla="*/ 226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6" h="344">
                    <a:moveTo>
                      <a:pt x="24" y="0"/>
                    </a:moveTo>
                    <a:lnTo>
                      <a:pt x="112" y="0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20" y="122"/>
                    </a:lnTo>
                    <a:lnTo>
                      <a:pt x="138" y="108"/>
                    </a:lnTo>
                    <a:lnTo>
                      <a:pt x="146" y="104"/>
                    </a:lnTo>
                    <a:lnTo>
                      <a:pt x="158" y="100"/>
                    </a:lnTo>
                    <a:lnTo>
                      <a:pt x="168" y="98"/>
                    </a:lnTo>
                    <a:lnTo>
                      <a:pt x="180" y="98"/>
                    </a:lnTo>
                    <a:lnTo>
                      <a:pt x="180" y="98"/>
                    </a:lnTo>
                    <a:lnTo>
                      <a:pt x="194" y="98"/>
                    </a:lnTo>
                    <a:lnTo>
                      <a:pt x="206" y="100"/>
                    </a:lnTo>
                    <a:lnTo>
                      <a:pt x="216" y="104"/>
                    </a:lnTo>
                    <a:lnTo>
                      <a:pt x="226" y="108"/>
                    </a:lnTo>
                    <a:lnTo>
                      <a:pt x="236" y="114"/>
                    </a:lnTo>
                    <a:lnTo>
                      <a:pt x="244" y="120"/>
                    </a:lnTo>
                    <a:lnTo>
                      <a:pt x="250" y="128"/>
                    </a:lnTo>
                    <a:lnTo>
                      <a:pt x="258" y="136"/>
                    </a:lnTo>
                    <a:lnTo>
                      <a:pt x="266" y="156"/>
                    </a:lnTo>
                    <a:lnTo>
                      <a:pt x="274" y="176"/>
                    </a:lnTo>
                    <a:lnTo>
                      <a:pt x="276" y="198"/>
                    </a:lnTo>
                    <a:lnTo>
                      <a:pt x="276" y="220"/>
                    </a:lnTo>
                    <a:lnTo>
                      <a:pt x="276" y="220"/>
                    </a:lnTo>
                    <a:lnTo>
                      <a:pt x="274" y="242"/>
                    </a:lnTo>
                    <a:lnTo>
                      <a:pt x="268" y="264"/>
                    </a:lnTo>
                    <a:lnTo>
                      <a:pt x="260" y="284"/>
                    </a:lnTo>
                    <a:lnTo>
                      <a:pt x="248" y="304"/>
                    </a:lnTo>
                    <a:lnTo>
                      <a:pt x="240" y="312"/>
                    </a:lnTo>
                    <a:lnTo>
                      <a:pt x="232" y="320"/>
                    </a:lnTo>
                    <a:lnTo>
                      <a:pt x="222" y="328"/>
                    </a:lnTo>
                    <a:lnTo>
                      <a:pt x="212" y="334"/>
                    </a:lnTo>
                    <a:lnTo>
                      <a:pt x="202" y="338"/>
                    </a:lnTo>
                    <a:lnTo>
                      <a:pt x="188" y="342"/>
                    </a:lnTo>
                    <a:lnTo>
                      <a:pt x="176" y="344"/>
                    </a:lnTo>
                    <a:lnTo>
                      <a:pt x="160" y="344"/>
                    </a:lnTo>
                    <a:lnTo>
                      <a:pt x="160" y="344"/>
                    </a:lnTo>
                    <a:lnTo>
                      <a:pt x="150" y="344"/>
                    </a:lnTo>
                    <a:lnTo>
                      <a:pt x="140" y="342"/>
                    </a:lnTo>
                    <a:lnTo>
                      <a:pt x="122" y="336"/>
                    </a:lnTo>
                    <a:lnTo>
                      <a:pt x="106" y="324"/>
                    </a:lnTo>
                    <a:lnTo>
                      <a:pt x="94" y="312"/>
                    </a:lnTo>
                    <a:lnTo>
                      <a:pt x="92" y="312"/>
                    </a:lnTo>
                    <a:lnTo>
                      <a:pt x="88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  <a:moveTo>
                      <a:pt x="94" y="226"/>
                    </a:moveTo>
                    <a:lnTo>
                      <a:pt x="94" y="226"/>
                    </a:lnTo>
                    <a:lnTo>
                      <a:pt x="96" y="250"/>
                    </a:lnTo>
                    <a:lnTo>
                      <a:pt x="98" y="260"/>
                    </a:lnTo>
                    <a:lnTo>
                      <a:pt x="102" y="272"/>
                    </a:lnTo>
                    <a:lnTo>
                      <a:pt x="106" y="282"/>
                    </a:lnTo>
                    <a:lnTo>
                      <a:pt x="114" y="288"/>
                    </a:lnTo>
                    <a:lnTo>
                      <a:pt x="122" y="294"/>
                    </a:lnTo>
                    <a:lnTo>
                      <a:pt x="134" y="296"/>
                    </a:lnTo>
                    <a:lnTo>
                      <a:pt x="134" y="296"/>
                    </a:lnTo>
                    <a:lnTo>
                      <a:pt x="148" y="294"/>
                    </a:lnTo>
                    <a:lnTo>
                      <a:pt x="158" y="288"/>
                    </a:lnTo>
                    <a:lnTo>
                      <a:pt x="168" y="282"/>
                    </a:lnTo>
                    <a:lnTo>
                      <a:pt x="174" y="272"/>
                    </a:lnTo>
                    <a:lnTo>
                      <a:pt x="180" y="260"/>
                    </a:lnTo>
                    <a:lnTo>
                      <a:pt x="184" y="248"/>
                    </a:lnTo>
                    <a:lnTo>
                      <a:pt x="186" y="222"/>
                    </a:lnTo>
                    <a:lnTo>
                      <a:pt x="186" y="222"/>
                    </a:lnTo>
                    <a:lnTo>
                      <a:pt x="186" y="198"/>
                    </a:lnTo>
                    <a:lnTo>
                      <a:pt x="184" y="186"/>
                    </a:lnTo>
                    <a:lnTo>
                      <a:pt x="180" y="174"/>
                    </a:lnTo>
                    <a:lnTo>
                      <a:pt x="176" y="164"/>
                    </a:lnTo>
                    <a:lnTo>
                      <a:pt x="168" y="156"/>
                    </a:lnTo>
                    <a:lnTo>
                      <a:pt x="158" y="152"/>
                    </a:lnTo>
                    <a:lnTo>
                      <a:pt x="146" y="150"/>
                    </a:lnTo>
                    <a:lnTo>
                      <a:pt x="146" y="150"/>
                    </a:lnTo>
                    <a:lnTo>
                      <a:pt x="132" y="152"/>
                    </a:lnTo>
                    <a:lnTo>
                      <a:pt x="120" y="156"/>
                    </a:lnTo>
                    <a:lnTo>
                      <a:pt x="112" y="166"/>
                    </a:lnTo>
                    <a:lnTo>
                      <a:pt x="104" y="176"/>
                    </a:lnTo>
                    <a:lnTo>
                      <a:pt x="100" y="188"/>
                    </a:lnTo>
                    <a:lnTo>
                      <a:pt x="98" y="200"/>
                    </a:lnTo>
                    <a:lnTo>
                      <a:pt x="94" y="226"/>
                    </a:lnTo>
                    <a:lnTo>
                      <a:pt x="94" y="2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15">
                <a:extLst>
                  <a:ext uri="{FF2B5EF4-FFF2-40B4-BE49-F238E27FC236}">
                    <a16:creationId xmlns:a16="http://schemas.microsoft.com/office/drawing/2014/main" id="{752DA0B4-A9DF-4355-942F-1900725767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97225" y="504825"/>
                <a:ext cx="406400" cy="396875"/>
              </a:xfrm>
              <a:custGeom>
                <a:avLst/>
                <a:gdLst>
                  <a:gd name="T0" fmla="*/ 86 w 256"/>
                  <a:gd name="T1" fmla="*/ 142 h 250"/>
                  <a:gd name="T2" fmla="*/ 86 w 256"/>
                  <a:gd name="T3" fmla="*/ 166 h 250"/>
                  <a:gd name="T4" fmla="*/ 90 w 256"/>
                  <a:gd name="T5" fmla="*/ 184 h 250"/>
                  <a:gd name="T6" fmla="*/ 102 w 256"/>
                  <a:gd name="T7" fmla="*/ 196 h 250"/>
                  <a:gd name="T8" fmla="*/ 124 w 256"/>
                  <a:gd name="T9" fmla="*/ 202 h 250"/>
                  <a:gd name="T10" fmla="*/ 132 w 256"/>
                  <a:gd name="T11" fmla="*/ 200 h 250"/>
                  <a:gd name="T12" fmla="*/ 148 w 256"/>
                  <a:gd name="T13" fmla="*/ 196 h 250"/>
                  <a:gd name="T14" fmla="*/ 158 w 256"/>
                  <a:gd name="T15" fmla="*/ 186 h 250"/>
                  <a:gd name="T16" fmla="*/ 164 w 256"/>
                  <a:gd name="T17" fmla="*/ 174 h 250"/>
                  <a:gd name="T18" fmla="*/ 248 w 256"/>
                  <a:gd name="T19" fmla="*/ 170 h 250"/>
                  <a:gd name="T20" fmla="*/ 246 w 256"/>
                  <a:gd name="T21" fmla="*/ 180 h 250"/>
                  <a:gd name="T22" fmla="*/ 238 w 256"/>
                  <a:gd name="T23" fmla="*/ 198 h 250"/>
                  <a:gd name="T24" fmla="*/ 218 w 256"/>
                  <a:gd name="T25" fmla="*/ 222 h 250"/>
                  <a:gd name="T26" fmla="*/ 202 w 256"/>
                  <a:gd name="T27" fmla="*/ 234 h 250"/>
                  <a:gd name="T28" fmla="*/ 168 w 256"/>
                  <a:gd name="T29" fmla="*/ 246 h 250"/>
                  <a:gd name="T30" fmla="*/ 128 w 256"/>
                  <a:gd name="T31" fmla="*/ 250 h 250"/>
                  <a:gd name="T32" fmla="*/ 96 w 256"/>
                  <a:gd name="T33" fmla="*/ 248 h 250"/>
                  <a:gd name="T34" fmla="*/ 66 w 256"/>
                  <a:gd name="T35" fmla="*/ 242 h 250"/>
                  <a:gd name="T36" fmla="*/ 44 w 256"/>
                  <a:gd name="T37" fmla="*/ 232 h 250"/>
                  <a:gd name="T38" fmla="*/ 26 w 256"/>
                  <a:gd name="T39" fmla="*/ 218 h 250"/>
                  <a:gd name="T40" fmla="*/ 12 w 256"/>
                  <a:gd name="T41" fmla="*/ 200 h 250"/>
                  <a:gd name="T42" fmla="*/ 4 w 256"/>
                  <a:gd name="T43" fmla="*/ 178 h 250"/>
                  <a:gd name="T44" fmla="*/ 0 w 256"/>
                  <a:gd name="T45" fmla="*/ 150 h 250"/>
                  <a:gd name="T46" fmla="*/ 0 w 256"/>
                  <a:gd name="T47" fmla="*/ 118 h 250"/>
                  <a:gd name="T48" fmla="*/ 4 w 256"/>
                  <a:gd name="T49" fmla="*/ 92 h 250"/>
                  <a:gd name="T50" fmla="*/ 14 w 256"/>
                  <a:gd name="T51" fmla="*/ 68 h 250"/>
                  <a:gd name="T52" fmla="*/ 26 w 256"/>
                  <a:gd name="T53" fmla="*/ 48 h 250"/>
                  <a:gd name="T54" fmla="*/ 44 w 256"/>
                  <a:gd name="T55" fmla="*/ 32 h 250"/>
                  <a:gd name="T56" fmla="*/ 86 w 256"/>
                  <a:gd name="T57" fmla="*/ 8 h 250"/>
                  <a:gd name="T58" fmla="*/ 138 w 256"/>
                  <a:gd name="T59" fmla="*/ 0 h 250"/>
                  <a:gd name="T60" fmla="*/ 154 w 256"/>
                  <a:gd name="T61" fmla="*/ 2 h 250"/>
                  <a:gd name="T62" fmla="*/ 184 w 256"/>
                  <a:gd name="T63" fmla="*/ 6 h 250"/>
                  <a:gd name="T64" fmla="*/ 208 w 256"/>
                  <a:gd name="T65" fmla="*/ 18 h 250"/>
                  <a:gd name="T66" fmla="*/ 228 w 256"/>
                  <a:gd name="T67" fmla="*/ 32 h 250"/>
                  <a:gd name="T68" fmla="*/ 242 w 256"/>
                  <a:gd name="T69" fmla="*/ 50 h 250"/>
                  <a:gd name="T70" fmla="*/ 250 w 256"/>
                  <a:gd name="T71" fmla="*/ 72 h 250"/>
                  <a:gd name="T72" fmla="*/ 256 w 256"/>
                  <a:gd name="T73" fmla="*/ 112 h 250"/>
                  <a:gd name="T74" fmla="*/ 86 w 256"/>
                  <a:gd name="T75" fmla="*/ 142 h 250"/>
                  <a:gd name="T76" fmla="*/ 172 w 256"/>
                  <a:gd name="T77" fmla="*/ 98 h 250"/>
                  <a:gd name="T78" fmla="*/ 170 w 256"/>
                  <a:gd name="T79" fmla="*/ 78 h 250"/>
                  <a:gd name="T80" fmla="*/ 164 w 256"/>
                  <a:gd name="T81" fmla="*/ 62 h 250"/>
                  <a:gd name="T82" fmla="*/ 158 w 256"/>
                  <a:gd name="T83" fmla="*/ 56 h 250"/>
                  <a:gd name="T84" fmla="*/ 142 w 256"/>
                  <a:gd name="T85" fmla="*/ 48 h 250"/>
                  <a:gd name="T86" fmla="*/ 134 w 256"/>
                  <a:gd name="T87" fmla="*/ 46 h 250"/>
                  <a:gd name="T88" fmla="*/ 114 w 256"/>
                  <a:gd name="T89" fmla="*/ 52 h 250"/>
                  <a:gd name="T90" fmla="*/ 102 w 256"/>
                  <a:gd name="T91" fmla="*/ 62 h 250"/>
                  <a:gd name="T92" fmla="*/ 94 w 256"/>
                  <a:gd name="T93" fmla="*/ 78 h 250"/>
                  <a:gd name="T94" fmla="*/ 172 w 256"/>
                  <a:gd name="T95" fmla="*/ 98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6" h="250">
                    <a:moveTo>
                      <a:pt x="86" y="142"/>
                    </a:moveTo>
                    <a:lnTo>
                      <a:pt x="86" y="142"/>
                    </a:lnTo>
                    <a:lnTo>
                      <a:pt x="84" y="154"/>
                    </a:lnTo>
                    <a:lnTo>
                      <a:pt x="86" y="166"/>
                    </a:lnTo>
                    <a:lnTo>
                      <a:pt x="88" y="176"/>
                    </a:lnTo>
                    <a:lnTo>
                      <a:pt x="90" y="184"/>
                    </a:lnTo>
                    <a:lnTo>
                      <a:pt x="96" y="192"/>
                    </a:lnTo>
                    <a:lnTo>
                      <a:pt x="102" y="196"/>
                    </a:lnTo>
                    <a:lnTo>
                      <a:pt x="112" y="200"/>
                    </a:lnTo>
                    <a:lnTo>
                      <a:pt x="124" y="202"/>
                    </a:lnTo>
                    <a:lnTo>
                      <a:pt x="124" y="202"/>
                    </a:lnTo>
                    <a:lnTo>
                      <a:pt x="132" y="200"/>
                    </a:lnTo>
                    <a:lnTo>
                      <a:pt x="140" y="198"/>
                    </a:lnTo>
                    <a:lnTo>
                      <a:pt x="148" y="196"/>
                    </a:lnTo>
                    <a:lnTo>
                      <a:pt x="154" y="192"/>
                    </a:lnTo>
                    <a:lnTo>
                      <a:pt x="158" y="186"/>
                    </a:lnTo>
                    <a:lnTo>
                      <a:pt x="162" y="180"/>
                    </a:lnTo>
                    <a:lnTo>
                      <a:pt x="164" y="174"/>
                    </a:lnTo>
                    <a:lnTo>
                      <a:pt x="164" y="170"/>
                    </a:lnTo>
                    <a:lnTo>
                      <a:pt x="248" y="170"/>
                    </a:lnTo>
                    <a:lnTo>
                      <a:pt x="248" y="170"/>
                    </a:lnTo>
                    <a:lnTo>
                      <a:pt x="246" y="180"/>
                    </a:lnTo>
                    <a:lnTo>
                      <a:pt x="242" y="190"/>
                    </a:lnTo>
                    <a:lnTo>
                      <a:pt x="238" y="198"/>
                    </a:lnTo>
                    <a:lnTo>
                      <a:pt x="232" y="208"/>
                    </a:lnTo>
                    <a:lnTo>
                      <a:pt x="218" y="222"/>
                    </a:lnTo>
                    <a:lnTo>
                      <a:pt x="202" y="234"/>
                    </a:lnTo>
                    <a:lnTo>
                      <a:pt x="202" y="234"/>
                    </a:lnTo>
                    <a:lnTo>
                      <a:pt x="186" y="242"/>
                    </a:lnTo>
                    <a:lnTo>
                      <a:pt x="168" y="246"/>
                    </a:lnTo>
                    <a:lnTo>
                      <a:pt x="148" y="248"/>
                    </a:lnTo>
                    <a:lnTo>
                      <a:pt x="128" y="250"/>
                    </a:lnTo>
                    <a:lnTo>
                      <a:pt x="128" y="250"/>
                    </a:lnTo>
                    <a:lnTo>
                      <a:pt x="96" y="248"/>
                    </a:lnTo>
                    <a:lnTo>
                      <a:pt x="80" y="244"/>
                    </a:lnTo>
                    <a:lnTo>
                      <a:pt x="66" y="242"/>
                    </a:lnTo>
                    <a:lnTo>
                      <a:pt x="54" y="238"/>
                    </a:lnTo>
                    <a:lnTo>
                      <a:pt x="44" y="232"/>
                    </a:lnTo>
                    <a:lnTo>
                      <a:pt x="34" y="226"/>
                    </a:lnTo>
                    <a:lnTo>
                      <a:pt x="26" y="218"/>
                    </a:lnTo>
                    <a:lnTo>
                      <a:pt x="18" y="210"/>
                    </a:lnTo>
                    <a:lnTo>
                      <a:pt x="12" y="200"/>
                    </a:lnTo>
                    <a:lnTo>
                      <a:pt x="8" y="190"/>
                    </a:lnTo>
                    <a:lnTo>
                      <a:pt x="4" y="178"/>
                    </a:lnTo>
                    <a:lnTo>
                      <a:pt x="2" y="164"/>
                    </a:lnTo>
                    <a:lnTo>
                      <a:pt x="0" y="150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2" y="106"/>
                    </a:lnTo>
                    <a:lnTo>
                      <a:pt x="4" y="92"/>
                    </a:lnTo>
                    <a:lnTo>
                      <a:pt x="8" y="80"/>
                    </a:lnTo>
                    <a:lnTo>
                      <a:pt x="14" y="68"/>
                    </a:lnTo>
                    <a:lnTo>
                      <a:pt x="20" y="58"/>
                    </a:lnTo>
                    <a:lnTo>
                      <a:pt x="26" y="48"/>
                    </a:lnTo>
                    <a:lnTo>
                      <a:pt x="34" y="40"/>
                    </a:lnTo>
                    <a:lnTo>
                      <a:pt x="44" y="32"/>
                    </a:lnTo>
                    <a:lnTo>
                      <a:pt x="64" y="18"/>
                    </a:lnTo>
                    <a:lnTo>
                      <a:pt x="86" y="8"/>
                    </a:lnTo>
                    <a:lnTo>
                      <a:pt x="110" y="2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4" y="2"/>
                    </a:lnTo>
                    <a:lnTo>
                      <a:pt x="170" y="4"/>
                    </a:lnTo>
                    <a:lnTo>
                      <a:pt x="184" y="6"/>
                    </a:lnTo>
                    <a:lnTo>
                      <a:pt x="196" y="12"/>
                    </a:lnTo>
                    <a:lnTo>
                      <a:pt x="208" y="18"/>
                    </a:lnTo>
                    <a:lnTo>
                      <a:pt x="218" y="24"/>
                    </a:lnTo>
                    <a:lnTo>
                      <a:pt x="228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46" y="60"/>
                    </a:lnTo>
                    <a:lnTo>
                      <a:pt x="250" y="72"/>
                    </a:lnTo>
                    <a:lnTo>
                      <a:pt x="254" y="84"/>
                    </a:lnTo>
                    <a:lnTo>
                      <a:pt x="256" y="112"/>
                    </a:lnTo>
                    <a:lnTo>
                      <a:pt x="254" y="142"/>
                    </a:lnTo>
                    <a:lnTo>
                      <a:pt x="86" y="142"/>
                    </a:lnTo>
                    <a:close/>
                    <a:moveTo>
                      <a:pt x="172" y="98"/>
                    </a:moveTo>
                    <a:lnTo>
                      <a:pt x="172" y="98"/>
                    </a:lnTo>
                    <a:lnTo>
                      <a:pt x="172" y="88"/>
                    </a:lnTo>
                    <a:lnTo>
                      <a:pt x="170" y="78"/>
                    </a:lnTo>
                    <a:lnTo>
                      <a:pt x="168" y="70"/>
                    </a:lnTo>
                    <a:lnTo>
                      <a:pt x="164" y="62"/>
                    </a:lnTo>
                    <a:lnTo>
                      <a:pt x="164" y="62"/>
                    </a:lnTo>
                    <a:lnTo>
                      <a:pt x="158" y="56"/>
                    </a:lnTo>
                    <a:lnTo>
                      <a:pt x="150" y="50"/>
                    </a:lnTo>
                    <a:lnTo>
                      <a:pt x="142" y="48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22" y="48"/>
                    </a:lnTo>
                    <a:lnTo>
                      <a:pt x="114" y="52"/>
                    </a:lnTo>
                    <a:lnTo>
                      <a:pt x="106" y="56"/>
                    </a:lnTo>
                    <a:lnTo>
                      <a:pt x="102" y="62"/>
                    </a:lnTo>
                    <a:lnTo>
                      <a:pt x="96" y="70"/>
                    </a:lnTo>
                    <a:lnTo>
                      <a:pt x="94" y="78"/>
                    </a:lnTo>
                    <a:lnTo>
                      <a:pt x="90" y="98"/>
                    </a:lnTo>
                    <a:lnTo>
                      <a:pt x="172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16">
                <a:extLst>
                  <a:ext uri="{FF2B5EF4-FFF2-40B4-BE49-F238E27FC236}">
                    <a16:creationId xmlns:a16="http://schemas.microsoft.com/office/drawing/2014/main" id="{69E1D591-BD39-4F7C-822F-DEFBECB96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4450" y="352425"/>
                <a:ext cx="196850" cy="542925"/>
              </a:xfrm>
              <a:custGeom>
                <a:avLst/>
                <a:gdLst>
                  <a:gd name="T0" fmla="*/ 24 w 124"/>
                  <a:gd name="T1" fmla="*/ 0 h 342"/>
                  <a:gd name="T2" fmla="*/ 124 w 124"/>
                  <a:gd name="T3" fmla="*/ 0 h 342"/>
                  <a:gd name="T4" fmla="*/ 100 w 124"/>
                  <a:gd name="T5" fmla="*/ 342 h 342"/>
                  <a:gd name="T6" fmla="*/ 0 w 124"/>
                  <a:gd name="T7" fmla="*/ 342 h 342"/>
                  <a:gd name="T8" fmla="*/ 24 w 124"/>
                  <a:gd name="T9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342">
                    <a:moveTo>
                      <a:pt x="24" y="0"/>
                    </a:moveTo>
                    <a:lnTo>
                      <a:pt x="124" y="0"/>
                    </a:lnTo>
                    <a:lnTo>
                      <a:pt x="100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17">
                <a:extLst>
                  <a:ext uri="{FF2B5EF4-FFF2-40B4-BE49-F238E27FC236}">
                    <a16:creationId xmlns:a16="http://schemas.microsoft.com/office/drawing/2014/main" id="{EE2D1F80-EAE6-43F1-BEA2-1741B57139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8600" y="352425"/>
                <a:ext cx="368300" cy="542925"/>
              </a:xfrm>
              <a:custGeom>
                <a:avLst/>
                <a:gdLst>
                  <a:gd name="T0" fmla="*/ 120 w 232"/>
                  <a:gd name="T1" fmla="*/ 0 h 342"/>
                  <a:gd name="T2" fmla="*/ 0 w 232"/>
                  <a:gd name="T3" fmla="*/ 152 h 342"/>
                  <a:gd name="T4" fmla="*/ 106 w 232"/>
                  <a:gd name="T5" fmla="*/ 342 h 342"/>
                  <a:gd name="T6" fmla="*/ 226 w 232"/>
                  <a:gd name="T7" fmla="*/ 342 h 342"/>
                  <a:gd name="T8" fmla="*/ 106 w 232"/>
                  <a:gd name="T9" fmla="*/ 148 h 342"/>
                  <a:gd name="T10" fmla="*/ 232 w 232"/>
                  <a:gd name="T11" fmla="*/ 0 h 342"/>
                  <a:gd name="T12" fmla="*/ 120 w 232"/>
                  <a:gd name="T13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2" h="342">
                    <a:moveTo>
                      <a:pt x="120" y="0"/>
                    </a:moveTo>
                    <a:lnTo>
                      <a:pt x="0" y="152"/>
                    </a:lnTo>
                    <a:lnTo>
                      <a:pt x="106" y="342"/>
                    </a:lnTo>
                    <a:lnTo>
                      <a:pt x="226" y="342"/>
                    </a:lnTo>
                    <a:lnTo>
                      <a:pt x="106" y="148"/>
                    </a:lnTo>
                    <a:lnTo>
                      <a:pt x="232" y="0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18">
                <a:extLst>
                  <a:ext uri="{FF2B5EF4-FFF2-40B4-BE49-F238E27FC236}">
                    <a16:creationId xmlns:a16="http://schemas.microsoft.com/office/drawing/2014/main" id="{EEC377DA-470E-406E-A16D-E61E0F0CF5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6425" y="517525"/>
                <a:ext cx="158750" cy="377825"/>
              </a:xfrm>
              <a:custGeom>
                <a:avLst/>
                <a:gdLst>
                  <a:gd name="T0" fmla="*/ 16 w 100"/>
                  <a:gd name="T1" fmla="*/ 0 h 238"/>
                  <a:gd name="T2" fmla="*/ 100 w 100"/>
                  <a:gd name="T3" fmla="*/ 0 h 238"/>
                  <a:gd name="T4" fmla="*/ 84 w 100"/>
                  <a:gd name="T5" fmla="*/ 238 h 238"/>
                  <a:gd name="T6" fmla="*/ 0 w 100"/>
                  <a:gd name="T7" fmla="*/ 238 h 238"/>
                  <a:gd name="T8" fmla="*/ 16 w 100"/>
                  <a:gd name="T9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238">
                    <a:moveTo>
                      <a:pt x="16" y="0"/>
                    </a:moveTo>
                    <a:lnTo>
                      <a:pt x="100" y="0"/>
                    </a:lnTo>
                    <a:lnTo>
                      <a:pt x="84" y="238"/>
                    </a:lnTo>
                    <a:lnTo>
                      <a:pt x="0" y="238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19">
                <a:extLst>
                  <a:ext uri="{FF2B5EF4-FFF2-40B4-BE49-F238E27FC236}">
                    <a16:creationId xmlns:a16="http://schemas.microsoft.com/office/drawing/2014/main" id="{A0E1BE29-9E5B-4B32-A2C4-B4CBF71C02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8350" y="504825"/>
                <a:ext cx="692150" cy="390525"/>
              </a:xfrm>
              <a:custGeom>
                <a:avLst/>
                <a:gdLst>
                  <a:gd name="T0" fmla="*/ 106 w 436"/>
                  <a:gd name="T1" fmla="*/ 40 h 246"/>
                  <a:gd name="T2" fmla="*/ 106 w 436"/>
                  <a:gd name="T3" fmla="*/ 40 h 246"/>
                  <a:gd name="T4" fmla="*/ 128 w 436"/>
                  <a:gd name="T5" fmla="*/ 20 h 246"/>
                  <a:gd name="T6" fmla="*/ 150 w 436"/>
                  <a:gd name="T7" fmla="*/ 8 h 246"/>
                  <a:gd name="T8" fmla="*/ 172 w 436"/>
                  <a:gd name="T9" fmla="*/ 2 h 246"/>
                  <a:gd name="T10" fmla="*/ 192 w 436"/>
                  <a:gd name="T11" fmla="*/ 2 h 246"/>
                  <a:gd name="T12" fmla="*/ 216 w 436"/>
                  <a:gd name="T13" fmla="*/ 6 h 246"/>
                  <a:gd name="T14" fmla="*/ 238 w 436"/>
                  <a:gd name="T15" fmla="*/ 14 h 246"/>
                  <a:gd name="T16" fmla="*/ 254 w 436"/>
                  <a:gd name="T17" fmla="*/ 28 h 246"/>
                  <a:gd name="T18" fmla="*/ 264 w 436"/>
                  <a:gd name="T19" fmla="*/ 44 h 246"/>
                  <a:gd name="T20" fmla="*/ 272 w 436"/>
                  <a:gd name="T21" fmla="*/ 34 h 246"/>
                  <a:gd name="T22" fmla="*/ 290 w 436"/>
                  <a:gd name="T23" fmla="*/ 18 h 246"/>
                  <a:gd name="T24" fmla="*/ 312 w 436"/>
                  <a:gd name="T25" fmla="*/ 8 h 246"/>
                  <a:gd name="T26" fmla="*/ 338 w 436"/>
                  <a:gd name="T27" fmla="*/ 2 h 246"/>
                  <a:gd name="T28" fmla="*/ 352 w 436"/>
                  <a:gd name="T29" fmla="*/ 0 h 246"/>
                  <a:gd name="T30" fmla="*/ 386 w 436"/>
                  <a:gd name="T31" fmla="*/ 6 h 246"/>
                  <a:gd name="T32" fmla="*/ 414 w 436"/>
                  <a:gd name="T33" fmla="*/ 24 h 246"/>
                  <a:gd name="T34" fmla="*/ 432 w 436"/>
                  <a:gd name="T35" fmla="*/ 50 h 246"/>
                  <a:gd name="T36" fmla="*/ 436 w 436"/>
                  <a:gd name="T37" fmla="*/ 86 h 246"/>
                  <a:gd name="T38" fmla="*/ 332 w 436"/>
                  <a:gd name="T39" fmla="*/ 246 h 246"/>
                  <a:gd name="T40" fmla="*/ 342 w 436"/>
                  <a:gd name="T41" fmla="*/ 106 h 246"/>
                  <a:gd name="T42" fmla="*/ 342 w 436"/>
                  <a:gd name="T43" fmla="*/ 80 h 246"/>
                  <a:gd name="T44" fmla="*/ 336 w 436"/>
                  <a:gd name="T45" fmla="*/ 66 h 246"/>
                  <a:gd name="T46" fmla="*/ 322 w 436"/>
                  <a:gd name="T47" fmla="*/ 58 h 246"/>
                  <a:gd name="T48" fmla="*/ 312 w 436"/>
                  <a:gd name="T49" fmla="*/ 58 h 246"/>
                  <a:gd name="T50" fmla="*/ 288 w 436"/>
                  <a:gd name="T51" fmla="*/ 66 h 246"/>
                  <a:gd name="T52" fmla="*/ 276 w 436"/>
                  <a:gd name="T53" fmla="*/ 82 h 246"/>
                  <a:gd name="T54" fmla="*/ 270 w 436"/>
                  <a:gd name="T55" fmla="*/ 100 h 246"/>
                  <a:gd name="T56" fmla="*/ 260 w 436"/>
                  <a:gd name="T57" fmla="*/ 246 h 246"/>
                  <a:gd name="T58" fmla="*/ 180 w 436"/>
                  <a:gd name="T59" fmla="*/ 106 h 246"/>
                  <a:gd name="T60" fmla="*/ 178 w 436"/>
                  <a:gd name="T61" fmla="*/ 88 h 246"/>
                  <a:gd name="T62" fmla="*/ 174 w 436"/>
                  <a:gd name="T63" fmla="*/ 72 h 246"/>
                  <a:gd name="T64" fmla="*/ 164 w 436"/>
                  <a:gd name="T65" fmla="*/ 62 h 246"/>
                  <a:gd name="T66" fmla="*/ 148 w 436"/>
                  <a:gd name="T67" fmla="*/ 58 h 246"/>
                  <a:gd name="T68" fmla="*/ 132 w 436"/>
                  <a:gd name="T69" fmla="*/ 60 h 246"/>
                  <a:gd name="T70" fmla="*/ 114 w 436"/>
                  <a:gd name="T71" fmla="*/ 72 h 246"/>
                  <a:gd name="T72" fmla="*/ 104 w 436"/>
                  <a:gd name="T73" fmla="*/ 92 h 246"/>
                  <a:gd name="T74" fmla="*/ 102 w 436"/>
                  <a:gd name="T75" fmla="*/ 110 h 246"/>
                  <a:gd name="T76" fmla="*/ 0 w 436"/>
                  <a:gd name="T77" fmla="*/ 246 h 246"/>
                  <a:gd name="T78" fmla="*/ 106 w 436"/>
                  <a:gd name="T79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36" h="246">
                    <a:moveTo>
                      <a:pt x="106" y="8"/>
                    </a:moveTo>
                    <a:lnTo>
                      <a:pt x="106" y="40"/>
                    </a:lnTo>
                    <a:lnTo>
                      <a:pt x="106" y="40"/>
                    </a:lnTo>
                    <a:lnTo>
                      <a:pt x="106" y="40"/>
                    </a:lnTo>
                    <a:lnTo>
                      <a:pt x="118" y="28"/>
                    </a:lnTo>
                    <a:lnTo>
                      <a:pt x="128" y="20"/>
                    </a:lnTo>
                    <a:lnTo>
                      <a:pt x="140" y="12"/>
                    </a:lnTo>
                    <a:lnTo>
                      <a:pt x="150" y="8"/>
                    </a:lnTo>
                    <a:lnTo>
                      <a:pt x="162" y="4"/>
                    </a:lnTo>
                    <a:lnTo>
                      <a:pt x="172" y="2"/>
                    </a:lnTo>
                    <a:lnTo>
                      <a:pt x="192" y="2"/>
                    </a:lnTo>
                    <a:lnTo>
                      <a:pt x="192" y="2"/>
                    </a:lnTo>
                    <a:lnTo>
                      <a:pt x="204" y="2"/>
                    </a:lnTo>
                    <a:lnTo>
                      <a:pt x="216" y="6"/>
                    </a:lnTo>
                    <a:lnTo>
                      <a:pt x="228" y="8"/>
                    </a:lnTo>
                    <a:lnTo>
                      <a:pt x="238" y="14"/>
                    </a:lnTo>
                    <a:lnTo>
                      <a:pt x="246" y="20"/>
                    </a:lnTo>
                    <a:lnTo>
                      <a:pt x="254" y="28"/>
                    </a:lnTo>
                    <a:lnTo>
                      <a:pt x="260" y="36"/>
                    </a:lnTo>
                    <a:lnTo>
                      <a:pt x="264" y="44"/>
                    </a:lnTo>
                    <a:lnTo>
                      <a:pt x="264" y="44"/>
                    </a:lnTo>
                    <a:lnTo>
                      <a:pt x="272" y="34"/>
                    </a:lnTo>
                    <a:lnTo>
                      <a:pt x="280" y="26"/>
                    </a:lnTo>
                    <a:lnTo>
                      <a:pt x="290" y="18"/>
                    </a:lnTo>
                    <a:lnTo>
                      <a:pt x="302" y="12"/>
                    </a:lnTo>
                    <a:lnTo>
                      <a:pt x="312" y="8"/>
                    </a:lnTo>
                    <a:lnTo>
                      <a:pt x="326" y="4"/>
                    </a:lnTo>
                    <a:lnTo>
                      <a:pt x="338" y="2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70" y="2"/>
                    </a:lnTo>
                    <a:lnTo>
                      <a:pt x="386" y="6"/>
                    </a:lnTo>
                    <a:lnTo>
                      <a:pt x="402" y="14"/>
                    </a:lnTo>
                    <a:lnTo>
                      <a:pt x="414" y="24"/>
                    </a:lnTo>
                    <a:lnTo>
                      <a:pt x="424" y="36"/>
                    </a:lnTo>
                    <a:lnTo>
                      <a:pt x="432" y="50"/>
                    </a:lnTo>
                    <a:lnTo>
                      <a:pt x="436" y="68"/>
                    </a:lnTo>
                    <a:lnTo>
                      <a:pt x="436" y="86"/>
                    </a:lnTo>
                    <a:lnTo>
                      <a:pt x="424" y="246"/>
                    </a:lnTo>
                    <a:lnTo>
                      <a:pt x="332" y="246"/>
                    </a:lnTo>
                    <a:lnTo>
                      <a:pt x="342" y="106"/>
                    </a:lnTo>
                    <a:lnTo>
                      <a:pt x="342" y="106"/>
                    </a:lnTo>
                    <a:lnTo>
                      <a:pt x="342" y="88"/>
                    </a:lnTo>
                    <a:lnTo>
                      <a:pt x="342" y="80"/>
                    </a:lnTo>
                    <a:lnTo>
                      <a:pt x="340" y="74"/>
                    </a:lnTo>
                    <a:lnTo>
                      <a:pt x="336" y="66"/>
                    </a:lnTo>
                    <a:lnTo>
                      <a:pt x="330" y="62"/>
                    </a:lnTo>
                    <a:lnTo>
                      <a:pt x="322" y="58"/>
                    </a:lnTo>
                    <a:lnTo>
                      <a:pt x="312" y="58"/>
                    </a:lnTo>
                    <a:lnTo>
                      <a:pt x="312" y="58"/>
                    </a:lnTo>
                    <a:lnTo>
                      <a:pt x="298" y="60"/>
                    </a:lnTo>
                    <a:lnTo>
                      <a:pt x="288" y="66"/>
                    </a:lnTo>
                    <a:lnTo>
                      <a:pt x="280" y="72"/>
                    </a:lnTo>
                    <a:lnTo>
                      <a:pt x="276" y="82"/>
                    </a:lnTo>
                    <a:lnTo>
                      <a:pt x="272" y="92"/>
                    </a:lnTo>
                    <a:lnTo>
                      <a:pt x="270" y="100"/>
                    </a:lnTo>
                    <a:lnTo>
                      <a:pt x="270" y="110"/>
                    </a:lnTo>
                    <a:lnTo>
                      <a:pt x="260" y="246"/>
                    </a:lnTo>
                    <a:lnTo>
                      <a:pt x="170" y="246"/>
                    </a:lnTo>
                    <a:lnTo>
                      <a:pt x="180" y="106"/>
                    </a:lnTo>
                    <a:lnTo>
                      <a:pt x="180" y="106"/>
                    </a:lnTo>
                    <a:lnTo>
                      <a:pt x="178" y="88"/>
                    </a:lnTo>
                    <a:lnTo>
                      <a:pt x="178" y="80"/>
                    </a:lnTo>
                    <a:lnTo>
                      <a:pt x="174" y="72"/>
                    </a:lnTo>
                    <a:lnTo>
                      <a:pt x="170" y="66"/>
                    </a:lnTo>
                    <a:lnTo>
                      <a:pt x="164" y="62"/>
                    </a:lnTo>
                    <a:lnTo>
                      <a:pt x="15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32" y="60"/>
                    </a:lnTo>
                    <a:lnTo>
                      <a:pt x="122" y="66"/>
                    </a:lnTo>
                    <a:lnTo>
                      <a:pt x="114" y="72"/>
                    </a:lnTo>
                    <a:lnTo>
                      <a:pt x="108" y="82"/>
                    </a:lnTo>
                    <a:lnTo>
                      <a:pt x="104" y="92"/>
                    </a:lnTo>
                    <a:lnTo>
                      <a:pt x="104" y="100"/>
                    </a:lnTo>
                    <a:lnTo>
                      <a:pt x="102" y="110"/>
                    </a:lnTo>
                    <a:lnTo>
                      <a:pt x="94" y="246"/>
                    </a:lnTo>
                    <a:lnTo>
                      <a:pt x="0" y="246"/>
                    </a:lnTo>
                    <a:lnTo>
                      <a:pt x="16" y="8"/>
                    </a:lnTo>
                    <a:lnTo>
                      <a:pt x="106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20">
                <a:extLst>
                  <a:ext uri="{FF2B5EF4-FFF2-40B4-BE49-F238E27FC236}">
                    <a16:creationId xmlns:a16="http://schemas.microsoft.com/office/drawing/2014/main" id="{A936AE2D-CE87-4EBD-8AD3-4054049070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4000" y="517525"/>
                <a:ext cx="454025" cy="558800"/>
              </a:xfrm>
              <a:custGeom>
                <a:avLst/>
                <a:gdLst>
                  <a:gd name="T0" fmla="*/ 116 w 286"/>
                  <a:gd name="T1" fmla="*/ 352 h 352"/>
                  <a:gd name="T2" fmla="*/ 34 w 286"/>
                  <a:gd name="T3" fmla="*/ 352 h 352"/>
                  <a:gd name="T4" fmla="*/ 86 w 286"/>
                  <a:gd name="T5" fmla="*/ 242 h 352"/>
                  <a:gd name="T6" fmla="*/ 0 w 286"/>
                  <a:gd name="T7" fmla="*/ 0 h 352"/>
                  <a:gd name="T8" fmla="*/ 100 w 286"/>
                  <a:gd name="T9" fmla="*/ 0 h 352"/>
                  <a:gd name="T10" fmla="*/ 140 w 286"/>
                  <a:gd name="T11" fmla="*/ 148 h 352"/>
                  <a:gd name="T12" fmla="*/ 202 w 286"/>
                  <a:gd name="T13" fmla="*/ 0 h 352"/>
                  <a:gd name="T14" fmla="*/ 286 w 286"/>
                  <a:gd name="T15" fmla="*/ 0 h 352"/>
                  <a:gd name="T16" fmla="*/ 116 w 286"/>
                  <a:gd name="T17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6" h="352">
                    <a:moveTo>
                      <a:pt x="116" y="352"/>
                    </a:moveTo>
                    <a:lnTo>
                      <a:pt x="34" y="352"/>
                    </a:lnTo>
                    <a:lnTo>
                      <a:pt x="86" y="242"/>
                    </a:lnTo>
                    <a:lnTo>
                      <a:pt x="0" y="0"/>
                    </a:lnTo>
                    <a:lnTo>
                      <a:pt x="100" y="0"/>
                    </a:lnTo>
                    <a:lnTo>
                      <a:pt x="140" y="148"/>
                    </a:lnTo>
                    <a:lnTo>
                      <a:pt x="202" y="0"/>
                    </a:lnTo>
                    <a:lnTo>
                      <a:pt x="286" y="0"/>
                    </a:lnTo>
                    <a:lnTo>
                      <a:pt x="116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21">
                <a:extLst>
                  <a:ext uri="{FF2B5EF4-FFF2-40B4-BE49-F238E27FC236}">
                    <a16:creationId xmlns:a16="http://schemas.microsoft.com/office/drawing/2014/main" id="{686E72A2-232A-407E-99D2-C17E820F29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3575" y="593725"/>
                <a:ext cx="241300" cy="117475"/>
              </a:xfrm>
              <a:custGeom>
                <a:avLst/>
                <a:gdLst>
                  <a:gd name="T0" fmla="*/ 36 w 152"/>
                  <a:gd name="T1" fmla="*/ 0 h 74"/>
                  <a:gd name="T2" fmla="*/ 152 w 152"/>
                  <a:gd name="T3" fmla="*/ 0 h 74"/>
                  <a:gd name="T4" fmla="*/ 114 w 152"/>
                  <a:gd name="T5" fmla="*/ 74 h 74"/>
                  <a:gd name="T6" fmla="*/ 0 w 152"/>
                  <a:gd name="T7" fmla="*/ 74 h 74"/>
                  <a:gd name="T8" fmla="*/ 36 w 152"/>
                  <a:gd name="T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74">
                    <a:moveTo>
                      <a:pt x="36" y="0"/>
                    </a:moveTo>
                    <a:lnTo>
                      <a:pt x="152" y="0"/>
                    </a:lnTo>
                    <a:lnTo>
                      <a:pt x="114" y="74"/>
                    </a:lnTo>
                    <a:lnTo>
                      <a:pt x="0" y="7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22">
                <a:extLst>
                  <a:ext uri="{FF2B5EF4-FFF2-40B4-BE49-F238E27FC236}">
                    <a16:creationId xmlns:a16="http://schemas.microsoft.com/office/drawing/2014/main" id="{71CECB97-95C1-4A90-82EA-842128F05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1225" y="339725"/>
                <a:ext cx="504825" cy="558800"/>
              </a:xfrm>
              <a:custGeom>
                <a:avLst/>
                <a:gdLst>
                  <a:gd name="T0" fmla="*/ 180 w 318"/>
                  <a:gd name="T1" fmla="*/ 0 h 352"/>
                  <a:gd name="T2" fmla="*/ 232 w 318"/>
                  <a:gd name="T3" fmla="*/ 6 h 352"/>
                  <a:gd name="T4" fmla="*/ 266 w 318"/>
                  <a:gd name="T5" fmla="*/ 20 h 352"/>
                  <a:gd name="T6" fmla="*/ 286 w 318"/>
                  <a:gd name="T7" fmla="*/ 32 h 352"/>
                  <a:gd name="T8" fmla="*/ 302 w 318"/>
                  <a:gd name="T9" fmla="*/ 50 h 352"/>
                  <a:gd name="T10" fmla="*/ 312 w 318"/>
                  <a:gd name="T11" fmla="*/ 74 h 352"/>
                  <a:gd name="T12" fmla="*/ 318 w 318"/>
                  <a:gd name="T13" fmla="*/ 100 h 352"/>
                  <a:gd name="T14" fmla="*/ 222 w 318"/>
                  <a:gd name="T15" fmla="*/ 116 h 352"/>
                  <a:gd name="T16" fmla="*/ 222 w 318"/>
                  <a:gd name="T17" fmla="*/ 108 h 352"/>
                  <a:gd name="T18" fmla="*/ 216 w 318"/>
                  <a:gd name="T19" fmla="*/ 90 h 352"/>
                  <a:gd name="T20" fmla="*/ 204 w 318"/>
                  <a:gd name="T21" fmla="*/ 76 h 352"/>
                  <a:gd name="T22" fmla="*/ 188 w 318"/>
                  <a:gd name="T23" fmla="*/ 68 h 352"/>
                  <a:gd name="T24" fmla="*/ 176 w 318"/>
                  <a:gd name="T25" fmla="*/ 68 h 352"/>
                  <a:gd name="T26" fmla="*/ 150 w 318"/>
                  <a:gd name="T27" fmla="*/ 72 h 352"/>
                  <a:gd name="T28" fmla="*/ 128 w 318"/>
                  <a:gd name="T29" fmla="*/ 88 h 352"/>
                  <a:gd name="T30" fmla="*/ 108 w 318"/>
                  <a:gd name="T31" fmla="*/ 118 h 352"/>
                  <a:gd name="T32" fmla="*/ 98 w 318"/>
                  <a:gd name="T33" fmla="*/ 162 h 352"/>
                  <a:gd name="T34" fmla="*/ 96 w 318"/>
                  <a:gd name="T35" fmla="*/ 188 h 352"/>
                  <a:gd name="T36" fmla="*/ 98 w 318"/>
                  <a:gd name="T37" fmla="*/ 234 h 352"/>
                  <a:gd name="T38" fmla="*/ 112 w 318"/>
                  <a:gd name="T39" fmla="*/ 266 h 352"/>
                  <a:gd name="T40" fmla="*/ 122 w 318"/>
                  <a:gd name="T41" fmla="*/ 278 h 352"/>
                  <a:gd name="T42" fmla="*/ 138 w 318"/>
                  <a:gd name="T43" fmla="*/ 284 h 352"/>
                  <a:gd name="T44" fmla="*/ 158 w 318"/>
                  <a:gd name="T45" fmla="*/ 288 h 352"/>
                  <a:gd name="T46" fmla="*/ 174 w 318"/>
                  <a:gd name="T47" fmla="*/ 286 h 352"/>
                  <a:gd name="T48" fmla="*/ 198 w 318"/>
                  <a:gd name="T49" fmla="*/ 274 h 352"/>
                  <a:gd name="T50" fmla="*/ 212 w 318"/>
                  <a:gd name="T51" fmla="*/ 256 h 352"/>
                  <a:gd name="T52" fmla="*/ 218 w 318"/>
                  <a:gd name="T53" fmla="*/ 236 h 352"/>
                  <a:gd name="T54" fmla="*/ 314 w 318"/>
                  <a:gd name="T55" fmla="*/ 236 h 352"/>
                  <a:gd name="T56" fmla="*/ 306 w 318"/>
                  <a:gd name="T57" fmla="*/ 270 h 352"/>
                  <a:gd name="T58" fmla="*/ 290 w 318"/>
                  <a:gd name="T59" fmla="*/ 300 h 352"/>
                  <a:gd name="T60" fmla="*/ 272 w 318"/>
                  <a:gd name="T61" fmla="*/ 318 h 352"/>
                  <a:gd name="T62" fmla="*/ 248 w 318"/>
                  <a:gd name="T63" fmla="*/ 334 h 352"/>
                  <a:gd name="T64" fmla="*/ 216 w 318"/>
                  <a:gd name="T65" fmla="*/ 346 h 352"/>
                  <a:gd name="T66" fmla="*/ 176 w 318"/>
                  <a:gd name="T67" fmla="*/ 352 h 352"/>
                  <a:gd name="T68" fmla="*/ 152 w 318"/>
                  <a:gd name="T69" fmla="*/ 352 h 352"/>
                  <a:gd name="T70" fmla="*/ 106 w 318"/>
                  <a:gd name="T71" fmla="*/ 348 h 352"/>
                  <a:gd name="T72" fmla="*/ 70 w 318"/>
                  <a:gd name="T73" fmla="*/ 336 h 352"/>
                  <a:gd name="T74" fmla="*/ 42 w 318"/>
                  <a:gd name="T75" fmla="*/ 316 h 352"/>
                  <a:gd name="T76" fmla="*/ 22 w 318"/>
                  <a:gd name="T77" fmla="*/ 292 h 352"/>
                  <a:gd name="T78" fmla="*/ 8 w 318"/>
                  <a:gd name="T79" fmla="*/ 262 h 352"/>
                  <a:gd name="T80" fmla="*/ 2 w 318"/>
                  <a:gd name="T81" fmla="*/ 230 h 352"/>
                  <a:gd name="T82" fmla="*/ 0 w 318"/>
                  <a:gd name="T83" fmla="*/ 194 h 352"/>
                  <a:gd name="T84" fmla="*/ 2 w 318"/>
                  <a:gd name="T85" fmla="*/ 160 h 352"/>
                  <a:gd name="T86" fmla="*/ 18 w 318"/>
                  <a:gd name="T87" fmla="*/ 102 h 352"/>
                  <a:gd name="T88" fmla="*/ 32 w 318"/>
                  <a:gd name="T89" fmla="*/ 74 h 352"/>
                  <a:gd name="T90" fmla="*/ 52 w 318"/>
                  <a:gd name="T91" fmla="*/ 50 h 352"/>
                  <a:gd name="T92" fmla="*/ 76 w 318"/>
                  <a:gd name="T93" fmla="*/ 30 h 352"/>
                  <a:gd name="T94" fmla="*/ 106 w 318"/>
                  <a:gd name="T95" fmla="*/ 14 h 352"/>
                  <a:gd name="T96" fmla="*/ 140 w 318"/>
                  <a:gd name="T97" fmla="*/ 4 h 352"/>
                  <a:gd name="T98" fmla="*/ 180 w 318"/>
                  <a:gd name="T99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18" h="352">
                    <a:moveTo>
                      <a:pt x="180" y="0"/>
                    </a:moveTo>
                    <a:lnTo>
                      <a:pt x="180" y="0"/>
                    </a:lnTo>
                    <a:lnTo>
                      <a:pt x="206" y="0"/>
                    </a:lnTo>
                    <a:lnTo>
                      <a:pt x="232" y="6"/>
                    </a:lnTo>
                    <a:lnTo>
                      <a:pt x="256" y="14"/>
                    </a:lnTo>
                    <a:lnTo>
                      <a:pt x="266" y="20"/>
                    </a:lnTo>
                    <a:lnTo>
                      <a:pt x="276" y="26"/>
                    </a:lnTo>
                    <a:lnTo>
                      <a:pt x="286" y="32"/>
                    </a:lnTo>
                    <a:lnTo>
                      <a:pt x="294" y="42"/>
                    </a:lnTo>
                    <a:lnTo>
                      <a:pt x="302" y="50"/>
                    </a:lnTo>
                    <a:lnTo>
                      <a:pt x="308" y="62"/>
                    </a:lnTo>
                    <a:lnTo>
                      <a:pt x="312" y="74"/>
                    </a:lnTo>
                    <a:lnTo>
                      <a:pt x="316" y="86"/>
                    </a:lnTo>
                    <a:lnTo>
                      <a:pt x="318" y="100"/>
                    </a:lnTo>
                    <a:lnTo>
                      <a:pt x="318" y="116"/>
                    </a:lnTo>
                    <a:lnTo>
                      <a:pt x="222" y="116"/>
                    </a:lnTo>
                    <a:lnTo>
                      <a:pt x="222" y="116"/>
                    </a:lnTo>
                    <a:lnTo>
                      <a:pt x="222" y="108"/>
                    </a:lnTo>
                    <a:lnTo>
                      <a:pt x="220" y="98"/>
                    </a:lnTo>
                    <a:lnTo>
                      <a:pt x="216" y="90"/>
                    </a:lnTo>
                    <a:lnTo>
                      <a:pt x="212" y="84"/>
                    </a:lnTo>
                    <a:lnTo>
                      <a:pt x="204" y="76"/>
                    </a:lnTo>
                    <a:lnTo>
                      <a:pt x="198" y="72"/>
                    </a:lnTo>
                    <a:lnTo>
                      <a:pt x="188" y="68"/>
                    </a:lnTo>
                    <a:lnTo>
                      <a:pt x="176" y="68"/>
                    </a:lnTo>
                    <a:lnTo>
                      <a:pt x="176" y="68"/>
                    </a:lnTo>
                    <a:lnTo>
                      <a:pt x="164" y="68"/>
                    </a:lnTo>
                    <a:lnTo>
                      <a:pt x="150" y="72"/>
                    </a:lnTo>
                    <a:lnTo>
                      <a:pt x="138" y="80"/>
                    </a:lnTo>
                    <a:lnTo>
                      <a:pt x="128" y="88"/>
                    </a:lnTo>
                    <a:lnTo>
                      <a:pt x="118" y="102"/>
                    </a:lnTo>
                    <a:lnTo>
                      <a:pt x="108" y="118"/>
                    </a:lnTo>
                    <a:lnTo>
                      <a:pt x="102" y="138"/>
                    </a:lnTo>
                    <a:lnTo>
                      <a:pt x="98" y="162"/>
                    </a:lnTo>
                    <a:lnTo>
                      <a:pt x="98" y="162"/>
                    </a:lnTo>
                    <a:lnTo>
                      <a:pt x="96" y="188"/>
                    </a:lnTo>
                    <a:lnTo>
                      <a:pt x="96" y="212"/>
                    </a:lnTo>
                    <a:lnTo>
                      <a:pt x="98" y="234"/>
                    </a:lnTo>
                    <a:lnTo>
                      <a:pt x="104" y="252"/>
                    </a:lnTo>
                    <a:lnTo>
                      <a:pt x="112" y="266"/>
                    </a:lnTo>
                    <a:lnTo>
                      <a:pt x="116" y="272"/>
                    </a:lnTo>
                    <a:lnTo>
                      <a:pt x="122" y="278"/>
                    </a:lnTo>
                    <a:lnTo>
                      <a:pt x="130" y="282"/>
                    </a:lnTo>
                    <a:lnTo>
                      <a:pt x="138" y="284"/>
                    </a:lnTo>
                    <a:lnTo>
                      <a:pt x="148" y="286"/>
                    </a:lnTo>
                    <a:lnTo>
                      <a:pt x="158" y="288"/>
                    </a:lnTo>
                    <a:lnTo>
                      <a:pt x="158" y="288"/>
                    </a:lnTo>
                    <a:lnTo>
                      <a:pt x="174" y="286"/>
                    </a:lnTo>
                    <a:lnTo>
                      <a:pt x="188" y="280"/>
                    </a:lnTo>
                    <a:lnTo>
                      <a:pt x="198" y="274"/>
                    </a:lnTo>
                    <a:lnTo>
                      <a:pt x="206" y="264"/>
                    </a:lnTo>
                    <a:lnTo>
                      <a:pt x="212" y="256"/>
                    </a:lnTo>
                    <a:lnTo>
                      <a:pt x="214" y="248"/>
                    </a:lnTo>
                    <a:lnTo>
                      <a:pt x="218" y="236"/>
                    </a:lnTo>
                    <a:lnTo>
                      <a:pt x="314" y="236"/>
                    </a:lnTo>
                    <a:lnTo>
                      <a:pt x="314" y="236"/>
                    </a:lnTo>
                    <a:lnTo>
                      <a:pt x="312" y="252"/>
                    </a:lnTo>
                    <a:lnTo>
                      <a:pt x="306" y="270"/>
                    </a:lnTo>
                    <a:lnTo>
                      <a:pt x="296" y="290"/>
                    </a:lnTo>
                    <a:lnTo>
                      <a:pt x="290" y="300"/>
                    </a:lnTo>
                    <a:lnTo>
                      <a:pt x="282" y="308"/>
                    </a:lnTo>
                    <a:lnTo>
                      <a:pt x="272" y="318"/>
                    </a:lnTo>
                    <a:lnTo>
                      <a:pt x="260" y="326"/>
                    </a:lnTo>
                    <a:lnTo>
                      <a:pt x="248" y="334"/>
                    </a:lnTo>
                    <a:lnTo>
                      <a:pt x="232" y="340"/>
                    </a:lnTo>
                    <a:lnTo>
                      <a:pt x="216" y="346"/>
                    </a:lnTo>
                    <a:lnTo>
                      <a:pt x="196" y="350"/>
                    </a:lnTo>
                    <a:lnTo>
                      <a:pt x="176" y="352"/>
                    </a:lnTo>
                    <a:lnTo>
                      <a:pt x="152" y="352"/>
                    </a:lnTo>
                    <a:lnTo>
                      <a:pt x="152" y="352"/>
                    </a:lnTo>
                    <a:lnTo>
                      <a:pt x="128" y="352"/>
                    </a:lnTo>
                    <a:lnTo>
                      <a:pt x="106" y="348"/>
                    </a:lnTo>
                    <a:lnTo>
                      <a:pt x="86" y="342"/>
                    </a:lnTo>
                    <a:lnTo>
                      <a:pt x="70" y="336"/>
                    </a:lnTo>
                    <a:lnTo>
                      <a:pt x="54" y="326"/>
                    </a:lnTo>
                    <a:lnTo>
                      <a:pt x="42" y="316"/>
                    </a:lnTo>
                    <a:lnTo>
                      <a:pt x="30" y="304"/>
                    </a:lnTo>
                    <a:lnTo>
                      <a:pt x="22" y="292"/>
                    </a:lnTo>
                    <a:lnTo>
                      <a:pt x="14" y="276"/>
                    </a:lnTo>
                    <a:lnTo>
                      <a:pt x="8" y="262"/>
                    </a:lnTo>
                    <a:lnTo>
                      <a:pt x="4" y="246"/>
                    </a:lnTo>
                    <a:lnTo>
                      <a:pt x="2" y="230"/>
                    </a:lnTo>
                    <a:lnTo>
                      <a:pt x="0" y="212"/>
                    </a:lnTo>
                    <a:lnTo>
                      <a:pt x="0" y="194"/>
                    </a:lnTo>
                    <a:lnTo>
                      <a:pt x="2" y="160"/>
                    </a:lnTo>
                    <a:lnTo>
                      <a:pt x="2" y="160"/>
                    </a:lnTo>
                    <a:lnTo>
                      <a:pt x="8" y="130"/>
                    </a:lnTo>
                    <a:lnTo>
                      <a:pt x="18" y="102"/>
                    </a:lnTo>
                    <a:lnTo>
                      <a:pt x="24" y="88"/>
                    </a:lnTo>
                    <a:lnTo>
                      <a:pt x="32" y="74"/>
                    </a:lnTo>
                    <a:lnTo>
                      <a:pt x="42" y="62"/>
                    </a:lnTo>
                    <a:lnTo>
                      <a:pt x="52" y="50"/>
                    </a:lnTo>
                    <a:lnTo>
                      <a:pt x="64" y="40"/>
                    </a:lnTo>
                    <a:lnTo>
                      <a:pt x="76" y="30"/>
                    </a:lnTo>
                    <a:lnTo>
                      <a:pt x="90" y="20"/>
                    </a:lnTo>
                    <a:lnTo>
                      <a:pt x="106" y="14"/>
                    </a:lnTo>
                    <a:lnTo>
                      <a:pt x="122" y="8"/>
                    </a:lnTo>
                    <a:lnTo>
                      <a:pt x="140" y="4"/>
                    </a:lnTo>
                    <a:lnTo>
                      <a:pt x="160" y="0"/>
                    </a:lnTo>
                    <a:lnTo>
                      <a:pt x="180" y="0"/>
                    </a:lnTo>
                    <a:lnTo>
                      <a:pt x="18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23">
                <a:extLst>
                  <a:ext uri="{FF2B5EF4-FFF2-40B4-BE49-F238E27FC236}">
                    <a16:creationId xmlns:a16="http://schemas.microsoft.com/office/drawing/2014/main" id="{55FCA5A7-5ADB-484B-A948-2458352469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29225" y="352425"/>
                <a:ext cx="177800" cy="542925"/>
              </a:xfrm>
              <a:custGeom>
                <a:avLst/>
                <a:gdLst>
                  <a:gd name="T0" fmla="*/ 0 w 112"/>
                  <a:gd name="T1" fmla="*/ 342 h 342"/>
                  <a:gd name="T2" fmla="*/ 24 w 112"/>
                  <a:gd name="T3" fmla="*/ 0 h 342"/>
                  <a:gd name="T4" fmla="*/ 112 w 112"/>
                  <a:gd name="T5" fmla="*/ 0 h 342"/>
                  <a:gd name="T6" fmla="*/ 88 w 112"/>
                  <a:gd name="T7" fmla="*/ 342 h 342"/>
                  <a:gd name="T8" fmla="*/ 0 w 112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2" y="0"/>
                    </a:lnTo>
                    <a:lnTo>
                      <a:pt x="88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24">
                <a:extLst>
                  <a:ext uri="{FF2B5EF4-FFF2-40B4-BE49-F238E27FC236}">
                    <a16:creationId xmlns:a16="http://schemas.microsoft.com/office/drawing/2014/main" id="{76ED67C0-E3ED-4760-8657-26E92F456B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3900" y="517525"/>
                <a:ext cx="295275" cy="377825"/>
              </a:xfrm>
              <a:custGeom>
                <a:avLst/>
                <a:gdLst>
                  <a:gd name="T0" fmla="*/ 106 w 186"/>
                  <a:gd name="T1" fmla="*/ 34 h 238"/>
                  <a:gd name="T2" fmla="*/ 106 w 186"/>
                  <a:gd name="T3" fmla="*/ 34 h 238"/>
                  <a:gd name="T4" fmla="*/ 106 w 186"/>
                  <a:gd name="T5" fmla="*/ 34 h 238"/>
                  <a:gd name="T6" fmla="*/ 116 w 186"/>
                  <a:gd name="T7" fmla="*/ 24 h 238"/>
                  <a:gd name="T8" fmla="*/ 124 w 186"/>
                  <a:gd name="T9" fmla="*/ 16 h 238"/>
                  <a:gd name="T10" fmla="*/ 134 w 186"/>
                  <a:gd name="T11" fmla="*/ 10 h 238"/>
                  <a:gd name="T12" fmla="*/ 144 w 186"/>
                  <a:gd name="T13" fmla="*/ 6 h 238"/>
                  <a:gd name="T14" fmla="*/ 154 w 186"/>
                  <a:gd name="T15" fmla="*/ 4 h 238"/>
                  <a:gd name="T16" fmla="*/ 164 w 186"/>
                  <a:gd name="T17" fmla="*/ 2 h 238"/>
                  <a:gd name="T18" fmla="*/ 186 w 186"/>
                  <a:gd name="T19" fmla="*/ 0 h 238"/>
                  <a:gd name="T20" fmla="*/ 180 w 186"/>
                  <a:gd name="T21" fmla="*/ 76 h 238"/>
                  <a:gd name="T22" fmla="*/ 180 w 186"/>
                  <a:gd name="T23" fmla="*/ 76 h 238"/>
                  <a:gd name="T24" fmla="*/ 162 w 186"/>
                  <a:gd name="T25" fmla="*/ 76 h 238"/>
                  <a:gd name="T26" fmla="*/ 162 w 186"/>
                  <a:gd name="T27" fmla="*/ 76 h 238"/>
                  <a:gd name="T28" fmla="*/ 142 w 186"/>
                  <a:gd name="T29" fmla="*/ 78 h 238"/>
                  <a:gd name="T30" fmla="*/ 126 w 186"/>
                  <a:gd name="T31" fmla="*/ 82 h 238"/>
                  <a:gd name="T32" fmla="*/ 116 w 186"/>
                  <a:gd name="T33" fmla="*/ 88 h 238"/>
                  <a:gd name="T34" fmla="*/ 108 w 186"/>
                  <a:gd name="T35" fmla="*/ 98 h 238"/>
                  <a:gd name="T36" fmla="*/ 104 w 186"/>
                  <a:gd name="T37" fmla="*/ 108 h 238"/>
                  <a:gd name="T38" fmla="*/ 100 w 186"/>
                  <a:gd name="T39" fmla="*/ 120 h 238"/>
                  <a:gd name="T40" fmla="*/ 98 w 186"/>
                  <a:gd name="T41" fmla="*/ 148 h 238"/>
                  <a:gd name="T42" fmla="*/ 92 w 186"/>
                  <a:gd name="T43" fmla="*/ 238 h 238"/>
                  <a:gd name="T44" fmla="*/ 0 w 186"/>
                  <a:gd name="T45" fmla="*/ 238 h 238"/>
                  <a:gd name="T46" fmla="*/ 14 w 186"/>
                  <a:gd name="T47" fmla="*/ 62 h 238"/>
                  <a:gd name="T48" fmla="*/ 14 w 186"/>
                  <a:gd name="T49" fmla="*/ 62 h 238"/>
                  <a:gd name="T50" fmla="*/ 14 w 186"/>
                  <a:gd name="T51" fmla="*/ 32 h 238"/>
                  <a:gd name="T52" fmla="*/ 14 w 186"/>
                  <a:gd name="T53" fmla="*/ 0 h 238"/>
                  <a:gd name="T54" fmla="*/ 102 w 186"/>
                  <a:gd name="T55" fmla="*/ 0 h 238"/>
                  <a:gd name="T56" fmla="*/ 106 w 186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6" h="238">
                    <a:moveTo>
                      <a:pt x="106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6" y="24"/>
                    </a:lnTo>
                    <a:lnTo>
                      <a:pt x="124" y="16"/>
                    </a:lnTo>
                    <a:lnTo>
                      <a:pt x="134" y="10"/>
                    </a:lnTo>
                    <a:lnTo>
                      <a:pt x="144" y="6"/>
                    </a:lnTo>
                    <a:lnTo>
                      <a:pt x="154" y="4"/>
                    </a:lnTo>
                    <a:lnTo>
                      <a:pt x="164" y="2"/>
                    </a:lnTo>
                    <a:lnTo>
                      <a:pt x="186" y="0"/>
                    </a:lnTo>
                    <a:lnTo>
                      <a:pt x="180" y="76"/>
                    </a:lnTo>
                    <a:lnTo>
                      <a:pt x="180" y="76"/>
                    </a:lnTo>
                    <a:lnTo>
                      <a:pt x="162" y="76"/>
                    </a:lnTo>
                    <a:lnTo>
                      <a:pt x="162" y="76"/>
                    </a:lnTo>
                    <a:lnTo>
                      <a:pt x="142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4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6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FD8AAADD-CFA8-404D-91F0-5F85137170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5808" y="0"/>
            <a:ext cx="5346192" cy="685800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1B898EDA-62E7-4617-83B8-2FF8BC1FAEDF}"/>
              </a:ext>
            </a:extLst>
          </p:cNvPr>
          <p:cNvSpPr txBox="1"/>
          <p:nvPr/>
        </p:nvSpPr>
        <p:spPr>
          <a:xfrm>
            <a:off x="415924" y="232383"/>
            <a:ext cx="6131699" cy="72821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657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spc="-59" dirty="0">
                <a:solidFill>
                  <a:srgbClr val="FC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Y IT IS IMPORTANT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5497DD3-4B5A-4D45-A7C2-DD3279E9E8C7}"/>
              </a:ext>
            </a:extLst>
          </p:cNvPr>
          <p:cNvSpPr/>
          <p:nvPr/>
        </p:nvSpPr>
        <p:spPr>
          <a:xfrm>
            <a:off x="389799" y="1340248"/>
            <a:ext cx="6096000" cy="480131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n employees understand K-C’s strategic direction and their connection to it, engagement increases, and so does business performance. </a:t>
            </a:r>
            <a:b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day, mobility, personalization, and accessibility are expected in our everyday user experienc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s to K-C NOW we found a way to share information in a faster, simpler and customizable way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are now able to reach EVERY employee, no matter where they are - home, office, or mill - with the right content, at the right time, on the devices they prefer.</a:t>
            </a:r>
          </a:p>
          <a:p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 can now tailor your news feed according to your interests and find all important information in one place.</a:t>
            </a:r>
          </a:p>
          <a:p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4959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66973405-DD2B-4D41-92F1-9B35C88444E6}"/>
              </a:ext>
            </a:extLst>
          </p:cNvPr>
          <p:cNvSpPr/>
          <p:nvPr/>
        </p:nvSpPr>
        <p:spPr>
          <a:xfrm>
            <a:off x="451934" y="1176353"/>
            <a:ext cx="7494862" cy="1574126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EBD45D72-DD13-4836-B4BE-165E4B6D900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832" r="20553"/>
          <a:stretch/>
        </p:blipFill>
        <p:spPr>
          <a:xfrm>
            <a:off x="8522287" y="0"/>
            <a:ext cx="3669714" cy="6882267"/>
          </a:xfrm>
          <a:prstGeom prst="rect">
            <a:avLst/>
          </a:prstGeom>
          <a:effectLst/>
        </p:spPr>
      </p:pic>
      <p:grpSp>
        <p:nvGrpSpPr>
          <p:cNvPr id="2" name="Group 2"/>
          <p:cNvGrpSpPr/>
          <p:nvPr/>
        </p:nvGrpSpPr>
        <p:grpSpPr>
          <a:xfrm>
            <a:off x="614735" y="3634167"/>
            <a:ext cx="811141" cy="607380"/>
            <a:chOff x="0" y="0"/>
            <a:chExt cx="6480264" cy="1198080"/>
          </a:xfrm>
          <a:solidFill>
            <a:srgbClr val="BED2F3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" name="Freeform 3"/>
            <p:cNvSpPr/>
            <p:nvPr/>
          </p:nvSpPr>
          <p:spPr>
            <a:xfrm>
              <a:off x="0" y="0"/>
              <a:ext cx="6480265" cy="1198080"/>
            </a:xfrm>
            <a:custGeom>
              <a:avLst/>
              <a:gdLst/>
              <a:ahLst/>
              <a:cxnLst/>
              <a:rect l="l" t="t" r="r" b="b"/>
              <a:pathLst>
                <a:path w="6480265" h="1198080">
                  <a:moveTo>
                    <a:pt x="6355804" y="1198080"/>
                  </a:moveTo>
                  <a:lnTo>
                    <a:pt x="124460" y="1198080"/>
                  </a:lnTo>
                  <a:cubicBezTo>
                    <a:pt x="55880" y="1198080"/>
                    <a:pt x="0" y="1142200"/>
                    <a:pt x="0" y="1073620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6355805" y="0"/>
                  </a:lnTo>
                  <a:cubicBezTo>
                    <a:pt x="6424385" y="0"/>
                    <a:pt x="6480265" y="55880"/>
                    <a:pt x="6480265" y="124460"/>
                  </a:cubicBezTo>
                  <a:lnTo>
                    <a:pt x="6480265" y="1073620"/>
                  </a:lnTo>
                  <a:cubicBezTo>
                    <a:pt x="6480265" y="1142200"/>
                    <a:pt x="6424385" y="1198080"/>
                    <a:pt x="6355805" y="1198080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4" name="Group 4"/>
          <p:cNvGrpSpPr/>
          <p:nvPr/>
        </p:nvGrpSpPr>
        <p:grpSpPr>
          <a:xfrm>
            <a:off x="614735" y="4317996"/>
            <a:ext cx="811142" cy="607380"/>
            <a:chOff x="0" y="0"/>
            <a:chExt cx="5626324" cy="1198080"/>
          </a:xfrm>
          <a:solidFill>
            <a:srgbClr val="E3D7F3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5" name="Freeform 5"/>
            <p:cNvSpPr/>
            <p:nvPr/>
          </p:nvSpPr>
          <p:spPr>
            <a:xfrm>
              <a:off x="0" y="0"/>
              <a:ext cx="5626324" cy="1198080"/>
            </a:xfrm>
            <a:custGeom>
              <a:avLst/>
              <a:gdLst/>
              <a:ahLst/>
              <a:cxnLst/>
              <a:rect l="l" t="t" r="r" b="b"/>
              <a:pathLst>
                <a:path w="5626324" h="1198080">
                  <a:moveTo>
                    <a:pt x="5501864" y="1198080"/>
                  </a:moveTo>
                  <a:lnTo>
                    <a:pt x="124460" y="1198080"/>
                  </a:lnTo>
                  <a:cubicBezTo>
                    <a:pt x="55880" y="1198080"/>
                    <a:pt x="0" y="1142200"/>
                    <a:pt x="0" y="1073620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5501864" y="0"/>
                  </a:lnTo>
                  <a:cubicBezTo>
                    <a:pt x="5570444" y="0"/>
                    <a:pt x="5626324" y="55880"/>
                    <a:pt x="5626324" y="124460"/>
                  </a:cubicBezTo>
                  <a:lnTo>
                    <a:pt x="5626324" y="1073620"/>
                  </a:lnTo>
                  <a:cubicBezTo>
                    <a:pt x="5626324" y="1142200"/>
                    <a:pt x="5570444" y="1198080"/>
                    <a:pt x="5501864" y="1198080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6" name="Group 6"/>
          <p:cNvGrpSpPr/>
          <p:nvPr/>
        </p:nvGrpSpPr>
        <p:grpSpPr>
          <a:xfrm>
            <a:off x="614734" y="5008281"/>
            <a:ext cx="811142" cy="604999"/>
            <a:chOff x="0" y="56004"/>
            <a:chExt cx="5512092" cy="1198080"/>
          </a:xfrm>
          <a:solidFill>
            <a:srgbClr val="10069F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" name="Freeform 7"/>
            <p:cNvSpPr/>
            <p:nvPr/>
          </p:nvSpPr>
          <p:spPr>
            <a:xfrm>
              <a:off x="0" y="56004"/>
              <a:ext cx="5512092" cy="1198080"/>
            </a:xfrm>
            <a:custGeom>
              <a:avLst/>
              <a:gdLst/>
              <a:ahLst/>
              <a:cxnLst/>
              <a:rect l="l" t="t" r="r" b="b"/>
              <a:pathLst>
                <a:path w="5084720" h="1198080">
                  <a:moveTo>
                    <a:pt x="4960260" y="1198080"/>
                  </a:moveTo>
                  <a:lnTo>
                    <a:pt x="124460" y="1198080"/>
                  </a:lnTo>
                  <a:cubicBezTo>
                    <a:pt x="55880" y="1198080"/>
                    <a:pt x="0" y="1142200"/>
                    <a:pt x="0" y="1073620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4960260" y="0"/>
                  </a:lnTo>
                  <a:cubicBezTo>
                    <a:pt x="5028840" y="0"/>
                    <a:pt x="5084720" y="55880"/>
                    <a:pt x="5084720" y="124460"/>
                  </a:cubicBezTo>
                  <a:lnTo>
                    <a:pt x="5084720" y="1073620"/>
                  </a:lnTo>
                  <a:cubicBezTo>
                    <a:pt x="5084720" y="1142200"/>
                    <a:pt x="5028840" y="1198080"/>
                    <a:pt x="4960260" y="1198080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8" name="Group 8"/>
          <p:cNvGrpSpPr/>
          <p:nvPr/>
        </p:nvGrpSpPr>
        <p:grpSpPr>
          <a:xfrm>
            <a:off x="604148" y="5659268"/>
            <a:ext cx="831155" cy="604999"/>
            <a:chOff x="0" y="0"/>
            <a:chExt cx="4374606" cy="1198080"/>
          </a:xfrm>
          <a:solidFill>
            <a:srgbClr val="D6F6EA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" name="Freeform 9"/>
            <p:cNvSpPr/>
            <p:nvPr/>
          </p:nvSpPr>
          <p:spPr>
            <a:xfrm>
              <a:off x="0" y="0"/>
              <a:ext cx="4374606" cy="1198080"/>
            </a:xfrm>
            <a:custGeom>
              <a:avLst/>
              <a:gdLst/>
              <a:ahLst/>
              <a:cxnLst/>
              <a:rect l="l" t="t" r="r" b="b"/>
              <a:pathLst>
                <a:path w="4374606" h="1198080">
                  <a:moveTo>
                    <a:pt x="4250146" y="1198080"/>
                  </a:moveTo>
                  <a:lnTo>
                    <a:pt x="124460" y="1198080"/>
                  </a:lnTo>
                  <a:cubicBezTo>
                    <a:pt x="55880" y="1198080"/>
                    <a:pt x="0" y="1142200"/>
                    <a:pt x="0" y="1073620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4250146" y="0"/>
                  </a:lnTo>
                  <a:cubicBezTo>
                    <a:pt x="4318726" y="0"/>
                    <a:pt x="4374606" y="55880"/>
                    <a:pt x="4374606" y="124460"/>
                  </a:cubicBezTo>
                  <a:lnTo>
                    <a:pt x="4374606" y="1073620"/>
                  </a:lnTo>
                  <a:cubicBezTo>
                    <a:pt x="4374606" y="1142200"/>
                    <a:pt x="4318726" y="1198080"/>
                    <a:pt x="4250146" y="1198080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10" name="Group 10"/>
          <p:cNvGrpSpPr/>
          <p:nvPr/>
        </p:nvGrpSpPr>
        <p:grpSpPr>
          <a:xfrm>
            <a:off x="594391" y="1308050"/>
            <a:ext cx="7197874" cy="763209"/>
            <a:chOff x="0" y="0"/>
            <a:chExt cx="7174809" cy="1198080"/>
          </a:xfrm>
          <a:solidFill>
            <a:srgbClr val="753BBD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" name="Freeform 11"/>
            <p:cNvSpPr/>
            <p:nvPr/>
          </p:nvSpPr>
          <p:spPr>
            <a:xfrm>
              <a:off x="0" y="0"/>
              <a:ext cx="7174809" cy="1198080"/>
            </a:xfrm>
            <a:custGeom>
              <a:avLst/>
              <a:gdLst/>
              <a:ahLst/>
              <a:cxnLst/>
              <a:rect l="l" t="t" r="r" b="b"/>
              <a:pathLst>
                <a:path w="7174809" h="1198080">
                  <a:moveTo>
                    <a:pt x="7050349" y="1198080"/>
                  </a:moveTo>
                  <a:lnTo>
                    <a:pt x="124460" y="1198080"/>
                  </a:lnTo>
                  <a:cubicBezTo>
                    <a:pt x="55880" y="1198080"/>
                    <a:pt x="0" y="1142200"/>
                    <a:pt x="0" y="1073620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7050349" y="0"/>
                  </a:lnTo>
                  <a:cubicBezTo>
                    <a:pt x="7118929" y="0"/>
                    <a:pt x="7174809" y="55880"/>
                    <a:pt x="7174809" y="124460"/>
                  </a:cubicBezTo>
                  <a:lnTo>
                    <a:pt x="7174809" y="1073620"/>
                  </a:lnTo>
                  <a:cubicBezTo>
                    <a:pt x="7174809" y="1142200"/>
                    <a:pt x="7118929" y="1198080"/>
                    <a:pt x="7050349" y="1198080"/>
                  </a:cubicBezTo>
                  <a:close/>
                </a:path>
              </a:pathLst>
            </a:custGeom>
            <a:grpFill/>
          </p:spPr>
        </p:sp>
      </p:grpSp>
      <p:sp>
        <p:nvSpPr>
          <p:cNvPr id="28" name="Title 1">
            <a:extLst>
              <a:ext uri="{FF2B5EF4-FFF2-40B4-BE49-F238E27FC236}">
                <a16:creationId xmlns:a16="http://schemas.microsoft.com/office/drawing/2014/main" id="{601A36C3-B226-4679-8069-CA764F22A46D}"/>
              </a:ext>
            </a:extLst>
          </p:cNvPr>
          <p:cNvSpPr txBox="1">
            <a:spLocks/>
          </p:cNvSpPr>
          <p:nvPr/>
        </p:nvSpPr>
        <p:spPr>
          <a:xfrm>
            <a:off x="451934" y="207024"/>
            <a:ext cx="7633063" cy="108894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582C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-C NOW has purpose and integrates into our Digital Channel Ecosystem </a:t>
            </a:r>
            <a:br>
              <a:rPr lang="en-US" dirty="0">
                <a:solidFill>
                  <a:srgbClr val="582C8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b="0" dirty="0">
              <a:solidFill>
                <a:srgbClr val="582C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4">
            <a:extLst>
              <a:ext uri="{FF2B5EF4-FFF2-40B4-BE49-F238E27FC236}">
                <a16:creationId xmlns:a16="http://schemas.microsoft.com/office/drawing/2014/main" id="{AABC4EE9-1B97-4FC4-91E9-D68885B9DD3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1212987" y="1464510"/>
            <a:ext cx="2222836" cy="413077"/>
          </a:xfrm>
          <a:prstGeom prst="rect">
            <a:avLst/>
          </a:prstGeom>
        </p:spPr>
      </p:pic>
      <p:pic>
        <p:nvPicPr>
          <p:cNvPr id="31" name="Picture 8" descr="Microsoft Teams - Wikipedia">
            <a:extLst>
              <a:ext uri="{FF2B5EF4-FFF2-40B4-BE49-F238E27FC236}">
                <a16:creationId xmlns:a16="http://schemas.microsoft.com/office/drawing/2014/main" id="{A001A196-7B75-4407-83BA-2B960636DB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690" y="3692632"/>
            <a:ext cx="532859" cy="495576"/>
          </a:xfrm>
          <a:prstGeom prst="rect">
            <a:avLst/>
          </a:prstGeom>
          <a:noFill/>
        </p:spPr>
      </p:pic>
      <p:pic>
        <p:nvPicPr>
          <p:cNvPr id="32" name="Picture 6" descr="Yammer Logo Vectors Free Download">
            <a:extLst>
              <a:ext uri="{FF2B5EF4-FFF2-40B4-BE49-F238E27FC236}">
                <a16:creationId xmlns:a16="http://schemas.microsoft.com/office/drawing/2014/main" id="{361F3F9E-B253-4D0C-8334-C3772B3C02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607" y="4363983"/>
            <a:ext cx="515405" cy="515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D66468E4-3235-4734-8055-C40A9236EEB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5034"/>
          <a:stretch/>
        </p:blipFill>
        <p:spPr>
          <a:xfrm>
            <a:off x="624028" y="5124360"/>
            <a:ext cx="800319" cy="405467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DC3EDF7C-3380-4024-B58E-7E14B2499D0E}"/>
              </a:ext>
            </a:extLst>
          </p:cNvPr>
          <p:cNvSpPr txBox="1"/>
          <p:nvPr/>
        </p:nvSpPr>
        <p:spPr>
          <a:xfrm>
            <a:off x="594391" y="2107604"/>
            <a:ext cx="7197874" cy="55399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500" dirty="0">
                <a:latin typeface="Arial" panose="020B0604020202020204"/>
              </a:rPr>
              <a:t>Receive company news and important information and engage with fellow </a:t>
            </a:r>
            <a:br>
              <a:rPr lang="en-US" sz="1500" dirty="0">
                <a:solidFill>
                  <a:prstClr val="black"/>
                </a:solidFill>
                <a:latin typeface="Arial" panose="020B0604020202020204"/>
              </a:rPr>
            </a:br>
            <a:r>
              <a:rPr lang="en-US" sz="1500">
                <a:latin typeface="Arial" panose="020B0604020202020204"/>
              </a:rPr>
              <a:t>K-C'ers via mobile app and web.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7E25AE6-3386-4103-8A88-088620F7CE03}"/>
              </a:ext>
            </a:extLst>
          </p:cNvPr>
          <p:cNvSpPr txBox="1"/>
          <p:nvPr/>
        </p:nvSpPr>
        <p:spPr>
          <a:xfrm>
            <a:off x="1497543" y="3743140"/>
            <a:ext cx="719787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dirty="0">
                <a:solidFill>
                  <a:prstClr val="black"/>
                </a:solidFill>
                <a:latin typeface="Arial" panose="020B0604020202020204"/>
              </a:rPr>
              <a:t>Project and document collaboration, and chat, voice, video meeting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5C87D69-2A10-4ACF-9BAC-87A63DF68CE5}"/>
              </a:ext>
            </a:extLst>
          </p:cNvPr>
          <p:cNvSpPr txBox="1"/>
          <p:nvPr/>
        </p:nvSpPr>
        <p:spPr>
          <a:xfrm>
            <a:off x="1497543" y="4433643"/>
            <a:ext cx="696250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dirty="0">
                <a:solidFill>
                  <a:prstClr val="black"/>
                </a:solidFill>
                <a:latin typeface="Arial" panose="020B0604020202020204"/>
              </a:rPr>
              <a:t>K-C’s internal social network - post ideas, questions, learnings and stories</a:t>
            </a:r>
          </a:p>
          <a:p>
            <a:r>
              <a:rPr lang="en-US" sz="1500" b="1" dirty="0">
                <a:solidFill>
                  <a:prstClr val="black"/>
                </a:solidFill>
                <a:latin typeface="Arial" panose="020B0604020202020204"/>
              </a:rPr>
              <a:t>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D530C1D-9AE2-4BEB-8201-5B0FC214960D}"/>
              </a:ext>
            </a:extLst>
          </p:cNvPr>
          <p:cNvSpPr txBox="1"/>
          <p:nvPr/>
        </p:nvSpPr>
        <p:spPr>
          <a:xfrm>
            <a:off x="1497543" y="5780305"/>
            <a:ext cx="717628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dirty="0">
                <a:solidFill>
                  <a:prstClr val="black"/>
                </a:solidFill>
                <a:latin typeface="Arial" panose="020B0604020202020204"/>
              </a:rPr>
              <a:t>Job-related resources and collaborative cloud file storag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B801823-F103-421E-B847-FE38F3CE078D}"/>
              </a:ext>
            </a:extLst>
          </p:cNvPr>
          <p:cNvSpPr/>
          <p:nvPr/>
        </p:nvSpPr>
        <p:spPr>
          <a:xfrm>
            <a:off x="3583132" y="1487157"/>
            <a:ext cx="49733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kern="0" dirty="0">
                <a:solidFill>
                  <a:srgbClr val="FFFFFF"/>
                </a:solidFill>
                <a:latin typeface="Arial" panose="020B0604020202020204"/>
              </a:rPr>
              <a:t>LEARN, CONNECT, ENGAGE</a:t>
            </a:r>
            <a:endParaRPr lang="en-US" dirty="0"/>
          </a:p>
        </p:txBody>
      </p:sp>
      <p:pic>
        <p:nvPicPr>
          <p:cNvPr id="43" name="Picture 42" descr="Icon&#10;&#10;Description automatically generated">
            <a:extLst>
              <a:ext uri="{FF2B5EF4-FFF2-40B4-BE49-F238E27FC236}">
                <a16:creationId xmlns:a16="http://schemas.microsoft.com/office/drawing/2014/main" id="{0BEF1F0D-3D41-4400-BD70-FF7944C870C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537" y="5709548"/>
            <a:ext cx="580105" cy="504438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AEED92D0-11DE-497B-BFB6-539390BE3C5B}"/>
              </a:ext>
            </a:extLst>
          </p:cNvPr>
          <p:cNvSpPr/>
          <p:nvPr/>
        </p:nvSpPr>
        <p:spPr>
          <a:xfrm>
            <a:off x="1497543" y="5113746"/>
            <a:ext cx="6553441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dirty="0">
                <a:solidFill>
                  <a:prstClr val="black"/>
                </a:solidFill>
                <a:latin typeface="Arial" panose="020B0604020202020204"/>
              </a:rPr>
              <a:t>K-C’s intranet for job-related resources, policies, and tools </a:t>
            </a:r>
            <a:endParaRPr lang="en-US" sz="1500" b="1" dirty="0"/>
          </a:p>
        </p:txBody>
      </p:sp>
      <p:grpSp>
        <p:nvGrpSpPr>
          <p:cNvPr id="48" name="Group 2">
            <a:extLst>
              <a:ext uri="{FF2B5EF4-FFF2-40B4-BE49-F238E27FC236}">
                <a16:creationId xmlns:a16="http://schemas.microsoft.com/office/drawing/2014/main" id="{1D5D43C6-DBE3-4037-9E01-204054F58100}"/>
              </a:ext>
            </a:extLst>
          </p:cNvPr>
          <p:cNvGrpSpPr/>
          <p:nvPr/>
        </p:nvGrpSpPr>
        <p:grpSpPr>
          <a:xfrm>
            <a:off x="614736" y="2942899"/>
            <a:ext cx="820568" cy="610869"/>
            <a:chOff x="0" y="0"/>
            <a:chExt cx="6480264" cy="1198080"/>
          </a:xfrm>
          <a:solidFill>
            <a:srgbClr val="FCD7DA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9" name="Freeform 3">
              <a:extLst>
                <a:ext uri="{FF2B5EF4-FFF2-40B4-BE49-F238E27FC236}">
                  <a16:creationId xmlns:a16="http://schemas.microsoft.com/office/drawing/2014/main" id="{2AB725CE-FB9A-406D-B0B5-99FFCCA6E5BC}"/>
                </a:ext>
              </a:extLst>
            </p:cNvPr>
            <p:cNvSpPr/>
            <p:nvPr/>
          </p:nvSpPr>
          <p:spPr>
            <a:xfrm>
              <a:off x="0" y="0"/>
              <a:ext cx="6480265" cy="1198080"/>
            </a:xfrm>
            <a:custGeom>
              <a:avLst/>
              <a:gdLst/>
              <a:ahLst/>
              <a:cxnLst/>
              <a:rect l="l" t="t" r="r" b="b"/>
              <a:pathLst>
                <a:path w="6480265" h="1198080">
                  <a:moveTo>
                    <a:pt x="6355804" y="1198080"/>
                  </a:moveTo>
                  <a:lnTo>
                    <a:pt x="124460" y="1198080"/>
                  </a:lnTo>
                  <a:cubicBezTo>
                    <a:pt x="55880" y="1198080"/>
                    <a:pt x="0" y="1142200"/>
                    <a:pt x="0" y="1073620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6355805" y="0"/>
                  </a:lnTo>
                  <a:cubicBezTo>
                    <a:pt x="6424385" y="0"/>
                    <a:pt x="6480265" y="55880"/>
                    <a:pt x="6480265" y="124460"/>
                  </a:cubicBezTo>
                  <a:lnTo>
                    <a:pt x="6480265" y="1073620"/>
                  </a:lnTo>
                  <a:cubicBezTo>
                    <a:pt x="6480265" y="1142200"/>
                    <a:pt x="6424385" y="1198080"/>
                    <a:pt x="6355805" y="1198080"/>
                  </a:cubicBezTo>
                  <a:close/>
                </a:path>
              </a:pathLst>
            </a:custGeom>
            <a:grpFill/>
          </p:spPr>
        </p:sp>
      </p:grpSp>
      <p:sp>
        <p:nvSpPr>
          <p:cNvPr id="50" name="TextBox 49">
            <a:extLst>
              <a:ext uri="{FF2B5EF4-FFF2-40B4-BE49-F238E27FC236}">
                <a16:creationId xmlns:a16="http://schemas.microsoft.com/office/drawing/2014/main" id="{CE4C29D8-2995-462D-81F4-F5E080C29ED7}"/>
              </a:ext>
            </a:extLst>
          </p:cNvPr>
          <p:cNvSpPr txBox="1"/>
          <p:nvPr/>
        </p:nvSpPr>
        <p:spPr>
          <a:xfrm>
            <a:off x="1497543" y="3075812"/>
            <a:ext cx="719787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dirty="0">
                <a:solidFill>
                  <a:prstClr val="black"/>
                </a:solidFill>
                <a:latin typeface="Arial" panose="020B0604020202020204"/>
              </a:rPr>
              <a:t>Email, calendaring and managing tasks </a:t>
            </a:r>
          </a:p>
        </p:txBody>
      </p:sp>
      <p:pic>
        <p:nvPicPr>
          <p:cNvPr id="16" name="Picture 15" descr="Icon&#10;&#10;Description automatically generated">
            <a:extLst>
              <a:ext uri="{FF2B5EF4-FFF2-40B4-BE49-F238E27FC236}">
                <a16:creationId xmlns:a16="http://schemas.microsoft.com/office/drawing/2014/main" id="{F55D16A9-F80C-408A-8229-634EC1B7188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690" y="3012677"/>
            <a:ext cx="627727" cy="626616"/>
          </a:xfrm>
          <a:prstGeom prst="rect">
            <a:avLst/>
          </a:prstGeom>
        </p:spPr>
      </p:pic>
      <p:grpSp>
        <p:nvGrpSpPr>
          <p:cNvPr id="61" name="Group 60">
            <a:extLst>
              <a:ext uri="{FF2B5EF4-FFF2-40B4-BE49-F238E27FC236}">
                <a16:creationId xmlns:a16="http://schemas.microsoft.com/office/drawing/2014/main" id="{40B78CEF-8239-4672-B389-1815B56E6DF7}"/>
              </a:ext>
            </a:extLst>
          </p:cNvPr>
          <p:cNvGrpSpPr/>
          <p:nvPr/>
        </p:nvGrpSpPr>
        <p:grpSpPr>
          <a:xfrm>
            <a:off x="298648" y="6444753"/>
            <a:ext cx="2165537" cy="271230"/>
            <a:chOff x="158750" y="276225"/>
            <a:chExt cx="6388100" cy="800100"/>
          </a:xfrm>
          <a:solidFill>
            <a:srgbClr val="10069F"/>
          </a:solidFill>
        </p:grpSpPr>
        <p:sp>
          <p:nvSpPr>
            <p:cNvPr id="62" name="Freeform 5">
              <a:extLst>
                <a:ext uri="{FF2B5EF4-FFF2-40B4-BE49-F238E27FC236}">
                  <a16:creationId xmlns:a16="http://schemas.microsoft.com/office/drawing/2014/main" id="{1B00613F-5B28-4252-97B2-9405721AEE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750" y="276225"/>
              <a:ext cx="857250" cy="736600"/>
            </a:xfrm>
            <a:custGeom>
              <a:avLst/>
              <a:gdLst>
                <a:gd name="T0" fmla="*/ 298 w 540"/>
                <a:gd name="T1" fmla="*/ 0 h 464"/>
                <a:gd name="T2" fmla="*/ 374 w 540"/>
                <a:gd name="T3" fmla="*/ 18 h 464"/>
                <a:gd name="T4" fmla="*/ 442 w 540"/>
                <a:gd name="T5" fmla="*/ 52 h 464"/>
                <a:gd name="T6" fmla="*/ 494 w 540"/>
                <a:gd name="T7" fmla="*/ 102 h 464"/>
                <a:gd name="T8" fmla="*/ 528 w 540"/>
                <a:gd name="T9" fmla="*/ 162 h 464"/>
                <a:gd name="T10" fmla="*/ 540 w 540"/>
                <a:gd name="T11" fmla="*/ 232 h 464"/>
                <a:gd name="T12" fmla="*/ 534 w 540"/>
                <a:gd name="T13" fmla="*/ 278 h 464"/>
                <a:gd name="T14" fmla="*/ 506 w 540"/>
                <a:gd name="T15" fmla="*/ 342 h 464"/>
                <a:gd name="T16" fmla="*/ 460 w 540"/>
                <a:gd name="T17" fmla="*/ 396 h 464"/>
                <a:gd name="T18" fmla="*/ 398 w 540"/>
                <a:gd name="T19" fmla="*/ 436 h 464"/>
                <a:gd name="T20" fmla="*/ 324 w 540"/>
                <a:gd name="T21" fmla="*/ 460 h 464"/>
                <a:gd name="T22" fmla="*/ 270 w 540"/>
                <a:gd name="T23" fmla="*/ 464 h 464"/>
                <a:gd name="T24" fmla="*/ 190 w 540"/>
                <a:gd name="T25" fmla="*/ 454 h 464"/>
                <a:gd name="T26" fmla="*/ 118 w 540"/>
                <a:gd name="T27" fmla="*/ 424 h 464"/>
                <a:gd name="T28" fmla="*/ 62 w 540"/>
                <a:gd name="T29" fmla="*/ 380 h 464"/>
                <a:gd name="T30" fmla="*/ 20 w 540"/>
                <a:gd name="T31" fmla="*/ 322 h 464"/>
                <a:gd name="T32" fmla="*/ 2 w 540"/>
                <a:gd name="T33" fmla="*/ 256 h 464"/>
                <a:gd name="T34" fmla="*/ 2 w 540"/>
                <a:gd name="T35" fmla="*/ 208 h 464"/>
                <a:gd name="T36" fmla="*/ 20 w 540"/>
                <a:gd name="T37" fmla="*/ 142 h 464"/>
                <a:gd name="T38" fmla="*/ 62 w 540"/>
                <a:gd name="T39" fmla="*/ 84 h 464"/>
                <a:gd name="T40" fmla="*/ 118 w 540"/>
                <a:gd name="T41" fmla="*/ 40 h 464"/>
                <a:gd name="T42" fmla="*/ 190 w 540"/>
                <a:gd name="T43" fmla="*/ 10 h 464"/>
                <a:gd name="T44" fmla="*/ 270 w 540"/>
                <a:gd name="T45" fmla="*/ 0 h 464"/>
                <a:gd name="T46" fmla="*/ 270 w 540"/>
                <a:gd name="T47" fmla="*/ 232 h 464"/>
                <a:gd name="T48" fmla="*/ 220 w 540"/>
                <a:gd name="T49" fmla="*/ 196 h 464"/>
                <a:gd name="T50" fmla="*/ 208 w 540"/>
                <a:gd name="T51" fmla="*/ 176 h 464"/>
                <a:gd name="T52" fmla="*/ 156 w 540"/>
                <a:gd name="T53" fmla="*/ 130 h 464"/>
                <a:gd name="T54" fmla="*/ 76 w 540"/>
                <a:gd name="T55" fmla="*/ 152 h 464"/>
                <a:gd name="T56" fmla="*/ 130 w 540"/>
                <a:gd name="T57" fmla="*/ 204 h 464"/>
                <a:gd name="T58" fmla="*/ 138 w 540"/>
                <a:gd name="T59" fmla="*/ 230 h 464"/>
                <a:gd name="T60" fmla="*/ 132 w 540"/>
                <a:gd name="T61" fmla="*/ 244 h 464"/>
                <a:gd name="T62" fmla="*/ 108 w 540"/>
                <a:gd name="T63" fmla="*/ 250 h 464"/>
                <a:gd name="T64" fmla="*/ 38 w 540"/>
                <a:gd name="T65" fmla="*/ 330 h 464"/>
                <a:gd name="T66" fmla="*/ 146 w 540"/>
                <a:gd name="T67" fmla="*/ 330 h 464"/>
                <a:gd name="T68" fmla="*/ 186 w 540"/>
                <a:gd name="T69" fmla="*/ 320 h 464"/>
                <a:gd name="T70" fmla="*/ 214 w 540"/>
                <a:gd name="T71" fmla="*/ 296 h 464"/>
                <a:gd name="T72" fmla="*/ 320 w 540"/>
                <a:gd name="T73" fmla="*/ 390 h 464"/>
                <a:gd name="T74" fmla="*/ 326 w 540"/>
                <a:gd name="T75" fmla="*/ 296 h 464"/>
                <a:gd name="T76" fmla="*/ 352 w 540"/>
                <a:gd name="T77" fmla="*/ 320 h 464"/>
                <a:gd name="T78" fmla="*/ 392 w 540"/>
                <a:gd name="T79" fmla="*/ 330 h 464"/>
                <a:gd name="T80" fmla="*/ 500 w 540"/>
                <a:gd name="T81" fmla="*/ 250 h 464"/>
                <a:gd name="T82" fmla="*/ 432 w 540"/>
                <a:gd name="T83" fmla="*/ 250 h 464"/>
                <a:gd name="T84" fmla="*/ 408 w 540"/>
                <a:gd name="T85" fmla="*/ 244 h 464"/>
                <a:gd name="T86" fmla="*/ 400 w 540"/>
                <a:gd name="T87" fmla="*/ 230 h 464"/>
                <a:gd name="T88" fmla="*/ 410 w 540"/>
                <a:gd name="T89" fmla="*/ 204 h 464"/>
                <a:gd name="T90" fmla="*/ 462 w 540"/>
                <a:gd name="T91" fmla="*/ 152 h 464"/>
                <a:gd name="T92" fmla="*/ 382 w 540"/>
                <a:gd name="T93" fmla="*/ 130 h 464"/>
                <a:gd name="T94" fmla="*/ 330 w 540"/>
                <a:gd name="T95" fmla="*/ 176 h 464"/>
                <a:gd name="T96" fmla="*/ 320 w 540"/>
                <a:gd name="T97" fmla="*/ 19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40" h="464">
                  <a:moveTo>
                    <a:pt x="270" y="0"/>
                  </a:moveTo>
                  <a:lnTo>
                    <a:pt x="270" y="0"/>
                  </a:lnTo>
                  <a:lnTo>
                    <a:pt x="298" y="0"/>
                  </a:lnTo>
                  <a:lnTo>
                    <a:pt x="324" y="4"/>
                  </a:lnTo>
                  <a:lnTo>
                    <a:pt x="350" y="10"/>
                  </a:lnTo>
                  <a:lnTo>
                    <a:pt x="374" y="18"/>
                  </a:lnTo>
                  <a:lnTo>
                    <a:pt x="398" y="28"/>
                  </a:lnTo>
                  <a:lnTo>
                    <a:pt x="420" y="40"/>
                  </a:lnTo>
                  <a:lnTo>
                    <a:pt x="442" y="52"/>
                  </a:lnTo>
                  <a:lnTo>
                    <a:pt x="460" y="68"/>
                  </a:lnTo>
                  <a:lnTo>
                    <a:pt x="478" y="84"/>
                  </a:lnTo>
                  <a:lnTo>
                    <a:pt x="494" y="102"/>
                  </a:lnTo>
                  <a:lnTo>
                    <a:pt x="506" y="122"/>
                  </a:lnTo>
                  <a:lnTo>
                    <a:pt x="518" y="142"/>
                  </a:lnTo>
                  <a:lnTo>
                    <a:pt x="528" y="162"/>
                  </a:lnTo>
                  <a:lnTo>
                    <a:pt x="534" y="184"/>
                  </a:lnTo>
                  <a:lnTo>
                    <a:pt x="538" y="208"/>
                  </a:lnTo>
                  <a:lnTo>
                    <a:pt x="540" y="232"/>
                  </a:lnTo>
                  <a:lnTo>
                    <a:pt x="540" y="232"/>
                  </a:lnTo>
                  <a:lnTo>
                    <a:pt x="538" y="256"/>
                  </a:lnTo>
                  <a:lnTo>
                    <a:pt x="534" y="278"/>
                  </a:lnTo>
                  <a:lnTo>
                    <a:pt x="528" y="300"/>
                  </a:lnTo>
                  <a:lnTo>
                    <a:pt x="518" y="322"/>
                  </a:lnTo>
                  <a:lnTo>
                    <a:pt x="506" y="342"/>
                  </a:lnTo>
                  <a:lnTo>
                    <a:pt x="494" y="362"/>
                  </a:lnTo>
                  <a:lnTo>
                    <a:pt x="478" y="380"/>
                  </a:lnTo>
                  <a:lnTo>
                    <a:pt x="460" y="396"/>
                  </a:lnTo>
                  <a:lnTo>
                    <a:pt x="442" y="410"/>
                  </a:lnTo>
                  <a:lnTo>
                    <a:pt x="420" y="424"/>
                  </a:lnTo>
                  <a:lnTo>
                    <a:pt x="398" y="436"/>
                  </a:lnTo>
                  <a:lnTo>
                    <a:pt x="374" y="446"/>
                  </a:lnTo>
                  <a:lnTo>
                    <a:pt x="350" y="454"/>
                  </a:lnTo>
                  <a:lnTo>
                    <a:pt x="324" y="460"/>
                  </a:lnTo>
                  <a:lnTo>
                    <a:pt x="298" y="462"/>
                  </a:lnTo>
                  <a:lnTo>
                    <a:pt x="270" y="464"/>
                  </a:lnTo>
                  <a:lnTo>
                    <a:pt x="270" y="464"/>
                  </a:lnTo>
                  <a:lnTo>
                    <a:pt x="242" y="462"/>
                  </a:lnTo>
                  <a:lnTo>
                    <a:pt x="216" y="458"/>
                  </a:lnTo>
                  <a:lnTo>
                    <a:pt x="190" y="454"/>
                  </a:lnTo>
                  <a:lnTo>
                    <a:pt x="164" y="446"/>
                  </a:lnTo>
                  <a:lnTo>
                    <a:pt x="140" y="436"/>
                  </a:lnTo>
                  <a:lnTo>
                    <a:pt x="118" y="424"/>
                  </a:lnTo>
                  <a:lnTo>
                    <a:pt x="98" y="410"/>
                  </a:lnTo>
                  <a:lnTo>
                    <a:pt x="78" y="396"/>
                  </a:lnTo>
                  <a:lnTo>
                    <a:pt x="62" y="380"/>
                  </a:lnTo>
                  <a:lnTo>
                    <a:pt x="46" y="362"/>
                  </a:lnTo>
                  <a:lnTo>
                    <a:pt x="32" y="342"/>
                  </a:lnTo>
                  <a:lnTo>
                    <a:pt x="20" y="322"/>
                  </a:lnTo>
                  <a:lnTo>
                    <a:pt x="12" y="300"/>
                  </a:lnTo>
                  <a:lnTo>
                    <a:pt x="6" y="278"/>
                  </a:lnTo>
                  <a:lnTo>
                    <a:pt x="2" y="256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08"/>
                  </a:lnTo>
                  <a:lnTo>
                    <a:pt x="6" y="184"/>
                  </a:lnTo>
                  <a:lnTo>
                    <a:pt x="12" y="162"/>
                  </a:lnTo>
                  <a:lnTo>
                    <a:pt x="20" y="142"/>
                  </a:lnTo>
                  <a:lnTo>
                    <a:pt x="32" y="120"/>
                  </a:lnTo>
                  <a:lnTo>
                    <a:pt x="46" y="102"/>
                  </a:lnTo>
                  <a:lnTo>
                    <a:pt x="62" y="84"/>
                  </a:lnTo>
                  <a:lnTo>
                    <a:pt x="78" y="68"/>
                  </a:lnTo>
                  <a:lnTo>
                    <a:pt x="98" y="52"/>
                  </a:lnTo>
                  <a:lnTo>
                    <a:pt x="118" y="40"/>
                  </a:lnTo>
                  <a:lnTo>
                    <a:pt x="140" y="28"/>
                  </a:lnTo>
                  <a:lnTo>
                    <a:pt x="164" y="18"/>
                  </a:lnTo>
                  <a:lnTo>
                    <a:pt x="190" y="10"/>
                  </a:lnTo>
                  <a:lnTo>
                    <a:pt x="216" y="4"/>
                  </a:lnTo>
                  <a:lnTo>
                    <a:pt x="242" y="0"/>
                  </a:lnTo>
                  <a:lnTo>
                    <a:pt x="270" y="0"/>
                  </a:lnTo>
                  <a:lnTo>
                    <a:pt x="270" y="0"/>
                  </a:lnTo>
                  <a:close/>
                  <a:moveTo>
                    <a:pt x="270" y="232"/>
                  </a:moveTo>
                  <a:lnTo>
                    <a:pt x="270" y="232"/>
                  </a:lnTo>
                  <a:close/>
                  <a:moveTo>
                    <a:pt x="220" y="50"/>
                  </a:moveTo>
                  <a:lnTo>
                    <a:pt x="220" y="50"/>
                  </a:lnTo>
                  <a:lnTo>
                    <a:pt x="220" y="196"/>
                  </a:lnTo>
                  <a:lnTo>
                    <a:pt x="220" y="196"/>
                  </a:lnTo>
                  <a:lnTo>
                    <a:pt x="214" y="186"/>
                  </a:lnTo>
                  <a:lnTo>
                    <a:pt x="208" y="176"/>
                  </a:lnTo>
                  <a:lnTo>
                    <a:pt x="194" y="160"/>
                  </a:lnTo>
                  <a:lnTo>
                    <a:pt x="176" y="144"/>
                  </a:lnTo>
                  <a:lnTo>
                    <a:pt x="156" y="130"/>
                  </a:lnTo>
                  <a:lnTo>
                    <a:pt x="48" y="130"/>
                  </a:lnTo>
                  <a:lnTo>
                    <a:pt x="48" y="130"/>
                  </a:lnTo>
                  <a:lnTo>
                    <a:pt x="76" y="152"/>
                  </a:lnTo>
                  <a:lnTo>
                    <a:pt x="106" y="178"/>
                  </a:lnTo>
                  <a:lnTo>
                    <a:pt x="120" y="192"/>
                  </a:lnTo>
                  <a:lnTo>
                    <a:pt x="130" y="204"/>
                  </a:lnTo>
                  <a:lnTo>
                    <a:pt x="136" y="218"/>
                  </a:lnTo>
                  <a:lnTo>
                    <a:pt x="138" y="230"/>
                  </a:lnTo>
                  <a:lnTo>
                    <a:pt x="138" y="230"/>
                  </a:lnTo>
                  <a:lnTo>
                    <a:pt x="138" y="236"/>
                  </a:lnTo>
                  <a:lnTo>
                    <a:pt x="136" y="240"/>
                  </a:lnTo>
                  <a:lnTo>
                    <a:pt x="132" y="244"/>
                  </a:lnTo>
                  <a:lnTo>
                    <a:pt x="128" y="246"/>
                  </a:lnTo>
                  <a:lnTo>
                    <a:pt x="11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38" y="25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146" y="330"/>
                  </a:lnTo>
                  <a:lnTo>
                    <a:pt x="146" y="330"/>
                  </a:lnTo>
                  <a:lnTo>
                    <a:pt x="166" y="328"/>
                  </a:lnTo>
                  <a:lnTo>
                    <a:pt x="176" y="324"/>
                  </a:lnTo>
                  <a:lnTo>
                    <a:pt x="186" y="320"/>
                  </a:lnTo>
                  <a:lnTo>
                    <a:pt x="196" y="314"/>
                  </a:lnTo>
                  <a:lnTo>
                    <a:pt x="206" y="306"/>
                  </a:lnTo>
                  <a:lnTo>
                    <a:pt x="214" y="296"/>
                  </a:lnTo>
                  <a:lnTo>
                    <a:pt x="220" y="284"/>
                  </a:lnTo>
                  <a:lnTo>
                    <a:pt x="220" y="390"/>
                  </a:lnTo>
                  <a:lnTo>
                    <a:pt x="320" y="390"/>
                  </a:lnTo>
                  <a:lnTo>
                    <a:pt x="320" y="284"/>
                  </a:lnTo>
                  <a:lnTo>
                    <a:pt x="320" y="284"/>
                  </a:lnTo>
                  <a:lnTo>
                    <a:pt x="326" y="296"/>
                  </a:lnTo>
                  <a:lnTo>
                    <a:pt x="334" y="306"/>
                  </a:lnTo>
                  <a:lnTo>
                    <a:pt x="342" y="314"/>
                  </a:lnTo>
                  <a:lnTo>
                    <a:pt x="352" y="320"/>
                  </a:lnTo>
                  <a:lnTo>
                    <a:pt x="362" y="324"/>
                  </a:lnTo>
                  <a:lnTo>
                    <a:pt x="372" y="328"/>
                  </a:lnTo>
                  <a:lnTo>
                    <a:pt x="392" y="330"/>
                  </a:lnTo>
                  <a:lnTo>
                    <a:pt x="392" y="330"/>
                  </a:lnTo>
                  <a:lnTo>
                    <a:pt x="500" y="330"/>
                  </a:lnTo>
                  <a:lnTo>
                    <a:pt x="500" y="250"/>
                  </a:lnTo>
                  <a:lnTo>
                    <a:pt x="500" y="250"/>
                  </a:lnTo>
                  <a:lnTo>
                    <a:pt x="432" y="250"/>
                  </a:lnTo>
                  <a:lnTo>
                    <a:pt x="432" y="250"/>
                  </a:lnTo>
                  <a:lnTo>
                    <a:pt x="422" y="250"/>
                  </a:lnTo>
                  <a:lnTo>
                    <a:pt x="412" y="246"/>
                  </a:lnTo>
                  <a:lnTo>
                    <a:pt x="408" y="244"/>
                  </a:lnTo>
                  <a:lnTo>
                    <a:pt x="404" y="240"/>
                  </a:lnTo>
                  <a:lnTo>
                    <a:pt x="402" y="236"/>
                  </a:lnTo>
                  <a:lnTo>
                    <a:pt x="400" y="230"/>
                  </a:lnTo>
                  <a:lnTo>
                    <a:pt x="400" y="230"/>
                  </a:lnTo>
                  <a:lnTo>
                    <a:pt x="402" y="218"/>
                  </a:lnTo>
                  <a:lnTo>
                    <a:pt x="410" y="204"/>
                  </a:lnTo>
                  <a:lnTo>
                    <a:pt x="420" y="192"/>
                  </a:lnTo>
                  <a:lnTo>
                    <a:pt x="432" y="178"/>
                  </a:lnTo>
                  <a:lnTo>
                    <a:pt x="462" y="152"/>
                  </a:lnTo>
                  <a:lnTo>
                    <a:pt x="492" y="130"/>
                  </a:lnTo>
                  <a:lnTo>
                    <a:pt x="382" y="130"/>
                  </a:lnTo>
                  <a:lnTo>
                    <a:pt x="382" y="130"/>
                  </a:lnTo>
                  <a:lnTo>
                    <a:pt x="364" y="144"/>
                  </a:lnTo>
                  <a:lnTo>
                    <a:pt x="346" y="160"/>
                  </a:lnTo>
                  <a:lnTo>
                    <a:pt x="330" y="176"/>
                  </a:lnTo>
                  <a:lnTo>
                    <a:pt x="324" y="186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20" y="50"/>
                  </a:lnTo>
                  <a:lnTo>
                    <a:pt x="22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endParaRPr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D840EBEF-F077-4FDC-B15F-B331CC9D33EF}"/>
                </a:ext>
              </a:extLst>
            </p:cNvPr>
            <p:cNvGrpSpPr/>
            <p:nvPr/>
          </p:nvGrpSpPr>
          <p:grpSpPr>
            <a:xfrm>
              <a:off x="1314450" y="339725"/>
              <a:ext cx="5232400" cy="736600"/>
              <a:chOff x="1314450" y="339725"/>
              <a:chExt cx="5232400" cy="736600"/>
            </a:xfrm>
            <a:grpFill/>
          </p:grpSpPr>
          <p:sp>
            <p:nvSpPr>
              <p:cNvPr id="64" name="Freeform 9">
                <a:extLst>
                  <a:ext uri="{FF2B5EF4-FFF2-40B4-BE49-F238E27FC236}">
                    <a16:creationId xmlns:a16="http://schemas.microsoft.com/office/drawing/2014/main" id="{B4A6E37F-5EDD-4CB6-9297-0D7A4B3140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8175" y="352425"/>
                <a:ext cx="139700" cy="98425"/>
              </a:xfrm>
              <a:custGeom>
                <a:avLst/>
                <a:gdLst>
                  <a:gd name="T0" fmla="*/ 4 w 88"/>
                  <a:gd name="T1" fmla="*/ 0 h 62"/>
                  <a:gd name="T2" fmla="*/ 88 w 88"/>
                  <a:gd name="T3" fmla="*/ 0 h 62"/>
                  <a:gd name="T4" fmla="*/ 84 w 88"/>
                  <a:gd name="T5" fmla="*/ 62 h 62"/>
                  <a:gd name="T6" fmla="*/ 0 w 88"/>
                  <a:gd name="T7" fmla="*/ 62 h 62"/>
                  <a:gd name="T8" fmla="*/ 4 w 88"/>
                  <a:gd name="T9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" h="62">
                    <a:moveTo>
                      <a:pt x="4" y="0"/>
                    </a:moveTo>
                    <a:lnTo>
                      <a:pt x="88" y="0"/>
                    </a:lnTo>
                    <a:lnTo>
                      <a:pt x="84" y="62"/>
                    </a:lnTo>
                    <a:lnTo>
                      <a:pt x="0" y="6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</a:endParaRPr>
              </a:p>
            </p:txBody>
          </p:sp>
          <p:sp>
            <p:nvSpPr>
              <p:cNvPr id="65" name="Freeform 10">
                <a:extLst>
                  <a:ext uri="{FF2B5EF4-FFF2-40B4-BE49-F238E27FC236}">
                    <a16:creationId xmlns:a16="http://schemas.microsoft.com/office/drawing/2014/main" id="{8D843FDD-2E93-4748-8A52-694E5B33D5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97500" y="504825"/>
                <a:ext cx="393700" cy="393700"/>
              </a:xfrm>
              <a:custGeom>
                <a:avLst/>
                <a:gdLst>
                  <a:gd name="T0" fmla="*/ 152 w 248"/>
                  <a:gd name="T1" fmla="*/ 216 h 248"/>
                  <a:gd name="T2" fmla="*/ 138 w 248"/>
                  <a:gd name="T3" fmla="*/ 228 h 248"/>
                  <a:gd name="T4" fmla="*/ 112 w 248"/>
                  <a:gd name="T5" fmla="*/ 242 h 248"/>
                  <a:gd name="T6" fmla="*/ 92 w 248"/>
                  <a:gd name="T7" fmla="*/ 246 h 248"/>
                  <a:gd name="T8" fmla="*/ 80 w 248"/>
                  <a:gd name="T9" fmla="*/ 248 h 248"/>
                  <a:gd name="T10" fmla="*/ 44 w 248"/>
                  <a:gd name="T11" fmla="*/ 242 h 248"/>
                  <a:gd name="T12" fmla="*/ 18 w 248"/>
                  <a:gd name="T13" fmla="*/ 226 h 248"/>
                  <a:gd name="T14" fmla="*/ 4 w 248"/>
                  <a:gd name="T15" fmla="*/ 202 h 248"/>
                  <a:gd name="T16" fmla="*/ 0 w 248"/>
                  <a:gd name="T17" fmla="*/ 174 h 248"/>
                  <a:gd name="T18" fmla="*/ 2 w 248"/>
                  <a:gd name="T19" fmla="*/ 156 h 248"/>
                  <a:gd name="T20" fmla="*/ 20 w 248"/>
                  <a:gd name="T21" fmla="*/ 128 h 248"/>
                  <a:gd name="T22" fmla="*/ 54 w 248"/>
                  <a:gd name="T23" fmla="*/ 108 h 248"/>
                  <a:gd name="T24" fmla="*/ 104 w 248"/>
                  <a:gd name="T25" fmla="*/ 98 h 248"/>
                  <a:gd name="T26" fmla="*/ 162 w 248"/>
                  <a:gd name="T27" fmla="*/ 96 h 248"/>
                  <a:gd name="T28" fmla="*/ 164 w 248"/>
                  <a:gd name="T29" fmla="*/ 78 h 248"/>
                  <a:gd name="T30" fmla="*/ 162 w 248"/>
                  <a:gd name="T31" fmla="*/ 60 h 248"/>
                  <a:gd name="T32" fmla="*/ 154 w 248"/>
                  <a:gd name="T33" fmla="*/ 46 h 248"/>
                  <a:gd name="T34" fmla="*/ 136 w 248"/>
                  <a:gd name="T35" fmla="*/ 40 h 248"/>
                  <a:gd name="T36" fmla="*/ 126 w 248"/>
                  <a:gd name="T37" fmla="*/ 42 h 248"/>
                  <a:gd name="T38" fmla="*/ 114 w 248"/>
                  <a:gd name="T39" fmla="*/ 48 h 248"/>
                  <a:gd name="T40" fmla="*/ 106 w 248"/>
                  <a:gd name="T41" fmla="*/ 66 h 248"/>
                  <a:gd name="T42" fmla="*/ 22 w 248"/>
                  <a:gd name="T43" fmla="*/ 76 h 248"/>
                  <a:gd name="T44" fmla="*/ 24 w 248"/>
                  <a:gd name="T45" fmla="*/ 66 h 248"/>
                  <a:gd name="T46" fmla="*/ 28 w 248"/>
                  <a:gd name="T47" fmla="*/ 46 h 248"/>
                  <a:gd name="T48" fmla="*/ 38 w 248"/>
                  <a:gd name="T49" fmla="*/ 30 h 248"/>
                  <a:gd name="T50" fmla="*/ 54 w 248"/>
                  <a:gd name="T51" fmla="*/ 18 h 248"/>
                  <a:gd name="T52" fmla="*/ 62 w 248"/>
                  <a:gd name="T53" fmla="*/ 14 h 248"/>
                  <a:gd name="T54" fmla="*/ 102 w 248"/>
                  <a:gd name="T55" fmla="*/ 2 h 248"/>
                  <a:gd name="T56" fmla="*/ 144 w 248"/>
                  <a:gd name="T57" fmla="*/ 0 h 248"/>
                  <a:gd name="T58" fmla="*/ 164 w 248"/>
                  <a:gd name="T59" fmla="*/ 0 h 248"/>
                  <a:gd name="T60" fmla="*/ 200 w 248"/>
                  <a:gd name="T61" fmla="*/ 10 h 248"/>
                  <a:gd name="T62" fmla="*/ 230 w 248"/>
                  <a:gd name="T63" fmla="*/ 30 h 248"/>
                  <a:gd name="T64" fmla="*/ 240 w 248"/>
                  <a:gd name="T65" fmla="*/ 44 h 248"/>
                  <a:gd name="T66" fmla="*/ 246 w 248"/>
                  <a:gd name="T67" fmla="*/ 62 h 248"/>
                  <a:gd name="T68" fmla="*/ 248 w 248"/>
                  <a:gd name="T69" fmla="*/ 82 h 248"/>
                  <a:gd name="T70" fmla="*/ 242 w 248"/>
                  <a:gd name="T71" fmla="*/ 196 h 248"/>
                  <a:gd name="T72" fmla="*/ 242 w 248"/>
                  <a:gd name="T73" fmla="*/ 246 h 248"/>
                  <a:gd name="T74" fmla="*/ 152 w 248"/>
                  <a:gd name="T75" fmla="*/ 216 h 248"/>
                  <a:gd name="T76" fmla="*/ 114 w 248"/>
                  <a:gd name="T77" fmla="*/ 200 h 248"/>
                  <a:gd name="T78" fmla="*/ 138 w 248"/>
                  <a:gd name="T79" fmla="*/ 194 h 248"/>
                  <a:gd name="T80" fmla="*/ 152 w 248"/>
                  <a:gd name="T81" fmla="*/ 176 h 248"/>
                  <a:gd name="T82" fmla="*/ 158 w 248"/>
                  <a:gd name="T83" fmla="*/ 154 h 248"/>
                  <a:gd name="T84" fmla="*/ 160 w 248"/>
                  <a:gd name="T85" fmla="*/ 130 h 248"/>
                  <a:gd name="T86" fmla="*/ 122 w 248"/>
                  <a:gd name="T87" fmla="*/ 132 h 248"/>
                  <a:gd name="T88" fmla="*/ 110 w 248"/>
                  <a:gd name="T89" fmla="*/ 134 h 248"/>
                  <a:gd name="T90" fmla="*/ 94 w 248"/>
                  <a:gd name="T91" fmla="*/ 148 h 248"/>
                  <a:gd name="T92" fmla="*/ 86 w 248"/>
                  <a:gd name="T93" fmla="*/ 170 h 248"/>
                  <a:gd name="T94" fmla="*/ 86 w 248"/>
                  <a:gd name="T95" fmla="*/ 176 h 248"/>
                  <a:gd name="T96" fmla="*/ 92 w 248"/>
                  <a:gd name="T97" fmla="*/ 192 h 248"/>
                  <a:gd name="T98" fmla="*/ 102 w 248"/>
                  <a:gd name="T99" fmla="*/ 198 h 248"/>
                  <a:gd name="T100" fmla="*/ 114 w 248"/>
                  <a:gd name="T101" fmla="*/ 20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8" h="248">
                    <a:moveTo>
                      <a:pt x="152" y="216"/>
                    </a:moveTo>
                    <a:lnTo>
                      <a:pt x="152" y="216"/>
                    </a:lnTo>
                    <a:lnTo>
                      <a:pt x="152" y="216"/>
                    </a:lnTo>
                    <a:lnTo>
                      <a:pt x="138" y="228"/>
                    </a:lnTo>
                    <a:lnTo>
                      <a:pt x="122" y="238"/>
                    </a:lnTo>
                    <a:lnTo>
                      <a:pt x="112" y="242"/>
                    </a:lnTo>
                    <a:lnTo>
                      <a:pt x="102" y="246"/>
                    </a:lnTo>
                    <a:lnTo>
                      <a:pt x="92" y="246"/>
                    </a:lnTo>
                    <a:lnTo>
                      <a:pt x="80" y="248"/>
                    </a:lnTo>
                    <a:lnTo>
                      <a:pt x="80" y="248"/>
                    </a:lnTo>
                    <a:lnTo>
                      <a:pt x="60" y="246"/>
                    </a:lnTo>
                    <a:lnTo>
                      <a:pt x="44" y="242"/>
                    </a:lnTo>
                    <a:lnTo>
                      <a:pt x="30" y="234"/>
                    </a:lnTo>
                    <a:lnTo>
                      <a:pt x="18" y="226"/>
                    </a:lnTo>
                    <a:lnTo>
                      <a:pt x="10" y="216"/>
                    </a:lnTo>
                    <a:lnTo>
                      <a:pt x="4" y="202"/>
                    </a:lnTo>
                    <a:lnTo>
                      <a:pt x="0" y="188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2" y="156"/>
                    </a:lnTo>
                    <a:lnTo>
                      <a:pt x="8" y="142"/>
                    </a:lnTo>
                    <a:lnTo>
                      <a:pt x="20" y="128"/>
                    </a:lnTo>
                    <a:lnTo>
                      <a:pt x="34" y="116"/>
                    </a:lnTo>
                    <a:lnTo>
                      <a:pt x="54" y="108"/>
                    </a:lnTo>
                    <a:lnTo>
                      <a:pt x="76" y="102"/>
                    </a:lnTo>
                    <a:lnTo>
                      <a:pt x="104" y="98"/>
                    </a:lnTo>
                    <a:lnTo>
                      <a:pt x="134" y="96"/>
                    </a:lnTo>
                    <a:lnTo>
                      <a:pt x="162" y="96"/>
                    </a:lnTo>
                    <a:lnTo>
                      <a:pt x="162" y="96"/>
                    </a:lnTo>
                    <a:lnTo>
                      <a:pt x="164" y="78"/>
                    </a:lnTo>
                    <a:lnTo>
                      <a:pt x="164" y="70"/>
                    </a:lnTo>
                    <a:lnTo>
                      <a:pt x="162" y="60"/>
                    </a:lnTo>
                    <a:lnTo>
                      <a:pt x="160" y="52"/>
                    </a:lnTo>
                    <a:lnTo>
                      <a:pt x="154" y="46"/>
                    </a:lnTo>
                    <a:lnTo>
                      <a:pt x="146" y="42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26" y="42"/>
                    </a:lnTo>
                    <a:lnTo>
                      <a:pt x="120" y="44"/>
                    </a:lnTo>
                    <a:lnTo>
                      <a:pt x="114" y="48"/>
                    </a:lnTo>
                    <a:lnTo>
                      <a:pt x="110" y="54"/>
                    </a:lnTo>
                    <a:lnTo>
                      <a:pt x="106" y="66"/>
                    </a:lnTo>
                    <a:lnTo>
                      <a:pt x="104" y="76"/>
                    </a:lnTo>
                    <a:lnTo>
                      <a:pt x="22" y="76"/>
                    </a:lnTo>
                    <a:lnTo>
                      <a:pt x="22" y="76"/>
                    </a:lnTo>
                    <a:lnTo>
                      <a:pt x="24" y="66"/>
                    </a:lnTo>
                    <a:lnTo>
                      <a:pt x="26" y="54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38" y="30"/>
                    </a:lnTo>
                    <a:lnTo>
                      <a:pt x="46" y="24"/>
                    </a:lnTo>
                    <a:lnTo>
                      <a:pt x="54" y="18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2" y="6"/>
                    </a:lnTo>
                    <a:lnTo>
                      <a:pt x="102" y="2"/>
                    </a:lnTo>
                    <a:lnTo>
                      <a:pt x="124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64" y="0"/>
                    </a:lnTo>
                    <a:lnTo>
                      <a:pt x="182" y="4"/>
                    </a:lnTo>
                    <a:lnTo>
                      <a:pt x="200" y="10"/>
                    </a:lnTo>
                    <a:lnTo>
                      <a:pt x="216" y="18"/>
                    </a:lnTo>
                    <a:lnTo>
                      <a:pt x="230" y="30"/>
                    </a:lnTo>
                    <a:lnTo>
                      <a:pt x="236" y="38"/>
                    </a:lnTo>
                    <a:lnTo>
                      <a:pt x="240" y="44"/>
                    </a:lnTo>
                    <a:lnTo>
                      <a:pt x="244" y="52"/>
                    </a:lnTo>
                    <a:lnTo>
                      <a:pt x="246" y="62"/>
                    </a:lnTo>
                    <a:lnTo>
                      <a:pt x="248" y="72"/>
                    </a:lnTo>
                    <a:lnTo>
                      <a:pt x="248" y="82"/>
                    </a:lnTo>
                    <a:lnTo>
                      <a:pt x="242" y="196"/>
                    </a:lnTo>
                    <a:lnTo>
                      <a:pt x="242" y="196"/>
                    </a:lnTo>
                    <a:lnTo>
                      <a:pt x="240" y="214"/>
                    </a:lnTo>
                    <a:lnTo>
                      <a:pt x="242" y="246"/>
                    </a:lnTo>
                    <a:lnTo>
                      <a:pt x="158" y="246"/>
                    </a:lnTo>
                    <a:lnTo>
                      <a:pt x="152" y="216"/>
                    </a:lnTo>
                    <a:close/>
                    <a:moveTo>
                      <a:pt x="114" y="200"/>
                    </a:moveTo>
                    <a:lnTo>
                      <a:pt x="114" y="200"/>
                    </a:lnTo>
                    <a:lnTo>
                      <a:pt x="128" y="198"/>
                    </a:lnTo>
                    <a:lnTo>
                      <a:pt x="138" y="194"/>
                    </a:lnTo>
                    <a:lnTo>
                      <a:pt x="146" y="186"/>
                    </a:lnTo>
                    <a:lnTo>
                      <a:pt x="152" y="176"/>
                    </a:lnTo>
                    <a:lnTo>
                      <a:pt x="156" y="166"/>
                    </a:lnTo>
                    <a:lnTo>
                      <a:pt x="158" y="154"/>
                    </a:lnTo>
                    <a:lnTo>
                      <a:pt x="160" y="130"/>
                    </a:lnTo>
                    <a:lnTo>
                      <a:pt x="160" y="130"/>
                    </a:lnTo>
                    <a:lnTo>
                      <a:pt x="134" y="130"/>
                    </a:lnTo>
                    <a:lnTo>
                      <a:pt x="122" y="132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2" y="140"/>
                    </a:lnTo>
                    <a:lnTo>
                      <a:pt x="94" y="148"/>
                    </a:lnTo>
                    <a:lnTo>
                      <a:pt x="88" y="158"/>
                    </a:lnTo>
                    <a:lnTo>
                      <a:pt x="86" y="170"/>
                    </a:lnTo>
                    <a:lnTo>
                      <a:pt x="86" y="170"/>
                    </a:lnTo>
                    <a:lnTo>
                      <a:pt x="86" y="176"/>
                    </a:lnTo>
                    <a:lnTo>
                      <a:pt x="88" y="182"/>
                    </a:lnTo>
                    <a:lnTo>
                      <a:pt x="92" y="192"/>
                    </a:lnTo>
                    <a:lnTo>
                      <a:pt x="96" y="194"/>
                    </a:lnTo>
                    <a:lnTo>
                      <a:pt x="102" y="198"/>
                    </a:lnTo>
                    <a:lnTo>
                      <a:pt x="108" y="200"/>
                    </a:lnTo>
                    <a:lnTo>
                      <a:pt x="114" y="200"/>
                    </a:lnTo>
                    <a:lnTo>
                      <a:pt x="114" y="2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</a:endParaRPr>
              </a:p>
            </p:txBody>
          </p:sp>
          <p:sp>
            <p:nvSpPr>
              <p:cNvPr id="66" name="Freeform 11">
                <a:extLst>
                  <a:ext uri="{FF2B5EF4-FFF2-40B4-BE49-F238E27FC236}">
                    <a16:creationId xmlns:a16="http://schemas.microsoft.com/office/drawing/2014/main" id="{BD3DE7AB-C03D-4596-97D3-A389196DB6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92825" y="352425"/>
                <a:ext cx="454025" cy="542925"/>
              </a:xfrm>
              <a:custGeom>
                <a:avLst/>
                <a:gdLst>
                  <a:gd name="T0" fmla="*/ 0 w 286"/>
                  <a:gd name="T1" fmla="*/ 342 h 342"/>
                  <a:gd name="T2" fmla="*/ 24 w 286"/>
                  <a:gd name="T3" fmla="*/ 0 h 342"/>
                  <a:gd name="T4" fmla="*/ 114 w 286"/>
                  <a:gd name="T5" fmla="*/ 0 h 342"/>
                  <a:gd name="T6" fmla="*/ 90 w 286"/>
                  <a:gd name="T7" fmla="*/ 342 h 342"/>
                  <a:gd name="T8" fmla="*/ 0 w 286"/>
                  <a:gd name="T9" fmla="*/ 342 h 342"/>
                  <a:gd name="T10" fmla="*/ 100 w 286"/>
                  <a:gd name="T11" fmla="*/ 210 h 342"/>
                  <a:gd name="T12" fmla="*/ 184 w 286"/>
                  <a:gd name="T13" fmla="*/ 104 h 342"/>
                  <a:gd name="T14" fmla="*/ 286 w 286"/>
                  <a:gd name="T15" fmla="*/ 104 h 342"/>
                  <a:gd name="T16" fmla="*/ 194 w 286"/>
                  <a:gd name="T17" fmla="*/ 204 h 342"/>
                  <a:gd name="T18" fmla="*/ 282 w 286"/>
                  <a:gd name="T19" fmla="*/ 342 h 342"/>
                  <a:gd name="T20" fmla="*/ 170 w 286"/>
                  <a:gd name="T21" fmla="*/ 342 h 342"/>
                  <a:gd name="T22" fmla="*/ 100 w 286"/>
                  <a:gd name="T23" fmla="*/ 21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6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4" y="0"/>
                    </a:lnTo>
                    <a:lnTo>
                      <a:pt x="90" y="342"/>
                    </a:lnTo>
                    <a:lnTo>
                      <a:pt x="0" y="342"/>
                    </a:lnTo>
                    <a:close/>
                    <a:moveTo>
                      <a:pt x="100" y="210"/>
                    </a:moveTo>
                    <a:lnTo>
                      <a:pt x="184" y="104"/>
                    </a:lnTo>
                    <a:lnTo>
                      <a:pt x="286" y="104"/>
                    </a:lnTo>
                    <a:lnTo>
                      <a:pt x="194" y="204"/>
                    </a:lnTo>
                    <a:lnTo>
                      <a:pt x="282" y="342"/>
                    </a:lnTo>
                    <a:lnTo>
                      <a:pt x="170" y="342"/>
                    </a:lnTo>
                    <a:lnTo>
                      <a:pt x="10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</a:endParaRPr>
              </a:p>
            </p:txBody>
          </p:sp>
          <p:sp>
            <p:nvSpPr>
              <p:cNvPr id="67" name="Freeform 12">
                <a:extLst>
                  <a:ext uri="{FF2B5EF4-FFF2-40B4-BE49-F238E27FC236}">
                    <a16:creationId xmlns:a16="http://schemas.microsoft.com/office/drawing/2014/main" id="{6C1FCCF1-81E2-4A73-A499-CF2099D4A2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6800" y="517525"/>
                <a:ext cx="292100" cy="377825"/>
              </a:xfrm>
              <a:custGeom>
                <a:avLst/>
                <a:gdLst>
                  <a:gd name="T0" fmla="*/ 104 w 184"/>
                  <a:gd name="T1" fmla="*/ 34 h 238"/>
                  <a:gd name="T2" fmla="*/ 106 w 184"/>
                  <a:gd name="T3" fmla="*/ 34 h 238"/>
                  <a:gd name="T4" fmla="*/ 106 w 184"/>
                  <a:gd name="T5" fmla="*/ 34 h 238"/>
                  <a:gd name="T6" fmla="*/ 114 w 184"/>
                  <a:gd name="T7" fmla="*/ 24 h 238"/>
                  <a:gd name="T8" fmla="*/ 124 w 184"/>
                  <a:gd name="T9" fmla="*/ 16 h 238"/>
                  <a:gd name="T10" fmla="*/ 132 w 184"/>
                  <a:gd name="T11" fmla="*/ 10 h 238"/>
                  <a:gd name="T12" fmla="*/ 142 w 184"/>
                  <a:gd name="T13" fmla="*/ 6 h 238"/>
                  <a:gd name="T14" fmla="*/ 152 w 184"/>
                  <a:gd name="T15" fmla="*/ 4 h 238"/>
                  <a:gd name="T16" fmla="*/ 162 w 184"/>
                  <a:gd name="T17" fmla="*/ 2 h 238"/>
                  <a:gd name="T18" fmla="*/ 184 w 184"/>
                  <a:gd name="T19" fmla="*/ 0 h 238"/>
                  <a:gd name="T20" fmla="*/ 178 w 184"/>
                  <a:gd name="T21" fmla="*/ 76 h 238"/>
                  <a:gd name="T22" fmla="*/ 178 w 184"/>
                  <a:gd name="T23" fmla="*/ 76 h 238"/>
                  <a:gd name="T24" fmla="*/ 160 w 184"/>
                  <a:gd name="T25" fmla="*/ 76 h 238"/>
                  <a:gd name="T26" fmla="*/ 160 w 184"/>
                  <a:gd name="T27" fmla="*/ 76 h 238"/>
                  <a:gd name="T28" fmla="*/ 140 w 184"/>
                  <a:gd name="T29" fmla="*/ 78 h 238"/>
                  <a:gd name="T30" fmla="*/ 126 w 184"/>
                  <a:gd name="T31" fmla="*/ 82 h 238"/>
                  <a:gd name="T32" fmla="*/ 116 w 184"/>
                  <a:gd name="T33" fmla="*/ 88 h 238"/>
                  <a:gd name="T34" fmla="*/ 108 w 184"/>
                  <a:gd name="T35" fmla="*/ 98 h 238"/>
                  <a:gd name="T36" fmla="*/ 102 w 184"/>
                  <a:gd name="T37" fmla="*/ 108 h 238"/>
                  <a:gd name="T38" fmla="*/ 100 w 184"/>
                  <a:gd name="T39" fmla="*/ 120 h 238"/>
                  <a:gd name="T40" fmla="*/ 98 w 184"/>
                  <a:gd name="T41" fmla="*/ 148 h 238"/>
                  <a:gd name="T42" fmla="*/ 92 w 184"/>
                  <a:gd name="T43" fmla="*/ 238 h 238"/>
                  <a:gd name="T44" fmla="*/ 0 w 184"/>
                  <a:gd name="T45" fmla="*/ 238 h 238"/>
                  <a:gd name="T46" fmla="*/ 12 w 184"/>
                  <a:gd name="T47" fmla="*/ 62 h 238"/>
                  <a:gd name="T48" fmla="*/ 12 w 184"/>
                  <a:gd name="T49" fmla="*/ 62 h 238"/>
                  <a:gd name="T50" fmla="*/ 14 w 184"/>
                  <a:gd name="T51" fmla="*/ 32 h 238"/>
                  <a:gd name="T52" fmla="*/ 14 w 184"/>
                  <a:gd name="T53" fmla="*/ 0 h 238"/>
                  <a:gd name="T54" fmla="*/ 102 w 184"/>
                  <a:gd name="T55" fmla="*/ 0 h 238"/>
                  <a:gd name="T56" fmla="*/ 104 w 184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4" h="238">
                    <a:moveTo>
                      <a:pt x="104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4" y="24"/>
                    </a:lnTo>
                    <a:lnTo>
                      <a:pt x="124" y="16"/>
                    </a:lnTo>
                    <a:lnTo>
                      <a:pt x="132" y="10"/>
                    </a:lnTo>
                    <a:lnTo>
                      <a:pt x="142" y="6"/>
                    </a:lnTo>
                    <a:lnTo>
                      <a:pt x="152" y="4"/>
                    </a:lnTo>
                    <a:lnTo>
                      <a:pt x="162" y="2"/>
                    </a:lnTo>
                    <a:lnTo>
                      <a:pt x="184" y="0"/>
                    </a:lnTo>
                    <a:lnTo>
                      <a:pt x="178" y="76"/>
                    </a:lnTo>
                    <a:lnTo>
                      <a:pt x="178" y="76"/>
                    </a:lnTo>
                    <a:lnTo>
                      <a:pt x="160" y="76"/>
                    </a:lnTo>
                    <a:lnTo>
                      <a:pt x="160" y="76"/>
                    </a:lnTo>
                    <a:lnTo>
                      <a:pt x="140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2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4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</a:endParaRPr>
              </a:p>
            </p:txBody>
          </p:sp>
          <p:sp>
            <p:nvSpPr>
              <p:cNvPr id="68" name="Freeform 13">
                <a:extLst>
                  <a:ext uri="{FF2B5EF4-FFF2-40B4-BE49-F238E27FC236}">
                    <a16:creationId xmlns:a16="http://schemas.microsoft.com/office/drawing/2014/main" id="{3C13FFC4-AECD-48FE-94DA-AF60CCABF5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9375" y="352425"/>
                <a:ext cx="174625" cy="542925"/>
              </a:xfrm>
              <a:custGeom>
                <a:avLst/>
                <a:gdLst>
                  <a:gd name="T0" fmla="*/ 0 w 110"/>
                  <a:gd name="T1" fmla="*/ 342 h 342"/>
                  <a:gd name="T2" fmla="*/ 24 w 110"/>
                  <a:gd name="T3" fmla="*/ 0 h 342"/>
                  <a:gd name="T4" fmla="*/ 110 w 110"/>
                  <a:gd name="T5" fmla="*/ 0 h 342"/>
                  <a:gd name="T6" fmla="*/ 86 w 110"/>
                  <a:gd name="T7" fmla="*/ 342 h 342"/>
                  <a:gd name="T8" fmla="*/ 0 w 110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0" y="0"/>
                    </a:lnTo>
                    <a:lnTo>
                      <a:pt x="86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</a:endParaRPr>
              </a:p>
            </p:txBody>
          </p:sp>
          <p:sp>
            <p:nvSpPr>
              <p:cNvPr id="69" name="Freeform 14">
                <a:extLst>
                  <a:ext uri="{FF2B5EF4-FFF2-40B4-BE49-F238E27FC236}">
                    <a16:creationId xmlns:a16="http://schemas.microsoft.com/office/drawing/2014/main" id="{CCF1AADF-1A08-44FD-A2E1-6CF90999A8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40025" y="352425"/>
                <a:ext cx="438150" cy="546100"/>
              </a:xfrm>
              <a:custGeom>
                <a:avLst/>
                <a:gdLst>
                  <a:gd name="T0" fmla="*/ 112 w 276"/>
                  <a:gd name="T1" fmla="*/ 0 h 344"/>
                  <a:gd name="T2" fmla="*/ 104 w 276"/>
                  <a:gd name="T3" fmla="*/ 136 h 344"/>
                  <a:gd name="T4" fmla="*/ 120 w 276"/>
                  <a:gd name="T5" fmla="*/ 122 h 344"/>
                  <a:gd name="T6" fmla="*/ 146 w 276"/>
                  <a:gd name="T7" fmla="*/ 104 h 344"/>
                  <a:gd name="T8" fmla="*/ 168 w 276"/>
                  <a:gd name="T9" fmla="*/ 98 h 344"/>
                  <a:gd name="T10" fmla="*/ 180 w 276"/>
                  <a:gd name="T11" fmla="*/ 98 h 344"/>
                  <a:gd name="T12" fmla="*/ 206 w 276"/>
                  <a:gd name="T13" fmla="*/ 100 h 344"/>
                  <a:gd name="T14" fmla="*/ 226 w 276"/>
                  <a:gd name="T15" fmla="*/ 108 h 344"/>
                  <a:gd name="T16" fmla="*/ 244 w 276"/>
                  <a:gd name="T17" fmla="*/ 120 h 344"/>
                  <a:gd name="T18" fmla="*/ 258 w 276"/>
                  <a:gd name="T19" fmla="*/ 136 h 344"/>
                  <a:gd name="T20" fmla="*/ 274 w 276"/>
                  <a:gd name="T21" fmla="*/ 176 h 344"/>
                  <a:gd name="T22" fmla="*/ 276 w 276"/>
                  <a:gd name="T23" fmla="*/ 220 h 344"/>
                  <a:gd name="T24" fmla="*/ 274 w 276"/>
                  <a:gd name="T25" fmla="*/ 242 h 344"/>
                  <a:gd name="T26" fmla="*/ 260 w 276"/>
                  <a:gd name="T27" fmla="*/ 284 h 344"/>
                  <a:gd name="T28" fmla="*/ 240 w 276"/>
                  <a:gd name="T29" fmla="*/ 312 h 344"/>
                  <a:gd name="T30" fmla="*/ 222 w 276"/>
                  <a:gd name="T31" fmla="*/ 328 h 344"/>
                  <a:gd name="T32" fmla="*/ 202 w 276"/>
                  <a:gd name="T33" fmla="*/ 338 h 344"/>
                  <a:gd name="T34" fmla="*/ 176 w 276"/>
                  <a:gd name="T35" fmla="*/ 344 h 344"/>
                  <a:gd name="T36" fmla="*/ 160 w 276"/>
                  <a:gd name="T37" fmla="*/ 344 h 344"/>
                  <a:gd name="T38" fmla="*/ 140 w 276"/>
                  <a:gd name="T39" fmla="*/ 342 h 344"/>
                  <a:gd name="T40" fmla="*/ 106 w 276"/>
                  <a:gd name="T41" fmla="*/ 324 h 344"/>
                  <a:gd name="T42" fmla="*/ 92 w 276"/>
                  <a:gd name="T43" fmla="*/ 312 h 344"/>
                  <a:gd name="T44" fmla="*/ 0 w 276"/>
                  <a:gd name="T45" fmla="*/ 342 h 344"/>
                  <a:gd name="T46" fmla="*/ 94 w 276"/>
                  <a:gd name="T47" fmla="*/ 226 h 344"/>
                  <a:gd name="T48" fmla="*/ 96 w 276"/>
                  <a:gd name="T49" fmla="*/ 250 h 344"/>
                  <a:gd name="T50" fmla="*/ 102 w 276"/>
                  <a:gd name="T51" fmla="*/ 272 h 344"/>
                  <a:gd name="T52" fmla="*/ 114 w 276"/>
                  <a:gd name="T53" fmla="*/ 288 h 344"/>
                  <a:gd name="T54" fmla="*/ 134 w 276"/>
                  <a:gd name="T55" fmla="*/ 296 h 344"/>
                  <a:gd name="T56" fmla="*/ 148 w 276"/>
                  <a:gd name="T57" fmla="*/ 294 h 344"/>
                  <a:gd name="T58" fmla="*/ 168 w 276"/>
                  <a:gd name="T59" fmla="*/ 282 h 344"/>
                  <a:gd name="T60" fmla="*/ 180 w 276"/>
                  <a:gd name="T61" fmla="*/ 260 h 344"/>
                  <a:gd name="T62" fmla="*/ 186 w 276"/>
                  <a:gd name="T63" fmla="*/ 222 h 344"/>
                  <a:gd name="T64" fmla="*/ 186 w 276"/>
                  <a:gd name="T65" fmla="*/ 198 h 344"/>
                  <a:gd name="T66" fmla="*/ 180 w 276"/>
                  <a:gd name="T67" fmla="*/ 174 h 344"/>
                  <a:gd name="T68" fmla="*/ 168 w 276"/>
                  <a:gd name="T69" fmla="*/ 156 h 344"/>
                  <a:gd name="T70" fmla="*/ 146 w 276"/>
                  <a:gd name="T71" fmla="*/ 150 h 344"/>
                  <a:gd name="T72" fmla="*/ 132 w 276"/>
                  <a:gd name="T73" fmla="*/ 152 h 344"/>
                  <a:gd name="T74" fmla="*/ 112 w 276"/>
                  <a:gd name="T75" fmla="*/ 166 h 344"/>
                  <a:gd name="T76" fmla="*/ 100 w 276"/>
                  <a:gd name="T77" fmla="*/ 188 h 344"/>
                  <a:gd name="T78" fmla="*/ 94 w 276"/>
                  <a:gd name="T79" fmla="*/ 226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6" h="344">
                    <a:moveTo>
                      <a:pt x="24" y="0"/>
                    </a:moveTo>
                    <a:lnTo>
                      <a:pt x="112" y="0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20" y="122"/>
                    </a:lnTo>
                    <a:lnTo>
                      <a:pt x="138" y="108"/>
                    </a:lnTo>
                    <a:lnTo>
                      <a:pt x="146" y="104"/>
                    </a:lnTo>
                    <a:lnTo>
                      <a:pt x="158" y="100"/>
                    </a:lnTo>
                    <a:lnTo>
                      <a:pt x="168" y="98"/>
                    </a:lnTo>
                    <a:lnTo>
                      <a:pt x="180" y="98"/>
                    </a:lnTo>
                    <a:lnTo>
                      <a:pt x="180" y="98"/>
                    </a:lnTo>
                    <a:lnTo>
                      <a:pt x="194" y="98"/>
                    </a:lnTo>
                    <a:lnTo>
                      <a:pt x="206" y="100"/>
                    </a:lnTo>
                    <a:lnTo>
                      <a:pt x="216" y="104"/>
                    </a:lnTo>
                    <a:lnTo>
                      <a:pt x="226" y="108"/>
                    </a:lnTo>
                    <a:lnTo>
                      <a:pt x="236" y="114"/>
                    </a:lnTo>
                    <a:lnTo>
                      <a:pt x="244" y="120"/>
                    </a:lnTo>
                    <a:lnTo>
                      <a:pt x="250" y="128"/>
                    </a:lnTo>
                    <a:lnTo>
                      <a:pt x="258" y="136"/>
                    </a:lnTo>
                    <a:lnTo>
                      <a:pt x="266" y="156"/>
                    </a:lnTo>
                    <a:lnTo>
                      <a:pt x="274" y="176"/>
                    </a:lnTo>
                    <a:lnTo>
                      <a:pt x="276" y="198"/>
                    </a:lnTo>
                    <a:lnTo>
                      <a:pt x="276" y="220"/>
                    </a:lnTo>
                    <a:lnTo>
                      <a:pt x="276" y="220"/>
                    </a:lnTo>
                    <a:lnTo>
                      <a:pt x="274" y="242"/>
                    </a:lnTo>
                    <a:lnTo>
                      <a:pt x="268" y="264"/>
                    </a:lnTo>
                    <a:lnTo>
                      <a:pt x="260" y="284"/>
                    </a:lnTo>
                    <a:lnTo>
                      <a:pt x="248" y="304"/>
                    </a:lnTo>
                    <a:lnTo>
                      <a:pt x="240" y="312"/>
                    </a:lnTo>
                    <a:lnTo>
                      <a:pt x="232" y="320"/>
                    </a:lnTo>
                    <a:lnTo>
                      <a:pt x="222" y="328"/>
                    </a:lnTo>
                    <a:lnTo>
                      <a:pt x="212" y="334"/>
                    </a:lnTo>
                    <a:lnTo>
                      <a:pt x="202" y="338"/>
                    </a:lnTo>
                    <a:lnTo>
                      <a:pt x="188" y="342"/>
                    </a:lnTo>
                    <a:lnTo>
                      <a:pt x="176" y="344"/>
                    </a:lnTo>
                    <a:lnTo>
                      <a:pt x="160" y="344"/>
                    </a:lnTo>
                    <a:lnTo>
                      <a:pt x="160" y="344"/>
                    </a:lnTo>
                    <a:lnTo>
                      <a:pt x="150" y="344"/>
                    </a:lnTo>
                    <a:lnTo>
                      <a:pt x="140" y="342"/>
                    </a:lnTo>
                    <a:lnTo>
                      <a:pt x="122" y="336"/>
                    </a:lnTo>
                    <a:lnTo>
                      <a:pt x="106" y="324"/>
                    </a:lnTo>
                    <a:lnTo>
                      <a:pt x="94" y="312"/>
                    </a:lnTo>
                    <a:lnTo>
                      <a:pt x="92" y="312"/>
                    </a:lnTo>
                    <a:lnTo>
                      <a:pt x="88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  <a:moveTo>
                      <a:pt x="94" y="226"/>
                    </a:moveTo>
                    <a:lnTo>
                      <a:pt x="94" y="226"/>
                    </a:lnTo>
                    <a:lnTo>
                      <a:pt x="96" y="250"/>
                    </a:lnTo>
                    <a:lnTo>
                      <a:pt x="98" y="260"/>
                    </a:lnTo>
                    <a:lnTo>
                      <a:pt x="102" y="272"/>
                    </a:lnTo>
                    <a:lnTo>
                      <a:pt x="106" y="282"/>
                    </a:lnTo>
                    <a:lnTo>
                      <a:pt x="114" y="288"/>
                    </a:lnTo>
                    <a:lnTo>
                      <a:pt x="122" y="294"/>
                    </a:lnTo>
                    <a:lnTo>
                      <a:pt x="134" y="296"/>
                    </a:lnTo>
                    <a:lnTo>
                      <a:pt x="134" y="296"/>
                    </a:lnTo>
                    <a:lnTo>
                      <a:pt x="148" y="294"/>
                    </a:lnTo>
                    <a:lnTo>
                      <a:pt x="158" y="288"/>
                    </a:lnTo>
                    <a:lnTo>
                      <a:pt x="168" y="282"/>
                    </a:lnTo>
                    <a:lnTo>
                      <a:pt x="174" y="272"/>
                    </a:lnTo>
                    <a:lnTo>
                      <a:pt x="180" y="260"/>
                    </a:lnTo>
                    <a:lnTo>
                      <a:pt x="184" y="248"/>
                    </a:lnTo>
                    <a:lnTo>
                      <a:pt x="186" y="222"/>
                    </a:lnTo>
                    <a:lnTo>
                      <a:pt x="186" y="222"/>
                    </a:lnTo>
                    <a:lnTo>
                      <a:pt x="186" y="198"/>
                    </a:lnTo>
                    <a:lnTo>
                      <a:pt x="184" y="186"/>
                    </a:lnTo>
                    <a:lnTo>
                      <a:pt x="180" y="174"/>
                    </a:lnTo>
                    <a:lnTo>
                      <a:pt x="176" y="164"/>
                    </a:lnTo>
                    <a:lnTo>
                      <a:pt x="168" y="156"/>
                    </a:lnTo>
                    <a:lnTo>
                      <a:pt x="158" y="152"/>
                    </a:lnTo>
                    <a:lnTo>
                      <a:pt x="146" y="150"/>
                    </a:lnTo>
                    <a:lnTo>
                      <a:pt x="146" y="150"/>
                    </a:lnTo>
                    <a:lnTo>
                      <a:pt x="132" y="152"/>
                    </a:lnTo>
                    <a:lnTo>
                      <a:pt x="120" y="156"/>
                    </a:lnTo>
                    <a:lnTo>
                      <a:pt x="112" y="166"/>
                    </a:lnTo>
                    <a:lnTo>
                      <a:pt x="104" y="176"/>
                    </a:lnTo>
                    <a:lnTo>
                      <a:pt x="100" y="188"/>
                    </a:lnTo>
                    <a:lnTo>
                      <a:pt x="98" y="200"/>
                    </a:lnTo>
                    <a:lnTo>
                      <a:pt x="94" y="226"/>
                    </a:lnTo>
                    <a:lnTo>
                      <a:pt x="94" y="2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</a:endParaRPr>
              </a:p>
            </p:txBody>
          </p:sp>
          <p:sp>
            <p:nvSpPr>
              <p:cNvPr id="70" name="Freeform 15">
                <a:extLst>
                  <a:ext uri="{FF2B5EF4-FFF2-40B4-BE49-F238E27FC236}">
                    <a16:creationId xmlns:a16="http://schemas.microsoft.com/office/drawing/2014/main" id="{EB8CF2E2-2C22-4C27-84DE-9A5928FD95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97225" y="504825"/>
                <a:ext cx="406400" cy="396875"/>
              </a:xfrm>
              <a:custGeom>
                <a:avLst/>
                <a:gdLst>
                  <a:gd name="T0" fmla="*/ 86 w 256"/>
                  <a:gd name="T1" fmla="*/ 142 h 250"/>
                  <a:gd name="T2" fmla="*/ 86 w 256"/>
                  <a:gd name="T3" fmla="*/ 166 h 250"/>
                  <a:gd name="T4" fmla="*/ 90 w 256"/>
                  <a:gd name="T5" fmla="*/ 184 h 250"/>
                  <a:gd name="T6" fmla="*/ 102 w 256"/>
                  <a:gd name="T7" fmla="*/ 196 h 250"/>
                  <a:gd name="T8" fmla="*/ 124 w 256"/>
                  <a:gd name="T9" fmla="*/ 202 h 250"/>
                  <a:gd name="T10" fmla="*/ 132 w 256"/>
                  <a:gd name="T11" fmla="*/ 200 h 250"/>
                  <a:gd name="T12" fmla="*/ 148 w 256"/>
                  <a:gd name="T13" fmla="*/ 196 h 250"/>
                  <a:gd name="T14" fmla="*/ 158 w 256"/>
                  <a:gd name="T15" fmla="*/ 186 h 250"/>
                  <a:gd name="T16" fmla="*/ 164 w 256"/>
                  <a:gd name="T17" fmla="*/ 174 h 250"/>
                  <a:gd name="T18" fmla="*/ 248 w 256"/>
                  <a:gd name="T19" fmla="*/ 170 h 250"/>
                  <a:gd name="T20" fmla="*/ 246 w 256"/>
                  <a:gd name="T21" fmla="*/ 180 h 250"/>
                  <a:gd name="T22" fmla="*/ 238 w 256"/>
                  <a:gd name="T23" fmla="*/ 198 h 250"/>
                  <a:gd name="T24" fmla="*/ 218 w 256"/>
                  <a:gd name="T25" fmla="*/ 222 h 250"/>
                  <a:gd name="T26" fmla="*/ 202 w 256"/>
                  <a:gd name="T27" fmla="*/ 234 h 250"/>
                  <a:gd name="T28" fmla="*/ 168 w 256"/>
                  <a:gd name="T29" fmla="*/ 246 h 250"/>
                  <a:gd name="T30" fmla="*/ 128 w 256"/>
                  <a:gd name="T31" fmla="*/ 250 h 250"/>
                  <a:gd name="T32" fmla="*/ 96 w 256"/>
                  <a:gd name="T33" fmla="*/ 248 h 250"/>
                  <a:gd name="T34" fmla="*/ 66 w 256"/>
                  <a:gd name="T35" fmla="*/ 242 h 250"/>
                  <a:gd name="T36" fmla="*/ 44 w 256"/>
                  <a:gd name="T37" fmla="*/ 232 h 250"/>
                  <a:gd name="T38" fmla="*/ 26 w 256"/>
                  <a:gd name="T39" fmla="*/ 218 h 250"/>
                  <a:gd name="T40" fmla="*/ 12 w 256"/>
                  <a:gd name="T41" fmla="*/ 200 h 250"/>
                  <a:gd name="T42" fmla="*/ 4 w 256"/>
                  <a:gd name="T43" fmla="*/ 178 h 250"/>
                  <a:gd name="T44" fmla="*/ 0 w 256"/>
                  <a:gd name="T45" fmla="*/ 150 h 250"/>
                  <a:gd name="T46" fmla="*/ 0 w 256"/>
                  <a:gd name="T47" fmla="*/ 118 h 250"/>
                  <a:gd name="T48" fmla="*/ 4 w 256"/>
                  <a:gd name="T49" fmla="*/ 92 h 250"/>
                  <a:gd name="T50" fmla="*/ 14 w 256"/>
                  <a:gd name="T51" fmla="*/ 68 h 250"/>
                  <a:gd name="T52" fmla="*/ 26 w 256"/>
                  <a:gd name="T53" fmla="*/ 48 h 250"/>
                  <a:gd name="T54" fmla="*/ 44 w 256"/>
                  <a:gd name="T55" fmla="*/ 32 h 250"/>
                  <a:gd name="T56" fmla="*/ 86 w 256"/>
                  <a:gd name="T57" fmla="*/ 8 h 250"/>
                  <a:gd name="T58" fmla="*/ 138 w 256"/>
                  <a:gd name="T59" fmla="*/ 0 h 250"/>
                  <a:gd name="T60" fmla="*/ 154 w 256"/>
                  <a:gd name="T61" fmla="*/ 2 h 250"/>
                  <a:gd name="T62" fmla="*/ 184 w 256"/>
                  <a:gd name="T63" fmla="*/ 6 h 250"/>
                  <a:gd name="T64" fmla="*/ 208 w 256"/>
                  <a:gd name="T65" fmla="*/ 18 h 250"/>
                  <a:gd name="T66" fmla="*/ 228 w 256"/>
                  <a:gd name="T67" fmla="*/ 32 h 250"/>
                  <a:gd name="T68" fmla="*/ 242 w 256"/>
                  <a:gd name="T69" fmla="*/ 50 h 250"/>
                  <a:gd name="T70" fmla="*/ 250 w 256"/>
                  <a:gd name="T71" fmla="*/ 72 h 250"/>
                  <a:gd name="T72" fmla="*/ 256 w 256"/>
                  <a:gd name="T73" fmla="*/ 112 h 250"/>
                  <a:gd name="T74" fmla="*/ 86 w 256"/>
                  <a:gd name="T75" fmla="*/ 142 h 250"/>
                  <a:gd name="T76" fmla="*/ 172 w 256"/>
                  <a:gd name="T77" fmla="*/ 98 h 250"/>
                  <a:gd name="T78" fmla="*/ 170 w 256"/>
                  <a:gd name="T79" fmla="*/ 78 h 250"/>
                  <a:gd name="T80" fmla="*/ 164 w 256"/>
                  <a:gd name="T81" fmla="*/ 62 h 250"/>
                  <a:gd name="T82" fmla="*/ 158 w 256"/>
                  <a:gd name="T83" fmla="*/ 56 h 250"/>
                  <a:gd name="T84" fmla="*/ 142 w 256"/>
                  <a:gd name="T85" fmla="*/ 48 h 250"/>
                  <a:gd name="T86" fmla="*/ 134 w 256"/>
                  <a:gd name="T87" fmla="*/ 46 h 250"/>
                  <a:gd name="T88" fmla="*/ 114 w 256"/>
                  <a:gd name="T89" fmla="*/ 52 h 250"/>
                  <a:gd name="T90" fmla="*/ 102 w 256"/>
                  <a:gd name="T91" fmla="*/ 62 h 250"/>
                  <a:gd name="T92" fmla="*/ 94 w 256"/>
                  <a:gd name="T93" fmla="*/ 78 h 250"/>
                  <a:gd name="T94" fmla="*/ 172 w 256"/>
                  <a:gd name="T95" fmla="*/ 98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6" h="250">
                    <a:moveTo>
                      <a:pt x="86" y="142"/>
                    </a:moveTo>
                    <a:lnTo>
                      <a:pt x="86" y="142"/>
                    </a:lnTo>
                    <a:lnTo>
                      <a:pt x="84" y="154"/>
                    </a:lnTo>
                    <a:lnTo>
                      <a:pt x="86" y="166"/>
                    </a:lnTo>
                    <a:lnTo>
                      <a:pt x="88" y="176"/>
                    </a:lnTo>
                    <a:lnTo>
                      <a:pt x="90" y="184"/>
                    </a:lnTo>
                    <a:lnTo>
                      <a:pt x="96" y="192"/>
                    </a:lnTo>
                    <a:lnTo>
                      <a:pt x="102" y="196"/>
                    </a:lnTo>
                    <a:lnTo>
                      <a:pt x="112" y="200"/>
                    </a:lnTo>
                    <a:lnTo>
                      <a:pt x="124" y="202"/>
                    </a:lnTo>
                    <a:lnTo>
                      <a:pt x="124" y="202"/>
                    </a:lnTo>
                    <a:lnTo>
                      <a:pt x="132" y="200"/>
                    </a:lnTo>
                    <a:lnTo>
                      <a:pt x="140" y="198"/>
                    </a:lnTo>
                    <a:lnTo>
                      <a:pt x="148" y="196"/>
                    </a:lnTo>
                    <a:lnTo>
                      <a:pt x="154" y="192"/>
                    </a:lnTo>
                    <a:lnTo>
                      <a:pt x="158" y="186"/>
                    </a:lnTo>
                    <a:lnTo>
                      <a:pt x="162" y="180"/>
                    </a:lnTo>
                    <a:lnTo>
                      <a:pt x="164" y="174"/>
                    </a:lnTo>
                    <a:lnTo>
                      <a:pt x="164" y="170"/>
                    </a:lnTo>
                    <a:lnTo>
                      <a:pt x="248" y="170"/>
                    </a:lnTo>
                    <a:lnTo>
                      <a:pt x="248" y="170"/>
                    </a:lnTo>
                    <a:lnTo>
                      <a:pt x="246" y="180"/>
                    </a:lnTo>
                    <a:lnTo>
                      <a:pt x="242" y="190"/>
                    </a:lnTo>
                    <a:lnTo>
                      <a:pt x="238" y="198"/>
                    </a:lnTo>
                    <a:lnTo>
                      <a:pt x="232" y="208"/>
                    </a:lnTo>
                    <a:lnTo>
                      <a:pt x="218" y="222"/>
                    </a:lnTo>
                    <a:lnTo>
                      <a:pt x="202" y="234"/>
                    </a:lnTo>
                    <a:lnTo>
                      <a:pt x="202" y="234"/>
                    </a:lnTo>
                    <a:lnTo>
                      <a:pt x="186" y="242"/>
                    </a:lnTo>
                    <a:lnTo>
                      <a:pt x="168" y="246"/>
                    </a:lnTo>
                    <a:lnTo>
                      <a:pt x="148" y="248"/>
                    </a:lnTo>
                    <a:lnTo>
                      <a:pt x="128" y="250"/>
                    </a:lnTo>
                    <a:lnTo>
                      <a:pt x="128" y="250"/>
                    </a:lnTo>
                    <a:lnTo>
                      <a:pt x="96" y="248"/>
                    </a:lnTo>
                    <a:lnTo>
                      <a:pt x="80" y="244"/>
                    </a:lnTo>
                    <a:lnTo>
                      <a:pt x="66" y="242"/>
                    </a:lnTo>
                    <a:lnTo>
                      <a:pt x="54" y="238"/>
                    </a:lnTo>
                    <a:lnTo>
                      <a:pt x="44" y="232"/>
                    </a:lnTo>
                    <a:lnTo>
                      <a:pt x="34" y="226"/>
                    </a:lnTo>
                    <a:lnTo>
                      <a:pt x="26" y="218"/>
                    </a:lnTo>
                    <a:lnTo>
                      <a:pt x="18" y="210"/>
                    </a:lnTo>
                    <a:lnTo>
                      <a:pt x="12" y="200"/>
                    </a:lnTo>
                    <a:lnTo>
                      <a:pt x="8" y="190"/>
                    </a:lnTo>
                    <a:lnTo>
                      <a:pt x="4" y="178"/>
                    </a:lnTo>
                    <a:lnTo>
                      <a:pt x="2" y="164"/>
                    </a:lnTo>
                    <a:lnTo>
                      <a:pt x="0" y="150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2" y="106"/>
                    </a:lnTo>
                    <a:lnTo>
                      <a:pt x="4" y="92"/>
                    </a:lnTo>
                    <a:lnTo>
                      <a:pt x="8" y="80"/>
                    </a:lnTo>
                    <a:lnTo>
                      <a:pt x="14" y="68"/>
                    </a:lnTo>
                    <a:lnTo>
                      <a:pt x="20" y="58"/>
                    </a:lnTo>
                    <a:lnTo>
                      <a:pt x="26" y="48"/>
                    </a:lnTo>
                    <a:lnTo>
                      <a:pt x="34" y="40"/>
                    </a:lnTo>
                    <a:lnTo>
                      <a:pt x="44" y="32"/>
                    </a:lnTo>
                    <a:lnTo>
                      <a:pt x="64" y="18"/>
                    </a:lnTo>
                    <a:lnTo>
                      <a:pt x="86" y="8"/>
                    </a:lnTo>
                    <a:lnTo>
                      <a:pt x="110" y="2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4" y="2"/>
                    </a:lnTo>
                    <a:lnTo>
                      <a:pt x="170" y="4"/>
                    </a:lnTo>
                    <a:lnTo>
                      <a:pt x="184" y="6"/>
                    </a:lnTo>
                    <a:lnTo>
                      <a:pt x="196" y="12"/>
                    </a:lnTo>
                    <a:lnTo>
                      <a:pt x="208" y="18"/>
                    </a:lnTo>
                    <a:lnTo>
                      <a:pt x="218" y="24"/>
                    </a:lnTo>
                    <a:lnTo>
                      <a:pt x="228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46" y="60"/>
                    </a:lnTo>
                    <a:lnTo>
                      <a:pt x="250" y="72"/>
                    </a:lnTo>
                    <a:lnTo>
                      <a:pt x="254" y="84"/>
                    </a:lnTo>
                    <a:lnTo>
                      <a:pt x="256" y="112"/>
                    </a:lnTo>
                    <a:lnTo>
                      <a:pt x="254" y="142"/>
                    </a:lnTo>
                    <a:lnTo>
                      <a:pt x="86" y="142"/>
                    </a:lnTo>
                    <a:close/>
                    <a:moveTo>
                      <a:pt x="172" y="98"/>
                    </a:moveTo>
                    <a:lnTo>
                      <a:pt x="172" y="98"/>
                    </a:lnTo>
                    <a:lnTo>
                      <a:pt x="172" y="88"/>
                    </a:lnTo>
                    <a:lnTo>
                      <a:pt x="170" y="78"/>
                    </a:lnTo>
                    <a:lnTo>
                      <a:pt x="168" y="70"/>
                    </a:lnTo>
                    <a:lnTo>
                      <a:pt x="164" y="62"/>
                    </a:lnTo>
                    <a:lnTo>
                      <a:pt x="164" y="62"/>
                    </a:lnTo>
                    <a:lnTo>
                      <a:pt x="158" y="56"/>
                    </a:lnTo>
                    <a:lnTo>
                      <a:pt x="150" y="50"/>
                    </a:lnTo>
                    <a:lnTo>
                      <a:pt x="142" y="48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22" y="48"/>
                    </a:lnTo>
                    <a:lnTo>
                      <a:pt x="114" y="52"/>
                    </a:lnTo>
                    <a:lnTo>
                      <a:pt x="106" y="56"/>
                    </a:lnTo>
                    <a:lnTo>
                      <a:pt x="102" y="62"/>
                    </a:lnTo>
                    <a:lnTo>
                      <a:pt x="96" y="70"/>
                    </a:lnTo>
                    <a:lnTo>
                      <a:pt x="94" y="78"/>
                    </a:lnTo>
                    <a:lnTo>
                      <a:pt x="90" y="98"/>
                    </a:lnTo>
                    <a:lnTo>
                      <a:pt x="172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</a:endParaRPr>
              </a:p>
            </p:txBody>
          </p:sp>
          <p:sp>
            <p:nvSpPr>
              <p:cNvPr id="71" name="Freeform 16">
                <a:extLst>
                  <a:ext uri="{FF2B5EF4-FFF2-40B4-BE49-F238E27FC236}">
                    <a16:creationId xmlns:a16="http://schemas.microsoft.com/office/drawing/2014/main" id="{D920390D-4901-4FD3-9947-15E5F1A977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4450" y="352425"/>
                <a:ext cx="196850" cy="542925"/>
              </a:xfrm>
              <a:custGeom>
                <a:avLst/>
                <a:gdLst>
                  <a:gd name="T0" fmla="*/ 24 w 124"/>
                  <a:gd name="T1" fmla="*/ 0 h 342"/>
                  <a:gd name="T2" fmla="*/ 124 w 124"/>
                  <a:gd name="T3" fmla="*/ 0 h 342"/>
                  <a:gd name="T4" fmla="*/ 100 w 124"/>
                  <a:gd name="T5" fmla="*/ 342 h 342"/>
                  <a:gd name="T6" fmla="*/ 0 w 124"/>
                  <a:gd name="T7" fmla="*/ 342 h 342"/>
                  <a:gd name="T8" fmla="*/ 24 w 124"/>
                  <a:gd name="T9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342">
                    <a:moveTo>
                      <a:pt x="24" y="0"/>
                    </a:moveTo>
                    <a:lnTo>
                      <a:pt x="124" y="0"/>
                    </a:lnTo>
                    <a:lnTo>
                      <a:pt x="100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</a:endParaRPr>
              </a:p>
            </p:txBody>
          </p:sp>
          <p:sp>
            <p:nvSpPr>
              <p:cNvPr id="72" name="Freeform 17">
                <a:extLst>
                  <a:ext uri="{FF2B5EF4-FFF2-40B4-BE49-F238E27FC236}">
                    <a16:creationId xmlns:a16="http://schemas.microsoft.com/office/drawing/2014/main" id="{A97DE4CE-ADD2-4ADB-A737-5C2F92D7CF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8600" y="352425"/>
                <a:ext cx="368300" cy="542925"/>
              </a:xfrm>
              <a:custGeom>
                <a:avLst/>
                <a:gdLst>
                  <a:gd name="T0" fmla="*/ 120 w 232"/>
                  <a:gd name="T1" fmla="*/ 0 h 342"/>
                  <a:gd name="T2" fmla="*/ 0 w 232"/>
                  <a:gd name="T3" fmla="*/ 152 h 342"/>
                  <a:gd name="T4" fmla="*/ 106 w 232"/>
                  <a:gd name="T5" fmla="*/ 342 h 342"/>
                  <a:gd name="T6" fmla="*/ 226 w 232"/>
                  <a:gd name="T7" fmla="*/ 342 h 342"/>
                  <a:gd name="T8" fmla="*/ 106 w 232"/>
                  <a:gd name="T9" fmla="*/ 148 h 342"/>
                  <a:gd name="T10" fmla="*/ 232 w 232"/>
                  <a:gd name="T11" fmla="*/ 0 h 342"/>
                  <a:gd name="T12" fmla="*/ 120 w 232"/>
                  <a:gd name="T13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2" h="342">
                    <a:moveTo>
                      <a:pt x="120" y="0"/>
                    </a:moveTo>
                    <a:lnTo>
                      <a:pt x="0" y="152"/>
                    </a:lnTo>
                    <a:lnTo>
                      <a:pt x="106" y="342"/>
                    </a:lnTo>
                    <a:lnTo>
                      <a:pt x="226" y="342"/>
                    </a:lnTo>
                    <a:lnTo>
                      <a:pt x="106" y="148"/>
                    </a:lnTo>
                    <a:lnTo>
                      <a:pt x="232" y="0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</a:endParaRPr>
              </a:p>
            </p:txBody>
          </p:sp>
          <p:sp>
            <p:nvSpPr>
              <p:cNvPr id="73" name="Freeform 18">
                <a:extLst>
                  <a:ext uri="{FF2B5EF4-FFF2-40B4-BE49-F238E27FC236}">
                    <a16:creationId xmlns:a16="http://schemas.microsoft.com/office/drawing/2014/main" id="{D19823BD-A6E2-454B-B7D4-BBC8D0B9AE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6425" y="517525"/>
                <a:ext cx="158750" cy="377825"/>
              </a:xfrm>
              <a:custGeom>
                <a:avLst/>
                <a:gdLst>
                  <a:gd name="T0" fmla="*/ 16 w 100"/>
                  <a:gd name="T1" fmla="*/ 0 h 238"/>
                  <a:gd name="T2" fmla="*/ 100 w 100"/>
                  <a:gd name="T3" fmla="*/ 0 h 238"/>
                  <a:gd name="T4" fmla="*/ 84 w 100"/>
                  <a:gd name="T5" fmla="*/ 238 h 238"/>
                  <a:gd name="T6" fmla="*/ 0 w 100"/>
                  <a:gd name="T7" fmla="*/ 238 h 238"/>
                  <a:gd name="T8" fmla="*/ 16 w 100"/>
                  <a:gd name="T9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238">
                    <a:moveTo>
                      <a:pt x="16" y="0"/>
                    </a:moveTo>
                    <a:lnTo>
                      <a:pt x="100" y="0"/>
                    </a:lnTo>
                    <a:lnTo>
                      <a:pt x="84" y="238"/>
                    </a:lnTo>
                    <a:lnTo>
                      <a:pt x="0" y="238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</a:endParaRPr>
              </a:p>
            </p:txBody>
          </p:sp>
          <p:sp>
            <p:nvSpPr>
              <p:cNvPr id="74" name="Freeform 19">
                <a:extLst>
                  <a:ext uri="{FF2B5EF4-FFF2-40B4-BE49-F238E27FC236}">
                    <a16:creationId xmlns:a16="http://schemas.microsoft.com/office/drawing/2014/main" id="{8851F8E2-89C3-4B17-B59F-F99D4B72A1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8350" y="504825"/>
                <a:ext cx="692150" cy="390525"/>
              </a:xfrm>
              <a:custGeom>
                <a:avLst/>
                <a:gdLst>
                  <a:gd name="T0" fmla="*/ 106 w 436"/>
                  <a:gd name="T1" fmla="*/ 40 h 246"/>
                  <a:gd name="T2" fmla="*/ 106 w 436"/>
                  <a:gd name="T3" fmla="*/ 40 h 246"/>
                  <a:gd name="T4" fmla="*/ 128 w 436"/>
                  <a:gd name="T5" fmla="*/ 20 h 246"/>
                  <a:gd name="T6" fmla="*/ 150 w 436"/>
                  <a:gd name="T7" fmla="*/ 8 h 246"/>
                  <a:gd name="T8" fmla="*/ 172 w 436"/>
                  <a:gd name="T9" fmla="*/ 2 h 246"/>
                  <a:gd name="T10" fmla="*/ 192 w 436"/>
                  <a:gd name="T11" fmla="*/ 2 h 246"/>
                  <a:gd name="T12" fmla="*/ 216 w 436"/>
                  <a:gd name="T13" fmla="*/ 6 h 246"/>
                  <a:gd name="T14" fmla="*/ 238 w 436"/>
                  <a:gd name="T15" fmla="*/ 14 h 246"/>
                  <a:gd name="T16" fmla="*/ 254 w 436"/>
                  <a:gd name="T17" fmla="*/ 28 h 246"/>
                  <a:gd name="T18" fmla="*/ 264 w 436"/>
                  <a:gd name="T19" fmla="*/ 44 h 246"/>
                  <a:gd name="T20" fmla="*/ 272 w 436"/>
                  <a:gd name="T21" fmla="*/ 34 h 246"/>
                  <a:gd name="T22" fmla="*/ 290 w 436"/>
                  <a:gd name="T23" fmla="*/ 18 h 246"/>
                  <a:gd name="T24" fmla="*/ 312 w 436"/>
                  <a:gd name="T25" fmla="*/ 8 h 246"/>
                  <a:gd name="T26" fmla="*/ 338 w 436"/>
                  <a:gd name="T27" fmla="*/ 2 h 246"/>
                  <a:gd name="T28" fmla="*/ 352 w 436"/>
                  <a:gd name="T29" fmla="*/ 0 h 246"/>
                  <a:gd name="T30" fmla="*/ 386 w 436"/>
                  <a:gd name="T31" fmla="*/ 6 h 246"/>
                  <a:gd name="T32" fmla="*/ 414 w 436"/>
                  <a:gd name="T33" fmla="*/ 24 h 246"/>
                  <a:gd name="T34" fmla="*/ 432 w 436"/>
                  <a:gd name="T35" fmla="*/ 50 h 246"/>
                  <a:gd name="T36" fmla="*/ 436 w 436"/>
                  <a:gd name="T37" fmla="*/ 86 h 246"/>
                  <a:gd name="T38" fmla="*/ 332 w 436"/>
                  <a:gd name="T39" fmla="*/ 246 h 246"/>
                  <a:gd name="T40" fmla="*/ 342 w 436"/>
                  <a:gd name="T41" fmla="*/ 106 h 246"/>
                  <a:gd name="T42" fmla="*/ 342 w 436"/>
                  <a:gd name="T43" fmla="*/ 80 h 246"/>
                  <a:gd name="T44" fmla="*/ 336 w 436"/>
                  <a:gd name="T45" fmla="*/ 66 h 246"/>
                  <a:gd name="T46" fmla="*/ 322 w 436"/>
                  <a:gd name="T47" fmla="*/ 58 h 246"/>
                  <a:gd name="T48" fmla="*/ 312 w 436"/>
                  <a:gd name="T49" fmla="*/ 58 h 246"/>
                  <a:gd name="T50" fmla="*/ 288 w 436"/>
                  <a:gd name="T51" fmla="*/ 66 h 246"/>
                  <a:gd name="T52" fmla="*/ 276 w 436"/>
                  <a:gd name="T53" fmla="*/ 82 h 246"/>
                  <a:gd name="T54" fmla="*/ 270 w 436"/>
                  <a:gd name="T55" fmla="*/ 100 h 246"/>
                  <a:gd name="T56" fmla="*/ 260 w 436"/>
                  <a:gd name="T57" fmla="*/ 246 h 246"/>
                  <a:gd name="T58" fmla="*/ 180 w 436"/>
                  <a:gd name="T59" fmla="*/ 106 h 246"/>
                  <a:gd name="T60" fmla="*/ 178 w 436"/>
                  <a:gd name="T61" fmla="*/ 88 h 246"/>
                  <a:gd name="T62" fmla="*/ 174 w 436"/>
                  <a:gd name="T63" fmla="*/ 72 h 246"/>
                  <a:gd name="T64" fmla="*/ 164 w 436"/>
                  <a:gd name="T65" fmla="*/ 62 h 246"/>
                  <a:gd name="T66" fmla="*/ 148 w 436"/>
                  <a:gd name="T67" fmla="*/ 58 h 246"/>
                  <a:gd name="T68" fmla="*/ 132 w 436"/>
                  <a:gd name="T69" fmla="*/ 60 h 246"/>
                  <a:gd name="T70" fmla="*/ 114 w 436"/>
                  <a:gd name="T71" fmla="*/ 72 h 246"/>
                  <a:gd name="T72" fmla="*/ 104 w 436"/>
                  <a:gd name="T73" fmla="*/ 92 h 246"/>
                  <a:gd name="T74" fmla="*/ 102 w 436"/>
                  <a:gd name="T75" fmla="*/ 110 h 246"/>
                  <a:gd name="T76" fmla="*/ 0 w 436"/>
                  <a:gd name="T77" fmla="*/ 246 h 246"/>
                  <a:gd name="T78" fmla="*/ 106 w 436"/>
                  <a:gd name="T79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36" h="246">
                    <a:moveTo>
                      <a:pt x="106" y="8"/>
                    </a:moveTo>
                    <a:lnTo>
                      <a:pt x="106" y="40"/>
                    </a:lnTo>
                    <a:lnTo>
                      <a:pt x="106" y="40"/>
                    </a:lnTo>
                    <a:lnTo>
                      <a:pt x="106" y="40"/>
                    </a:lnTo>
                    <a:lnTo>
                      <a:pt x="118" y="28"/>
                    </a:lnTo>
                    <a:lnTo>
                      <a:pt x="128" y="20"/>
                    </a:lnTo>
                    <a:lnTo>
                      <a:pt x="140" y="12"/>
                    </a:lnTo>
                    <a:lnTo>
                      <a:pt x="150" y="8"/>
                    </a:lnTo>
                    <a:lnTo>
                      <a:pt x="162" y="4"/>
                    </a:lnTo>
                    <a:lnTo>
                      <a:pt x="172" y="2"/>
                    </a:lnTo>
                    <a:lnTo>
                      <a:pt x="192" y="2"/>
                    </a:lnTo>
                    <a:lnTo>
                      <a:pt x="192" y="2"/>
                    </a:lnTo>
                    <a:lnTo>
                      <a:pt x="204" y="2"/>
                    </a:lnTo>
                    <a:lnTo>
                      <a:pt x="216" y="6"/>
                    </a:lnTo>
                    <a:lnTo>
                      <a:pt x="228" y="8"/>
                    </a:lnTo>
                    <a:lnTo>
                      <a:pt x="238" y="14"/>
                    </a:lnTo>
                    <a:lnTo>
                      <a:pt x="246" y="20"/>
                    </a:lnTo>
                    <a:lnTo>
                      <a:pt x="254" y="28"/>
                    </a:lnTo>
                    <a:lnTo>
                      <a:pt x="260" y="36"/>
                    </a:lnTo>
                    <a:lnTo>
                      <a:pt x="264" y="44"/>
                    </a:lnTo>
                    <a:lnTo>
                      <a:pt x="264" y="44"/>
                    </a:lnTo>
                    <a:lnTo>
                      <a:pt x="272" y="34"/>
                    </a:lnTo>
                    <a:lnTo>
                      <a:pt x="280" y="26"/>
                    </a:lnTo>
                    <a:lnTo>
                      <a:pt x="290" y="18"/>
                    </a:lnTo>
                    <a:lnTo>
                      <a:pt x="302" y="12"/>
                    </a:lnTo>
                    <a:lnTo>
                      <a:pt x="312" y="8"/>
                    </a:lnTo>
                    <a:lnTo>
                      <a:pt x="326" y="4"/>
                    </a:lnTo>
                    <a:lnTo>
                      <a:pt x="338" y="2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70" y="2"/>
                    </a:lnTo>
                    <a:lnTo>
                      <a:pt x="386" y="6"/>
                    </a:lnTo>
                    <a:lnTo>
                      <a:pt x="402" y="14"/>
                    </a:lnTo>
                    <a:lnTo>
                      <a:pt x="414" y="24"/>
                    </a:lnTo>
                    <a:lnTo>
                      <a:pt x="424" y="36"/>
                    </a:lnTo>
                    <a:lnTo>
                      <a:pt x="432" y="50"/>
                    </a:lnTo>
                    <a:lnTo>
                      <a:pt x="436" y="68"/>
                    </a:lnTo>
                    <a:lnTo>
                      <a:pt x="436" y="86"/>
                    </a:lnTo>
                    <a:lnTo>
                      <a:pt x="424" y="246"/>
                    </a:lnTo>
                    <a:lnTo>
                      <a:pt x="332" y="246"/>
                    </a:lnTo>
                    <a:lnTo>
                      <a:pt x="342" y="106"/>
                    </a:lnTo>
                    <a:lnTo>
                      <a:pt x="342" y="106"/>
                    </a:lnTo>
                    <a:lnTo>
                      <a:pt x="342" y="88"/>
                    </a:lnTo>
                    <a:lnTo>
                      <a:pt x="342" y="80"/>
                    </a:lnTo>
                    <a:lnTo>
                      <a:pt x="340" y="74"/>
                    </a:lnTo>
                    <a:lnTo>
                      <a:pt x="336" y="66"/>
                    </a:lnTo>
                    <a:lnTo>
                      <a:pt x="330" y="62"/>
                    </a:lnTo>
                    <a:lnTo>
                      <a:pt x="322" y="58"/>
                    </a:lnTo>
                    <a:lnTo>
                      <a:pt x="312" y="58"/>
                    </a:lnTo>
                    <a:lnTo>
                      <a:pt x="312" y="58"/>
                    </a:lnTo>
                    <a:lnTo>
                      <a:pt x="298" y="60"/>
                    </a:lnTo>
                    <a:lnTo>
                      <a:pt x="288" y="66"/>
                    </a:lnTo>
                    <a:lnTo>
                      <a:pt x="280" y="72"/>
                    </a:lnTo>
                    <a:lnTo>
                      <a:pt x="276" y="82"/>
                    </a:lnTo>
                    <a:lnTo>
                      <a:pt x="272" y="92"/>
                    </a:lnTo>
                    <a:lnTo>
                      <a:pt x="270" y="100"/>
                    </a:lnTo>
                    <a:lnTo>
                      <a:pt x="270" y="110"/>
                    </a:lnTo>
                    <a:lnTo>
                      <a:pt x="260" y="246"/>
                    </a:lnTo>
                    <a:lnTo>
                      <a:pt x="170" y="246"/>
                    </a:lnTo>
                    <a:lnTo>
                      <a:pt x="180" y="106"/>
                    </a:lnTo>
                    <a:lnTo>
                      <a:pt x="180" y="106"/>
                    </a:lnTo>
                    <a:lnTo>
                      <a:pt x="178" y="88"/>
                    </a:lnTo>
                    <a:lnTo>
                      <a:pt x="178" y="80"/>
                    </a:lnTo>
                    <a:lnTo>
                      <a:pt x="174" y="72"/>
                    </a:lnTo>
                    <a:lnTo>
                      <a:pt x="170" y="66"/>
                    </a:lnTo>
                    <a:lnTo>
                      <a:pt x="164" y="62"/>
                    </a:lnTo>
                    <a:lnTo>
                      <a:pt x="15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32" y="60"/>
                    </a:lnTo>
                    <a:lnTo>
                      <a:pt x="122" y="66"/>
                    </a:lnTo>
                    <a:lnTo>
                      <a:pt x="114" y="72"/>
                    </a:lnTo>
                    <a:lnTo>
                      <a:pt x="108" y="82"/>
                    </a:lnTo>
                    <a:lnTo>
                      <a:pt x="104" y="92"/>
                    </a:lnTo>
                    <a:lnTo>
                      <a:pt x="104" y="100"/>
                    </a:lnTo>
                    <a:lnTo>
                      <a:pt x="102" y="110"/>
                    </a:lnTo>
                    <a:lnTo>
                      <a:pt x="94" y="246"/>
                    </a:lnTo>
                    <a:lnTo>
                      <a:pt x="0" y="246"/>
                    </a:lnTo>
                    <a:lnTo>
                      <a:pt x="16" y="8"/>
                    </a:lnTo>
                    <a:lnTo>
                      <a:pt x="106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</a:endParaRPr>
              </a:p>
            </p:txBody>
          </p:sp>
          <p:sp>
            <p:nvSpPr>
              <p:cNvPr id="75" name="Freeform 20">
                <a:extLst>
                  <a:ext uri="{FF2B5EF4-FFF2-40B4-BE49-F238E27FC236}">
                    <a16:creationId xmlns:a16="http://schemas.microsoft.com/office/drawing/2014/main" id="{82B31EE5-B0D0-4F60-AB6F-7E3B553FB1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4000" y="517525"/>
                <a:ext cx="454025" cy="558800"/>
              </a:xfrm>
              <a:custGeom>
                <a:avLst/>
                <a:gdLst>
                  <a:gd name="T0" fmla="*/ 116 w 286"/>
                  <a:gd name="T1" fmla="*/ 352 h 352"/>
                  <a:gd name="T2" fmla="*/ 34 w 286"/>
                  <a:gd name="T3" fmla="*/ 352 h 352"/>
                  <a:gd name="T4" fmla="*/ 86 w 286"/>
                  <a:gd name="T5" fmla="*/ 242 h 352"/>
                  <a:gd name="T6" fmla="*/ 0 w 286"/>
                  <a:gd name="T7" fmla="*/ 0 h 352"/>
                  <a:gd name="T8" fmla="*/ 100 w 286"/>
                  <a:gd name="T9" fmla="*/ 0 h 352"/>
                  <a:gd name="T10" fmla="*/ 140 w 286"/>
                  <a:gd name="T11" fmla="*/ 148 h 352"/>
                  <a:gd name="T12" fmla="*/ 202 w 286"/>
                  <a:gd name="T13" fmla="*/ 0 h 352"/>
                  <a:gd name="T14" fmla="*/ 286 w 286"/>
                  <a:gd name="T15" fmla="*/ 0 h 352"/>
                  <a:gd name="T16" fmla="*/ 116 w 286"/>
                  <a:gd name="T17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6" h="352">
                    <a:moveTo>
                      <a:pt x="116" y="352"/>
                    </a:moveTo>
                    <a:lnTo>
                      <a:pt x="34" y="352"/>
                    </a:lnTo>
                    <a:lnTo>
                      <a:pt x="86" y="242"/>
                    </a:lnTo>
                    <a:lnTo>
                      <a:pt x="0" y="0"/>
                    </a:lnTo>
                    <a:lnTo>
                      <a:pt x="100" y="0"/>
                    </a:lnTo>
                    <a:lnTo>
                      <a:pt x="140" y="148"/>
                    </a:lnTo>
                    <a:lnTo>
                      <a:pt x="202" y="0"/>
                    </a:lnTo>
                    <a:lnTo>
                      <a:pt x="286" y="0"/>
                    </a:lnTo>
                    <a:lnTo>
                      <a:pt x="116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</a:endParaRPr>
              </a:p>
            </p:txBody>
          </p:sp>
          <p:sp>
            <p:nvSpPr>
              <p:cNvPr id="76" name="Freeform 21">
                <a:extLst>
                  <a:ext uri="{FF2B5EF4-FFF2-40B4-BE49-F238E27FC236}">
                    <a16:creationId xmlns:a16="http://schemas.microsoft.com/office/drawing/2014/main" id="{006BC318-EFCB-4F70-B13F-856A99EDFD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3575" y="593725"/>
                <a:ext cx="241300" cy="117475"/>
              </a:xfrm>
              <a:custGeom>
                <a:avLst/>
                <a:gdLst>
                  <a:gd name="T0" fmla="*/ 36 w 152"/>
                  <a:gd name="T1" fmla="*/ 0 h 74"/>
                  <a:gd name="T2" fmla="*/ 152 w 152"/>
                  <a:gd name="T3" fmla="*/ 0 h 74"/>
                  <a:gd name="T4" fmla="*/ 114 w 152"/>
                  <a:gd name="T5" fmla="*/ 74 h 74"/>
                  <a:gd name="T6" fmla="*/ 0 w 152"/>
                  <a:gd name="T7" fmla="*/ 74 h 74"/>
                  <a:gd name="T8" fmla="*/ 36 w 152"/>
                  <a:gd name="T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74">
                    <a:moveTo>
                      <a:pt x="36" y="0"/>
                    </a:moveTo>
                    <a:lnTo>
                      <a:pt x="152" y="0"/>
                    </a:lnTo>
                    <a:lnTo>
                      <a:pt x="114" y="74"/>
                    </a:lnTo>
                    <a:lnTo>
                      <a:pt x="0" y="7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</a:endParaRPr>
              </a:p>
            </p:txBody>
          </p:sp>
          <p:sp>
            <p:nvSpPr>
              <p:cNvPr id="77" name="Freeform 22">
                <a:extLst>
                  <a:ext uri="{FF2B5EF4-FFF2-40B4-BE49-F238E27FC236}">
                    <a16:creationId xmlns:a16="http://schemas.microsoft.com/office/drawing/2014/main" id="{B9CDF78A-8D78-441F-8EC6-FD7B043960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1225" y="339725"/>
                <a:ext cx="504825" cy="558800"/>
              </a:xfrm>
              <a:custGeom>
                <a:avLst/>
                <a:gdLst>
                  <a:gd name="T0" fmla="*/ 180 w 318"/>
                  <a:gd name="T1" fmla="*/ 0 h 352"/>
                  <a:gd name="T2" fmla="*/ 232 w 318"/>
                  <a:gd name="T3" fmla="*/ 6 h 352"/>
                  <a:gd name="T4" fmla="*/ 266 w 318"/>
                  <a:gd name="T5" fmla="*/ 20 h 352"/>
                  <a:gd name="T6" fmla="*/ 286 w 318"/>
                  <a:gd name="T7" fmla="*/ 32 h 352"/>
                  <a:gd name="T8" fmla="*/ 302 w 318"/>
                  <a:gd name="T9" fmla="*/ 50 h 352"/>
                  <a:gd name="T10" fmla="*/ 312 w 318"/>
                  <a:gd name="T11" fmla="*/ 74 h 352"/>
                  <a:gd name="T12" fmla="*/ 318 w 318"/>
                  <a:gd name="T13" fmla="*/ 100 h 352"/>
                  <a:gd name="T14" fmla="*/ 222 w 318"/>
                  <a:gd name="T15" fmla="*/ 116 h 352"/>
                  <a:gd name="T16" fmla="*/ 222 w 318"/>
                  <a:gd name="T17" fmla="*/ 108 h 352"/>
                  <a:gd name="T18" fmla="*/ 216 w 318"/>
                  <a:gd name="T19" fmla="*/ 90 h 352"/>
                  <a:gd name="T20" fmla="*/ 204 w 318"/>
                  <a:gd name="T21" fmla="*/ 76 h 352"/>
                  <a:gd name="T22" fmla="*/ 188 w 318"/>
                  <a:gd name="T23" fmla="*/ 68 h 352"/>
                  <a:gd name="T24" fmla="*/ 176 w 318"/>
                  <a:gd name="T25" fmla="*/ 68 h 352"/>
                  <a:gd name="T26" fmla="*/ 150 w 318"/>
                  <a:gd name="T27" fmla="*/ 72 h 352"/>
                  <a:gd name="T28" fmla="*/ 128 w 318"/>
                  <a:gd name="T29" fmla="*/ 88 h 352"/>
                  <a:gd name="T30" fmla="*/ 108 w 318"/>
                  <a:gd name="T31" fmla="*/ 118 h 352"/>
                  <a:gd name="T32" fmla="*/ 98 w 318"/>
                  <a:gd name="T33" fmla="*/ 162 h 352"/>
                  <a:gd name="T34" fmla="*/ 96 w 318"/>
                  <a:gd name="T35" fmla="*/ 188 h 352"/>
                  <a:gd name="T36" fmla="*/ 98 w 318"/>
                  <a:gd name="T37" fmla="*/ 234 h 352"/>
                  <a:gd name="T38" fmla="*/ 112 w 318"/>
                  <a:gd name="T39" fmla="*/ 266 h 352"/>
                  <a:gd name="T40" fmla="*/ 122 w 318"/>
                  <a:gd name="T41" fmla="*/ 278 h 352"/>
                  <a:gd name="T42" fmla="*/ 138 w 318"/>
                  <a:gd name="T43" fmla="*/ 284 h 352"/>
                  <a:gd name="T44" fmla="*/ 158 w 318"/>
                  <a:gd name="T45" fmla="*/ 288 h 352"/>
                  <a:gd name="T46" fmla="*/ 174 w 318"/>
                  <a:gd name="T47" fmla="*/ 286 h 352"/>
                  <a:gd name="T48" fmla="*/ 198 w 318"/>
                  <a:gd name="T49" fmla="*/ 274 h 352"/>
                  <a:gd name="T50" fmla="*/ 212 w 318"/>
                  <a:gd name="T51" fmla="*/ 256 h 352"/>
                  <a:gd name="T52" fmla="*/ 218 w 318"/>
                  <a:gd name="T53" fmla="*/ 236 h 352"/>
                  <a:gd name="T54" fmla="*/ 314 w 318"/>
                  <a:gd name="T55" fmla="*/ 236 h 352"/>
                  <a:gd name="T56" fmla="*/ 306 w 318"/>
                  <a:gd name="T57" fmla="*/ 270 h 352"/>
                  <a:gd name="T58" fmla="*/ 290 w 318"/>
                  <a:gd name="T59" fmla="*/ 300 h 352"/>
                  <a:gd name="T60" fmla="*/ 272 w 318"/>
                  <a:gd name="T61" fmla="*/ 318 h 352"/>
                  <a:gd name="T62" fmla="*/ 248 w 318"/>
                  <a:gd name="T63" fmla="*/ 334 h 352"/>
                  <a:gd name="T64" fmla="*/ 216 w 318"/>
                  <a:gd name="T65" fmla="*/ 346 h 352"/>
                  <a:gd name="T66" fmla="*/ 176 w 318"/>
                  <a:gd name="T67" fmla="*/ 352 h 352"/>
                  <a:gd name="T68" fmla="*/ 152 w 318"/>
                  <a:gd name="T69" fmla="*/ 352 h 352"/>
                  <a:gd name="T70" fmla="*/ 106 w 318"/>
                  <a:gd name="T71" fmla="*/ 348 h 352"/>
                  <a:gd name="T72" fmla="*/ 70 w 318"/>
                  <a:gd name="T73" fmla="*/ 336 h 352"/>
                  <a:gd name="T74" fmla="*/ 42 w 318"/>
                  <a:gd name="T75" fmla="*/ 316 h 352"/>
                  <a:gd name="T76" fmla="*/ 22 w 318"/>
                  <a:gd name="T77" fmla="*/ 292 h 352"/>
                  <a:gd name="T78" fmla="*/ 8 w 318"/>
                  <a:gd name="T79" fmla="*/ 262 h 352"/>
                  <a:gd name="T80" fmla="*/ 2 w 318"/>
                  <a:gd name="T81" fmla="*/ 230 h 352"/>
                  <a:gd name="T82" fmla="*/ 0 w 318"/>
                  <a:gd name="T83" fmla="*/ 194 h 352"/>
                  <a:gd name="T84" fmla="*/ 2 w 318"/>
                  <a:gd name="T85" fmla="*/ 160 h 352"/>
                  <a:gd name="T86" fmla="*/ 18 w 318"/>
                  <a:gd name="T87" fmla="*/ 102 h 352"/>
                  <a:gd name="T88" fmla="*/ 32 w 318"/>
                  <a:gd name="T89" fmla="*/ 74 h 352"/>
                  <a:gd name="T90" fmla="*/ 52 w 318"/>
                  <a:gd name="T91" fmla="*/ 50 h 352"/>
                  <a:gd name="T92" fmla="*/ 76 w 318"/>
                  <a:gd name="T93" fmla="*/ 30 h 352"/>
                  <a:gd name="T94" fmla="*/ 106 w 318"/>
                  <a:gd name="T95" fmla="*/ 14 h 352"/>
                  <a:gd name="T96" fmla="*/ 140 w 318"/>
                  <a:gd name="T97" fmla="*/ 4 h 352"/>
                  <a:gd name="T98" fmla="*/ 180 w 318"/>
                  <a:gd name="T99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18" h="352">
                    <a:moveTo>
                      <a:pt x="180" y="0"/>
                    </a:moveTo>
                    <a:lnTo>
                      <a:pt x="180" y="0"/>
                    </a:lnTo>
                    <a:lnTo>
                      <a:pt x="206" y="0"/>
                    </a:lnTo>
                    <a:lnTo>
                      <a:pt x="232" y="6"/>
                    </a:lnTo>
                    <a:lnTo>
                      <a:pt x="256" y="14"/>
                    </a:lnTo>
                    <a:lnTo>
                      <a:pt x="266" y="20"/>
                    </a:lnTo>
                    <a:lnTo>
                      <a:pt x="276" y="26"/>
                    </a:lnTo>
                    <a:lnTo>
                      <a:pt x="286" y="32"/>
                    </a:lnTo>
                    <a:lnTo>
                      <a:pt x="294" y="42"/>
                    </a:lnTo>
                    <a:lnTo>
                      <a:pt x="302" y="50"/>
                    </a:lnTo>
                    <a:lnTo>
                      <a:pt x="308" y="62"/>
                    </a:lnTo>
                    <a:lnTo>
                      <a:pt x="312" y="74"/>
                    </a:lnTo>
                    <a:lnTo>
                      <a:pt x="316" y="86"/>
                    </a:lnTo>
                    <a:lnTo>
                      <a:pt x="318" y="100"/>
                    </a:lnTo>
                    <a:lnTo>
                      <a:pt x="318" y="116"/>
                    </a:lnTo>
                    <a:lnTo>
                      <a:pt x="222" y="116"/>
                    </a:lnTo>
                    <a:lnTo>
                      <a:pt x="222" y="116"/>
                    </a:lnTo>
                    <a:lnTo>
                      <a:pt x="222" y="108"/>
                    </a:lnTo>
                    <a:lnTo>
                      <a:pt x="220" y="98"/>
                    </a:lnTo>
                    <a:lnTo>
                      <a:pt x="216" y="90"/>
                    </a:lnTo>
                    <a:lnTo>
                      <a:pt x="212" y="84"/>
                    </a:lnTo>
                    <a:lnTo>
                      <a:pt x="204" y="76"/>
                    </a:lnTo>
                    <a:lnTo>
                      <a:pt x="198" y="72"/>
                    </a:lnTo>
                    <a:lnTo>
                      <a:pt x="188" y="68"/>
                    </a:lnTo>
                    <a:lnTo>
                      <a:pt x="176" y="68"/>
                    </a:lnTo>
                    <a:lnTo>
                      <a:pt x="176" y="68"/>
                    </a:lnTo>
                    <a:lnTo>
                      <a:pt x="164" y="68"/>
                    </a:lnTo>
                    <a:lnTo>
                      <a:pt x="150" y="72"/>
                    </a:lnTo>
                    <a:lnTo>
                      <a:pt x="138" y="80"/>
                    </a:lnTo>
                    <a:lnTo>
                      <a:pt x="128" y="88"/>
                    </a:lnTo>
                    <a:lnTo>
                      <a:pt x="118" y="102"/>
                    </a:lnTo>
                    <a:lnTo>
                      <a:pt x="108" y="118"/>
                    </a:lnTo>
                    <a:lnTo>
                      <a:pt x="102" y="138"/>
                    </a:lnTo>
                    <a:lnTo>
                      <a:pt x="98" y="162"/>
                    </a:lnTo>
                    <a:lnTo>
                      <a:pt x="98" y="162"/>
                    </a:lnTo>
                    <a:lnTo>
                      <a:pt x="96" y="188"/>
                    </a:lnTo>
                    <a:lnTo>
                      <a:pt x="96" y="212"/>
                    </a:lnTo>
                    <a:lnTo>
                      <a:pt x="98" y="234"/>
                    </a:lnTo>
                    <a:lnTo>
                      <a:pt x="104" y="252"/>
                    </a:lnTo>
                    <a:lnTo>
                      <a:pt x="112" y="266"/>
                    </a:lnTo>
                    <a:lnTo>
                      <a:pt x="116" y="272"/>
                    </a:lnTo>
                    <a:lnTo>
                      <a:pt x="122" y="278"/>
                    </a:lnTo>
                    <a:lnTo>
                      <a:pt x="130" y="282"/>
                    </a:lnTo>
                    <a:lnTo>
                      <a:pt x="138" y="284"/>
                    </a:lnTo>
                    <a:lnTo>
                      <a:pt x="148" y="286"/>
                    </a:lnTo>
                    <a:lnTo>
                      <a:pt x="158" y="288"/>
                    </a:lnTo>
                    <a:lnTo>
                      <a:pt x="158" y="288"/>
                    </a:lnTo>
                    <a:lnTo>
                      <a:pt x="174" y="286"/>
                    </a:lnTo>
                    <a:lnTo>
                      <a:pt x="188" y="280"/>
                    </a:lnTo>
                    <a:lnTo>
                      <a:pt x="198" y="274"/>
                    </a:lnTo>
                    <a:lnTo>
                      <a:pt x="206" y="264"/>
                    </a:lnTo>
                    <a:lnTo>
                      <a:pt x="212" y="256"/>
                    </a:lnTo>
                    <a:lnTo>
                      <a:pt x="214" y="248"/>
                    </a:lnTo>
                    <a:lnTo>
                      <a:pt x="218" y="236"/>
                    </a:lnTo>
                    <a:lnTo>
                      <a:pt x="314" y="236"/>
                    </a:lnTo>
                    <a:lnTo>
                      <a:pt x="314" y="236"/>
                    </a:lnTo>
                    <a:lnTo>
                      <a:pt x="312" y="252"/>
                    </a:lnTo>
                    <a:lnTo>
                      <a:pt x="306" y="270"/>
                    </a:lnTo>
                    <a:lnTo>
                      <a:pt x="296" y="290"/>
                    </a:lnTo>
                    <a:lnTo>
                      <a:pt x="290" y="300"/>
                    </a:lnTo>
                    <a:lnTo>
                      <a:pt x="282" y="308"/>
                    </a:lnTo>
                    <a:lnTo>
                      <a:pt x="272" y="318"/>
                    </a:lnTo>
                    <a:lnTo>
                      <a:pt x="260" y="326"/>
                    </a:lnTo>
                    <a:lnTo>
                      <a:pt x="248" y="334"/>
                    </a:lnTo>
                    <a:lnTo>
                      <a:pt x="232" y="340"/>
                    </a:lnTo>
                    <a:lnTo>
                      <a:pt x="216" y="346"/>
                    </a:lnTo>
                    <a:lnTo>
                      <a:pt x="196" y="350"/>
                    </a:lnTo>
                    <a:lnTo>
                      <a:pt x="176" y="352"/>
                    </a:lnTo>
                    <a:lnTo>
                      <a:pt x="152" y="352"/>
                    </a:lnTo>
                    <a:lnTo>
                      <a:pt x="152" y="352"/>
                    </a:lnTo>
                    <a:lnTo>
                      <a:pt x="128" y="352"/>
                    </a:lnTo>
                    <a:lnTo>
                      <a:pt x="106" y="348"/>
                    </a:lnTo>
                    <a:lnTo>
                      <a:pt x="86" y="342"/>
                    </a:lnTo>
                    <a:lnTo>
                      <a:pt x="70" y="336"/>
                    </a:lnTo>
                    <a:lnTo>
                      <a:pt x="54" y="326"/>
                    </a:lnTo>
                    <a:lnTo>
                      <a:pt x="42" y="316"/>
                    </a:lnTo>
                    <a:lnTo>
                      <a:pt x="30" y="304"/>
                    </a:lnTo>
                    <a:lnTo>
                      <a:pt x="22" y="292"/>
                    </a:lnTo>
                    <a:lnTo>
                      <a:pt x="14" y="276"/>
                    </a:lnTo>
                    <a:lnTo>
                      <a:pt x="8" y="262"/>
                    </a:lnTo>
                    <a:lnTo>
                      <a:pt x="4" y="246"/>
                    </a:lnTo>
                    <a:lnTo>
                      <a:pt x="2" y="230"/>
                    </a:lnTo>
                    <a:lnTo>
                      <a:pt x="0" y="212"/>
                    </a:lnTo>
                    <a:lnTo>
                      <a:pt x="0" y="194"/>
                    </a:lnTo>
                    <a:lnTo>
                      <a:pt x="2" y="160"/>
                    </a:lnTo>
                    <a:lnTo>
                      <a:pt x="2" y="160"/>
                    </a:lnTo>
                    <a:lnTo>
                      <a:pt x="8" y="130"/>
                    </a:lnTo>
                    <a:lnTo>
                      <a:pt x="18" y="102"/>
                    </a:lnTo>
                    <a:lnTo>
                      <a:pt x="24" y="88"/>
                    </a:lnTo>
                    <a:lnTo>
                      <a:pt x="32" y="74"/>
                    </a:lnTo>
                    <a:lnTo>
                      <a:pt x="42" y="62"/>
                    </a:lnTo>
                    <a:lnTo>
                      <a:pt x="52" y="50"/>
                    </a:lnTo>
                    <a:lnTo>
                      <a:pt x="64" y="40"/>
                    </a:lnTo>
                    <a:lnTo>
                      <a:pt x="76" y="30"/>
                    </a:lnTo>
                    <a:lnTo>
                      <a:pt x="90" y="20"/>
                    </a:lnTo>
                    <a:lnTo>
                      <a:pt x="106" y="14"/>
                    </a:lnTo>
                    <a:lnTo>
                      <a:pt x="122" y="8"/>
                    </a:lnTo>
                    <a:lnTo>
                      <a:pt x="140" y="4"/>
                    </a:lnTo>
                    <a:lnTo>
                      <a:pt x="160" y="0"/>
                    </a:lnTo>
                    <a:lnTo>
                      <a:pt x="180" y="0"/>
                    </a:lnTo>
                    <a:lnTo>
                      <a:pt x="18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</a:endParaRPr>
              </a:p>
            </p:txBody>
          </p:sp>
          <p:sp>
            <p:nvSpPr>
              <p:cNvPr id="78" name="Freeform 23">
                <a:extLst>
                  <a:ext uri="{FF2B5EF4-FFF2-40B4-BE49-F238E27FC236}">
                    <a16:creationId xmlns:a16="http://schemas.microsoft.com/office/drawing/2014/main" id="{084E4FEA-12CC-4F0E-A7B9-1CFA50BE4D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29225" y="352425"/>
                <a:ext cx="177800" cy="542925"/>
              </a:xfrm>
              <a:custGeom>
                <a:avLst/>
                <a:gdLst>
                  <a:gd name="T0" fmla="*/ 0 w 112"/>
                  <a:gd name="T1" fmla="*/ 342 h 342"/>
                  <a:gd name="T2" fmla="*/ 24 w 112"/>
                  <a:gd name="T3" fmla="*/ 0 h 342"/>
                  <a:gd name="T4" fmla="*/ 112 w 112"/>
                  <a:gd name="T5" fmla="*/ 0 h 342"/>
                  <a:gd name="T6" fmla="*/ 88 w 112"/>
                  <a:gd name="T7" fmla="*/ 342 h 342"/>
                  <a:gd name="T8" fmla="*/ 0 w 112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2" y="0"/>
                    </a:lnTo>
                    <a:lnTo>
                      <a:pt x="88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</a:endParaRPr>
              </a:p>
            </p:txBody>
          </p:sp>
          <p:sp>
            <p:nvSpPr>
              <p:cNvPr id="79" name="Freeform 24">
                <a:extLst>
                  <a:ext uri="{FF2B5EF4-FFF2-40B4-BE49-F238E27FC236}">
                    <a16:creationId xmlns:a16="http://schemas.microsoft.com/office/drawing/2014/main" id="{CBAFA0DA-F358-4559-8B53-C7E8CAA307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3900" y="517525"/>
                <a:ext cx="295275" cy="377825"/>
              </a:xfrm>
              <a:custGeom>
                <a:avLst/>
                <a:gdLst>
                  <a:gd name="T0" fmla="*/ 106 w 186"/>
                  <a:gd name="T1" fmla="*/ 34 h 238"/>
                  <a:gd name="T2" fmla="*/ 106 w 186"/>
                  <a:gd name="T3" fmla="*/ 34 h 238"/>
                  <a:gd name="T4" fmla="*/ 106 w 186"/>
                  <a:gd name="T5" fmla="*/ 34 h 238"/>
                  <a:gd name="T6" fmla="*/ 116 w 186"/>
                  <a:gd name="T7" fmla="*/ 24 h 238"/>
                  <a:gd name="T8" fmla="*/ 124 w 186"/>
                  <a:gd name="T9" fmla="*/ 16 h 238"/>
                  <a:gd name="T10" fmla="*/ 134 w 186"/>
                  <a:gd name="T11" fmla="*/ 10 h 238"/>
                  <a:gd name="T12" fmla="*/ 144 w 186"/>
                  <a:gd name="T13" fmla="*/ 6 h 238"/>
                  <a:gd name="T14" fmla="*/ 154 w 186"/>
                  <a:gd name="T15" fmla="*/ 4 h 238"/>
                  <a:gd name="T16" fmla="*/ 164 w 186"/>
                  <a:gd name="T17" fmla="*/ 2 h 238"/>
                  <a:gd name="T18" fmla="*/ 186 w 186"/>
                  <a:gd name="T19" fmla="*/ 0 h 238"/>
                  <a:gd name="T20" fmla="*/ 180 w 186"/>
                  <a:gd name="T21" fmla="*/ 76 h 238"/>
                  <a:gd name="T22" fmla="*/ 180 w 186"/>
                  <a:gd name="T23" fmla="*/ 76 h 238"/>
                  <a:gd name="T24" fmla="*/ 162 w 186"/>
                  <a:gd name="T25" fmla="*/ 76 h 238"/>
                  <a:gd name="T26" fmla="*/ 162 w 186"/>
                  <a:gd name="T27" fmla="*/ 76 h 238"/>
                  <a:gd name="T28" fmla="*/ 142 w 186"/>
                  <a:gd name="T29" fmla="*/ 78 h 238"/>
                  <a:gd name="T30" fmla="*/ 126 w 186"/>
                  <a:gd name="T31" fmla="*/ 82 h 238"/>
                  <a:gd name="T32" fmla="*/ 116 w 186"/>
                  <a:gd name="T33" fmla="*/ 88 h 238"/>
                  <a:gd name="T34" fmla="*/ 108 w 186"/>
                  <a:gd name="T35" fmla="*/ 98 h 238"/>
                  <a:gd name="T36" fmla="*/ 104 w 186"/>
                  <a:gd name="T37" fmla="*/ 108 h 238"/>
                  <a:gd name="T38" fmla="*/ 100 w 186"/>
                  <a:gd name="T39" fmla="*/ 120 h 238"/>
                  <a:gd name="T40" fmla="*/ 98 w 186"/>
                  <a:gd name="T41" fmla="*/ 148 h 238"/>
                  <a:gd name="T42" fmla="*/ 92 w 186"/>
                  <a:gd name="T43" fmla="*/ 238 h 238"/>
                  <a:gd name="T44" fmla="*/ 0 w 186"/>
                  <a:gd name="T45" fmla="*/ 238 h 238"/>
                  <a:gd name="T46" fmla="*/ 14 w 186"/>
                  <a:gd name="T47" fmla="*/ 62 h 238"/>
                  <a:gd name="T48" fmla="*/ 14 w 186"/>
                  <a:gd name="T49" fmla="*/ 62 h 238"/>
                  <a:gd name="T50" fmla="*/ 14 w 186"/>
                  <a:gd name="T51" fmla="*/ 32 h 238"/>
                  <a:gd name="T52" fmla="*/ 14 w 186"/>
                  <a:gd name="T53" fmla="*/ 0 h 238"/>
                  <a:gd name="T54" fmla="*/ 102 w 186"/>
                  <a:gd name="T55" fmla="*/ 0 h 238"/>
                  <a:gd name="T56" fmla="*/ 106 w 186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6" h="238">
                    <a:moveTo>
                      <a:pt x="106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6" y="24"/>
                    </a:lnTo>
                    <a:lnTo>
                      <a:pt x="124" y="16"/>
                    </a:lnTo>
                    <a:lnTo>
                      <a:pt x="134" y="10"/>
                    </a:lnTo>
                    <a:lnTo>
                      <a:pt x="144" y="6"/>
                    </a:lnTo>
                    <a:lnTo>
                      <a:pt x="154" y="4"/>
                    </a:lnTo>
                    <a:lnTo>
                      <a:pt x="164" y="2"/>
                    </a:lnTo>
                    <a:lnTo>
                      <a:pt x="186" y="0"/>
                    </a:lnTo>
                    <a:lnTo>
                      <a:pt x="180" y="76"/>
                    </a:lnTo>
                    <a:lnTo>
                      <a:pt x="180" y="76"/>
                    </a:lnTo>
                    <a:lnTo>
                      <a:pt x="162" y="76"/>
                    </a:lnTo>
                    <a:lnTo>
                      <a:pt x="162" y="76"/>
                    </a:lnTo>
                    <a:lnTo>
                      <a:pt x="142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4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6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23923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rcRect l="2515" r="8595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356DA29-6D0A-42AD-8E71-A3F1B6103BC2}"/>
              </a:ext>
            </a:extLst>
          </p:cNvPr>
          <p:cNvGrpSpPr/>
          <p:nvPr/>
        </p:nvGrpSpPr>
        <p:grpSpPr>
          <a:xfrm>
            <a:off x="270622" y="6342145"/>
            <a:ext cx="2165537" cy="271230"/>
            <a:chOff x="158750" y="276225"/>
            <a:chExt cx="6388100" cy="800100"/>
          </a:xfrm>
          <a:solidFill>
            <a:schemeClr val="bg1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740A8BE4-4BB4-44EA-81ED-F557033A48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750" y="276225"/>
              <a:ext cx="857250" cy="736600"/>
            </a:xfrm>
            <a:custGeom>
              <a:avLst/>
              <a:gdLst>
                <a:gd name="T0" fmla="*/ 298 w 540"/>
                <a:gd name="T1" fmla="*/ 0 h 464"/>
                <a:gd name="T2" fmla="*/ 374 w 540"/>
                <a:gd name="T3" fmla="*/ 18 h 464"/>
                <a:gd name="T4" fmla="*/ 442 w 540"/>
                <a:gd name="T5" fmla="*/ 52 h 464"/>
                <a:gd name="T6" fmla="*/ 494 w 540"/>
                <a:gd name="T7" fmla="*/ 102 h 464"/>
                <a:gd name="T8" fmla="*/ 528 w 540"/>
                <a:gd name="T9" fmla="*/ 162 h 464"/>
                <a:gd name="T10" fmla="*/ 540 w 540"/>
                <a:gd name="T11" fmla="*/ 232 h 464"/>
                <a:gd name="T12" fmla="*/ 534 w 540"/>
                <a:gd name="T13" fmla="*/ 278 h 464"/>
                <a:gd name="T14" fmla="*/ 506 w 540"/>
                <a:gd name="T15" fmla="*/ 342 h 464"/>
                <a:gd name="T16" fmla="*/ 460 w 540"/>
                <a:gd name="T17" fmla="*/ 396 h 464"/>
                <a:gd name="T18" fmla="*/ 398 w 540"/>
                <a:gd name="T19" fmla="*/ 436 h 464"/>
                <a:gd name="T20" fmla="*/ 324 w 540"/>
                <a:gd name="T21" fmla="*/ 460 h 464"/>
                <a:gd name="T22" fmla="*/ 270 w 540"/>
                <a:gd name="T23" fmla="*/ 464 h 464"/>
                <a:gd name="T24" fmla="*/ 190 w 540"/>
                <a:gd name="T25" fmla="*/ 454 h 464"/>
                <a:gd name="T26" fmla="*/ 118 w 540"/>
                <a:gd name="T27" fmla="*/ 424 h 464"/>
                <a:gd name="T28" fmla="*/ 62 w 540"/>
                <a:gd name="T29" fmla="*/ 380 h 464"/>
                <a:gd name="T30" fmla="*/ 20 w 540"/>
                <a:gd name="T31" fmla="*/ 322 h 464"/>
                <a:gd name="T32" fmla="*/ 2 w 540"/>
                <a:gd name="T33" fmla="*/ 256 h 464"/>
                <a:gd name="T34" fmla="*/ 2 w 540"/>
                <a:gd name="T35" fmla="*/ 208 h 464"/>
                <a:gd name="T36" fmla="*/ 20 w 540"/>
                <a:gd name="T37" fmla="*/ 142 h 464"/>
                <a:gd name="T38" fmla="*/ 62 w 540"/>
                <a:gd name="T39" fmla="*/ 84 h 464"/>
                <a:gd name="T40" fmla="*/ 118 w 540"/>
                <a:gd name="T41" fmla="*/ 40 h 464"/>
                <a:gd name="T42" fmla="*/ 190 w 540"/>
                <a:gd name="T43" fmla="*/ 10 h 464"/>
                <a:gd name="T44" fmla="*/ 270 w 540"/>
                <a:gd name="T45" fmla="*/ 0 h 464"/>
                <a:gd name="T46" fmla="*/ 270 w 540"/>
                <a:gd name="T47" fmla="*/ 232 h 464"/>
                <a:gd name="T48" fmla="*/ 220 w 540"/>
                <a:gd name="T49" fmla="*/ 196 h 464"/>
                <a:gd name="T50" fmla="*/ 208 w 540"/>
                <a:gd name="T51" fmla="*/ 176 h 464"/>
                <a:gd name="T52" fmla="*/ 156 w 540"/>
                <a:gd name="T53" fmla="*/ 130 h 464"/>
                <a:gd name="T54" fmla="*/ 76 w 540"/>
                <a:gd name="T55" fmla="*/ 152 h 464"/>
                <a:gd name="T56" fmla="*/ 130 w 540"/>
                <a:gd name="T57" fmla="*/ 204 h 464"/>
                <a:gd name="T58" fmla="*/ 138 w 540"/>
                <a:gd name="T59" fmla="*/ 230 h 464"/>
                <a:gd name="T60" fmla="*/ 132 w 540"/>
                <a:gd name="T61" fmla="*/ 244 h 464"/>
                <a:gd name="T62" fmla="*/ 108 w 540"/>
                <a:gd name="T63" fmla="*/ 250 h 464"/>
                <a:gd name="T64" fmla="*/ 38 w 540"/>
                <a:gd name="T65" fmla="*/ 330 h 464"/>
                <a:gd name="T66" fmla="*/ 146 w 540"/>
                <a:gd name="T67" fmla="*/ 330 h 464"/>
                <a:gd name="T68" fmla="*/ 186 w 540"/>
                <a:gd name="T69" fmla="*/ 320 h 464"/>
                <a:gd name="T70" fmla="*/ 214 w 540"/>
                <a:gd name="T71" fmla="*/ 296 h 464"/>
                <a:gd name="T72" fmla="*/ 320 w 540"/>
                <a:gd name="T73" fmla="*/ 390 h 464"/>
                <a:gd name="T74" fmla="*/ 326 w 540"/>
                <a:gd name="T75" fmla="*/ 296 h 464"/>
                <a:gd name="T76" fmla="*/ 352 w 540"/>
                <a:gd name="T77" fmla="*/ 320 h 464"/>
                <a:gd name="T78" fmla="*/ 392 w 540"/>
                <a:gd name="T79" fmla="*/ 330 h 464"/>
                <a:gd name="T80" fmla="*/ 500 w 540"/>
                <a:gd name="T81" fmla="*/ 250 h 464"/>
                <a:gd name="T82" fmla="*/ 432 w 540"/>
                <a:gd name="T83" fmla="*/ 250 h 464"/>
                <a:gd name="T84" fmla="*/ 408 w 540"/>
                <a:gd name="T85" fmla="*/ 244 h 464"/>
                <a:gd name="T86" fmla="*/ 400 w 540"/>
                <a:gd name="T87" fmla="*/ 230 h 464"/>
                <a:gd name="T88" fmla="*/ 410 w 540"/>
                <a:gd name="T89" fmla="*/ 204 h 464"/>
                <a:gd name="T90" fmla="*/ 462 w 540"/>
                <a:gd name="T91" fmla="*/ 152 h 464"/>
                <a:gd name="T92" fmla="*/ 382 w 540"/>
                <a:gd name="T93" fmla="*/ 130 h 464"/>
                <a:gd name="T94" fmla="*/ 330 w 540"/>
                <a:gd name="T95" fmla="*/ 176 h 464"/>
                <a:gd name="T96" fmla="*/ 320 w 540"/>
                <a:gd name="T97" fmla="*/ 19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40" h="464">
                  <a:moveTo>
                    <a:pt x="270" y="0"/>
                  </a:moveTo>
                  <a:lnTo>
                    <a:pt x="270" y="0"/>
                  </a:lnTo>
                  <a:lnTo>
                    <a:pt x="298" y="0"/>
                  </a:lnTo>
                  <a:lnTo>
                    <a:pt x="324" y="4"/>
                  </a:lnTo>
                  <a:lnTo>
                    <a:pt x="350" y="10"/>
                  </a:lnTo>
                  <a:lnTo>
                    <a:pt x="374" y="18"/>
                  </a:lnTo>
                  <a:lnTo>
                    <a:pt x="398" y="28"/>
                  </a:lnTo>
                  <a:lnTo>
                    <a:pt x="420" y="40"/>
                  </a:lnTo>
                  <a:lnTo>
                    <a:pt x="442" y="52"/>
                  </a:lnTo>
                  <a:lnTo>
                    <a:pt x="460" y="68"/>
                  </a:lnTo>
                  <a:lnTo>
                    <a:pt x="478" y="84"/>
                  </a:lnTo>
                  <a:lnTo>
                    <a:pt x="494" y="102"/>
                  </a:lnTo>
                  <a:lnTo>
                    <a:pt x="506" y="122"/>
                  </a:lnTo>
                  <a:lnTo>
                    <a:pt x="518" y="142"/>
                  </a:lnTo>
                  <a:lnTo>
                    <a:pt x="528" y="162"/>
                  </a:lnTo>
                  <a:lnTo>
                    <a:pt x="534" y="184"/>
                  </a:lnTo>
                  <a:lnTo>
                    <a:pt x="538" y="208"/>
                  </a:lnTo>
                  <a:lnTo>
                    <a:pt x="540" y="232"/>
                  </a:lnTo>
                  <a:lnTo>
                    <a:pt x="540" y="232"/>
                  </a:lnTo>
                  <a:lnTo>
                    <a:pt x="538" y="256"/>
                  </a:lnTo>
                  <a:lnTo>
                    <a:pt x="534" y="278"/>
                  </a:lnTo>
                  <a:lnTo>
                    <a:pt x="528" y="300"/>
                  </a:lnTo>
                  <a:lnTo>
                    <a:pt x="518" y="322"/>
                  </a:lnTo>
                  <a:lnTo>
                    <a:pt x="506" y="342"/>
                  </a:lnTo>
                  <a:lnTo>
                    <a:pt x="494" y="362"/>
                  </a:lnTo>
                  <a:lnTo>
                    <a:pt x="478" y="380"/>
                  </a:lnTo>
                  <a:lnTo>
                    <a:pt x="460" y="396"/>
                  </a:lnTo>
                  <a:lnTo>
                    <a:pt x="442" y="410"/>
                  </a:lnTo>
                  <a:lnTo>
                    <a:pt x="420" y="424"/>
                  </a:lnTo>
                  <a:lnTo>
                    <a:pt x="398" y="436"/>
                  </a:lnTo>
                  <a:lnTo>
                    <a:pt x="374" y="446"/>
                  </a:lnTo>
                  <a:lnTo>
                    <a:pt x="350" y="454"/>
                  </a:lnTo>
                  <a:lnTo>
                    <a:pt x="324" y="460"/>
                  </a:lnTo>
                  <a:lnTo>
                    <a:pt x="298" y="462"/>
                  </a:lnTo>
                  <a:lnTo>
                    <a:pt x="270" y="464"/>
                  </a:lnTo>
                  <a:lnTo>
                    <a:pt x="270" y="464"/>
                  </a:lnTo>
                  <a:lnTo>
                    <a:pt x="242" y="462"/>
                  </a:lnTo>
                  <a:lnTo>
                    <a:pt x="216" y="458"/>
                  </a:lnTo>
                  <a:lnTo>
                    <a:pt x="190" y="454"/>
                  </a:lnTo>
                  <a:lnTo>
                    <a:pt x="164" y="446"/>
                  </a:lnTo>
                  <a:lnTo>
                    <a:pt x="140" y="436"/>
                  </a:lnTo>
                  <a:lnTo>
                    <a:pt x="118" y="424"/>
                  </a:lnTo>
                  <a:lnTo>
                    <a:pt x="98" y="410"/>
                  </a:lnTo>
                  <a:lnTo>
                    <a:pt x="78" y="396"/>
                  </a:lnTo>
                  <a:lnTo>
                    <a:pt x="62" y="380"/>
                  </a:lnTo>
                  <a:lnTo>
                    <a:pt x="46" y="362"/>
                  </a:lnTo>
                  <a:lnTo>
                    <a:pt x="32" y="342"/>
                  </a:lnTo>
                  <a:lnTo>
                    <a:pt x="20" y="322"/>
                  </a:lnTo>
                  <a:lnTo>
                    <a:pt x="12" y="300"/>
                  </a:lnTo>
                  <a:lnTo>
                    <a:pt x="6" y="278"/>
                  </a:lnTo>
                  <a:lnTo>
                    <a:pt x="2" y="256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08"/>
                  </a:lnTo>
                  <a:lnTo>
                    <a:pt x="6" y="184"/>
                  </a:lnTo>
                  <a:lnTo>
                    <a:pt x="12" y="162"/>
                  </a:lnTo>
                  <a:lnTo>
                    <a:pt x="20" y="142"/>
                  </a:lnTo>
                  <a:lnTo>
                    <a:pt x="32" y="120"/>
                  </a:lnTo>
                  <a:lnTo>
                    <a:pt x="46" y="102"/>
                  </a:lnTo>
                  <a:lnTo>
                    <a:pt x="62" y="84"/>
                  </a:lnTo>
                  <a:lnTo>
                    <a:pt x="78" y="68"/>
                  </a:lnTo>
                  <a:lnTo>
                    <a:pt x="98" y="52"/>
                  </a:lnTo>
                  <a:lnTo>
                    <a:pt x="118" y="40"/>
                  </a:lnTo>
                  <a:lnTo>
                    <a:pt x="140" y="28"/>
                  </a:lnTo>
                  <a:lnTo>
                    <a:pt x="164" y="18"/>
                  </a:lnTo>
                  <a:lnTo>
                    <a:pt x="190" y="10"/>
                  </a:lnTo>
                  <a:lnTo>
                    <a:pt x="216" y="4"/>
                  </a:lnTo>
                  <a:lnTo>
                    <a:pt x="242" y="0"/>
                  </a:lnTo>
                  <a:lnTo>
                    <a:pt x="270" y="0"/>
                  </a:lnTo>
                  <a:lnTo>
                    <a:pt x="270" y="0"/>
                  </a:lnTo>
                  <a:close/>
                  <a:moveTo>
                    <a:pt x="270" y="232"/>
                  </a:moveTo>
                  <a:lnTo>
                    <a:pt x="270" y="232"/>
                  </a:lnTo>
                  <a:close/>
                  <a:moveTo>
                    <a:pt x="220" y="50"/>
                  </a:moveTo>
                  <a:lnTo>
                    <a:pt x="220" y="50"/>
                  </a:lnTo>
                  <a:lnTo>
                    <a:pt x="220" y="196"/>
                  </a:lnTo>
                  <a:lnTo>
                    <a:pt x="220" y="196"/>
                  </a:lnTo>
                  <a:lnTo>
                    <a:pt x="214" y="186"/>
                  </a:lnTo>
                  <a:lnTo>
                    <a:pt x="208" y="176"/>
                  </a:lnTo>
                  <a:lnTo>
                    <a:pt x="194" y="160"/>
                  </a:lnTo>
                  <a:lnTo>
                    <a:pt x="176" y="144"/>
                  </a:lnTo>
                  <a:lnTo>
                    <a:pt x="156" y="130"/>
                  </a:lnTo>
                  <a:lnTo>
                    <a:pt x="48" y="130"/>
                  </a:lnTo>
                  <a:lnTo>
                    <a:pt x="48" y="130"/>
                  </a:lnTo>
                  <a:lnTo>
                    <a:pt x="76" y="152"/>
                  </a:lnTo>
                  <a:lnTo>
                    <a:pt x="106" y="178"/>
                  </a:lnTo>
                  <a:lnTo>
                    <a:pt x="120" y="192"/>
                  </a:lnTo>
                  <a:lnTo>
                    <a:pt x="130" y="204"/>
                  </a:lnTo>
                  <a:lnTo>
                    <a:pt x="136" y="218"/>
                  </a:lnTo>
                  <a:lnTo>
                    <a:pt x="138" y="230"/>
                  </a:lnTo>
                  <a:lnTo>
                    <a:pt x="138" y="230"/>
                  </a:lnTo>
                  <a:lnTo>
                    <a:pt x="138" y="236"/>
                  </a:lnTo>
                  <a:lnTo>
                    <a:pt x="136" y="240"/>
                  </a:lnTo>
                  <a:lnTo>
                    <a:pt x="132" y="244"/>
                  </a:lnTo>
                  <a:lnTo>
                    <a:pt x="128" y="246"/>
                  </a:lnTo>
                  <a:lnTo>
                    <a:pt x="11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38" y="25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146" y="330"/>
                  </a:lnTo>
                  <a:lnTo>
                    <a:pt x="146" y="330"/>
                  </a:lnTo>
                  <a:lnTo>
                    <a:pt x="166" y="328"/>
                  </a:lnTo>
                  <a:lnTo>
                    <a:pt x="176" y="324"/>
                  </a:lnTo>
                  <a:lnTo>
                    <a:pt x="186" y="320"/>
                  </a:lnTo>
                  <a:lnTo>
                    <a:pt x="196" y="314"/>
                  </a:lnTo>
                  <a:lnTo>
                    <a:pt x="206" y="306"/>
                  </a:lnTo>
                  <a:lnTo>
                    <a:pt x="214" y="296"/>
                  </a:lnTo>
                  <a:lnTo>
                    <a:pt x="220" y="284"/>
                  </a:lnTo>
                  <a:lnTo>
                    <a:pt x="220" y="390"/>
                  </a:lnTo>
                  <a:lnTo>
                    <a:pt x="320" y="390"/>
                  </a:lnTo>
                  <a:lnTo>
                    <a:pt x="320" y="284"/>
                  </a:lnTo>
                  <a:lnTo>
                    <a:pt x="320" y="284"/>
                  </a:lnTo>
                  <a:lnTo>
                    <a:pt x="326" y="296"/>
                  </a:lnTo>
                  <a:lnTo>
                    <a:pt x="334" y="306"/>
                  </a:lnTo>
                  <a:lnTo>
                    <a:pt x="342" y="314"/>
                  </a:lnTo>
                  <a:lnTo>
                    <a:pt x="352" y="320"/>
                  </a:lnTo>
                  <a:lnTo>
                    <a:pt x="362" y="324"/>
                  </a:lnTo>
                  <a:lnTo>
                    <a:pt x="372" y="328"/>
                  </a:lnTo>
                  <a:lnTo>
                    <a:pt x="392" y="330"/>
                  </a:lnTo>
                  <a:lnTo>
                    <a:pt x="392" y="330"/>
                  </a:lnTo>
                  <a:lnTo>
                    <a:pt x="500" y="330"/>
                  </a:lnTo>
                  <a:lnTo>
                    <a:pt x="500" y="250"/>
                  </a:lnTo>
                  <a:lnTo>
                    <a:pt x="500" y="250"/>
                  </a:lnTo>
                  <a:lnTo>
                    <a:pt x="432" y="250"/>
                  </a:lnTo>
                  <a:lnTo>
                    <a:pt x="432" y="250"/>
                  </a:lnTo>
                  <a:lnTo>
                    <a:pt x="422" y="250"/>
                  </a:lnTo>
                  <a:lnTo>
                    <a:pt x="412" y="246"/>
                  </a:lnTo>
                  <a:lnTo>
                    <a:pt x="408" y="244"/>
                  </a:lnTo>
                  <a:lnTo>
                    <a:pt x="404" y="240"/>
                  </a:lnTo>
                  <a:lnTo>
                    <a:pt x="402" y="236"/>
                  </a:lnTo>
                  <a:lnTo>
                    <a:pt x="400" y="230"/>
                  </a:lnTo>
                  <a:lnTo>
                    <a:pt x="400" y="230"/>
                  </a:lnTo>
                  <a:lnTo>
                    <a:pt x="402" y="218"/>
                  </a:lnTo>
                  <a:lnTo>
                    <a:pt x="410" y="204"/>
                  </a:lnTo>
                  <a:lnTo>
                    <a:pt x="420" y="192"/>
                  </a:lnTo>
                  <a:lnTo>
                    <a:pt x="432" y="178"/>
                  </a:lnTo>
                  <a:lnTo>
                    <a:pt x="462" y="152"/>
                  </a:lnTo>
                  <a:lnTo>
                    <a:pt x="492" y="130"/>
                  </a:lnTo>
                  <a:lnTo>
                    <a:pt x="382" y="130"/>
                  </a:lnTo>
                  <a:lnTo>
                    <a:pt x="382" y="130"/>
                  </a:lnTo>
                  <a:lnTo>
                    <a:pt x="364" y="144"/>
                  </a:lnTo>
                  <a:lnTo>
                    <a:pt x="346" y="160"/>
                  </a:lnTo>
                  <a:lnTo>
                    <a:pt x="330" y="176"/>
                  </a:lnTo>
                  <a:lnTo>
                    <a:pt x="324" y="186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20" y="50"/>
                  </a:lnTo>
                  <a:lnTo>
                    <a:pt x="22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5C38D3EF-421D-4733-83B1-0900F8CF8D4F}"/>
                </a:ext>
              </a:extLst>
            </p:cNvPr>
            <p:cNvGrpSpPr/>
            <p:nvPr/>
          </p:nvGrpSpPr>
          <p:grpSpPr>
            <a:xfrm>
              <a:off x="1314450" y="339725"/>
              <a:ext cx="5232400" cy="736600"/>
              <a:chOff x="1314450" y="339725"/>
              <a:chExt cx="5232400" cy="736600"/>
            </a:xfrm>
            <a:grpFill/>
          </p:grpSpPr>
          <p:sp>
            <p:nvSpPr>
              <p:cNvPr id="8" name="Freeform 9">
                <a:extLst>
                  <a:ext uri="{FF2B5EF4-FFF2-40B4-BE49-F238E27FC236}">
                    <a16:creationId xmlns:a16="http://schemas.microsoft.com/office/drawing/2014/main" id="{178FCD42-47FC-447D-BD4A-9F10D58E40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8175" y="352425"/>
                <a:ext cx="139700" cy="98425"/>
              </a:xfrm>
              <a:custGeom>
                <a:avLst/>
                <a:gdLst>
                  <a:gd name="T0" fmla="*/ 4 w 88"/>
                  <a:gd name="T1" fmla="*/ 0 h 62"/>
                  <a:gd name="T2" fmla="*/ 88 w 88"/>
                  <a:gd name="T3" fmla="*/ 0 h 62"/>
                  <a:gd name="T4" fmla="*/ 84 w 88"/>
                  <a:gd name="T5" fmla="*/ 62 h 62"/>
                  <a:gd name="T6" fmla="*/ 0 w 88"/>
                  <a:gd name="T7" fmla="*/ 62 h 62"/>
                  <a:gd name="T8" fmla="*/ 4 w 88"/>
                  <a:gd name="T9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" h="62">
                    <a:moveTo>
                      <a:pt x="4" y="0"/>
                    </a:moveTo>
                    <a:lnTo>
                      <a:pt x="88" y="0"/>
                    </a:lnTo>
                    <a:lnTo>
                      <a:pt x="84" y="62"/>
                    </a:lnTo>
                    <a:lnTo>
                      <a:pt x="0" y="6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" name="Freeform 10">
                <a:extLst>
                  <a:ext uri="{FF2B5EF4-FFF2-40B4-BE49-F238E27FC236}">
                    <a16:creationId xmlns:a16="http://schemas.microsoft.com/office/drawing/2014/main" id="{B36A55A5-7887-4C06-824A-733573BC88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97500" y="504825"/>
                <a:ext cx="393700" cy="393700"/>
              </a:xfrm>
              <a:custGeom>
                <a:avLst/>
                <a:gdLst>
                  <a:gd name="T0" fmla="*/ 152 w 248"/>
                  <a:gd name="T1" fmla="*/ 216 h 248"/>
                  <a:gd name="T2" fmla="*/ 138 w 248"/>
                  <a:gd name="T3" fmla="*/ 228 h 248"/>
                  <a:gd name="T4" fmla="*/ 112 w 248"/>
                  <a:gd name="T5" fmla="*/ 242 h 248"/>
                  <a:gd name="T6" fmla="*/ 92 w 248"/>
                  <a:gd name="T7" fmla="*/ 246 h 248"/>
                  <a:gd name="T8" fmla="*/ 80 w 248"/>
                  <a:gd name="T9" fmla="*/ 248 h 248"/>
                  <a:gd name="T10" fmla="*/ 44 w 248"/>
                  <a:gd name="T11" fmla="*/ 242 h 248"/>
                  <a:gd name="T12" fmla="*/ 18 w 248"/>
                  <a:gd name="T13" fmla="*/ 226 h 248"/>
                  <a:gd name="T14" fmla="*/ 4 w 248"/>
                  <a:gd name="T15" fmla="*/ 202 h 248"/>
                  <a:gd name="T16" fmla="*/ 0 w 248"/>
                  <a:gd name="T17" fmla="*/ 174 h 248"/>
                  <a:gd name="T18" fmla="*/ 2 w 248"/>
                  <a:gd name="T19" fmla="*/ 156 h 248"/>
                  <a:gd name="T20" fmla="*/ 20 w 248"/>
                  <a:gd name="T21" fmla="*/ 128 h 248"/>
                  <a:gd name="T22" fmla="*/ 54 w 248"/>
                  <a:gd name="T23" fmla="*/ 108 h 248"/>
                  <a:gd name="T24" fmla="*/ 104 w 248"/>
                  <a:gd name="T25" fmla="*/ 98 h 248"/>
                  <a:gd name="T26" fmla="*/ 162 w 248"/>
                  <a:gd name="T27" fmla="*/ 96 h 248"/>
                  <a:gd name="T28" fmla="*/ 164 w 248"/>
                  <a:gd name="T29" fmla="*/ 78 h 248"/>
                  <a:gd name="T30" fmla="*/ 162 w 248"/>
                  <a:gd name="T31" fmla="*/ 60 h 248"/>
                  <a:gd name="T32" fmla="*/ 154 w 248"/>
                  <a:gd name="T33" fmla="*/ 46 h 248"/>
                  <a:gd name="T34" fmla="*/ 136 w 248"/>
                  <a:gd name="T35" fmla="*/ 40 h 248"/>
                  <a:gd name="T36" fmla="*/ 126 w 248"/>
                  <a:gd name="T37" fmla="*/ 42 h 248"/>
                  <a:gd name="T38" fmla="*/ 114 w 248"/>
                  <a:gd name="T39" fmla="*/ 48 h 248"/>
                  <a:gd name="T40" fmla="*/ 106 w 248"/>
                  <a:gd name="T41" fmla="*/ 66 h 248"/>
                  <a:gd name="T42" fmla="*/ 22 w 248"/>
                  <a:gd name="T43" fmla="*/ 76 h 248"/>
                  <a:gd name="T44" fmla="*/ 24 w 248"/>
                  <a:gd name="T45" fmla="*/ 66 h 248"/>
                  <a:gd name="T46" fmla="*/ 28 w 248"/>
                  <a:gd name="T47" fmla="*/ 46 h 248"/>
                  <a:gd name="T48" fmla="*/ 38 w 248"/>
                  <a:gd name="T49" fmla="*/ 30 h 248"/>
                  <a:gd name="T50" fmla="*/ 54 w 248"/>
                  <a:gd name="T51" fmla="*/ 18 h 248"/>
                  <a:gd name="T52" fmla="*/ 62 w 248"/>
                  <a:gd name="T53" fmla="*/ 14 h 248"/>
                  <a:gd name="T54" fmla="*/ 102 w 248"/>
                  <a:gd name="T55" fmla="*/ 2 h 248"/>
                  <a:gd name="T56" fmla="*/ 144 w 248"/>
                  <a:gd name="T57" fmla="*/ 0 h 248"/>
                  <a:gd name="T58" fmla="*/ 164 w 248"/>
                  <a:gd name="T59" fmla="*/ 0 h 248"/>
                  <a:gd name="T60" fmla="*/ 200 w 248"/>
                  <a:gd name="T61" fmla="*/ 10 h 248"/>
                  <a:gd name="T62" fmla="*/ 230 w 248"/>
                  <a:gd name="T63" fmla="*/ 30 h 248"/>
                  <a:gd name="T64" fmla="*/ 240 w 248"/>
                  <a:gd name="T65" fmla="*/ 44 h 248"/>
                  <a:gd name="T66" fmla="*/ 246 w 248"/>
                  <a:gd name="T67" fmla="*/ 62 h 248"/>
                  <a:gd name="T68" fmla="*/ 248 w 248"/>
                  <a:gd name="T69" fmla="*/ 82 h 248"/>
                  <a:gd name="T70" fmla="*/ 242 w 248"/>
                  <a:gd name="T71" fmla="*/ 196 h 248"/>
                  <a:gd name="T72" fmla="*/ 242 w 248"/>
                  <a:gd name="T73" fmla="*/ 246 h 248"/>
                  <a:gd name="T74" fmla="*/ 152 w 248"/>
                  <a:gd name="T75" fmla="*/ 216 h 248"/>
                  <a:gd name="T76" fmla="*/ 114 w 248"/>
                  <a:gd name="T77" fmla="*/ 200 h 248"/>
                  <a:gd name="T78" fmla="*/ 138 w 248"/>
                  <a:gd name="T79" fmla="*/ 194 h 248"/>
                  <a:gd name="T80" fmla="*/ 152 w 248"/>
                  <a:gd name="T81" fmla="*/ 176 h 248"/>
                  <a:gd name="T82" fmla="*/ 158 w 248"/>
                  <a:gd name="T83" fmla="*/ 154 h 248"/>
                  <a:gd name="T84" fmla="*/ 160 w 248"/>
                  <a:gd name="T85" fmla="*/ 130 h 248"/>
                  <a:gd name="T86" fmla="*/ 122 w 248"/>
                  <a:gd name="T87" fmla="*/ 132 h 248"/>
                  <a:gd name="T88" fmla="*/ 110 w 248"/>
                  <a:gd name="T89" fmla="*/ 134 h 248"/>
                  <a:gd name="T90" fmla="*/ 94 w 248"/>
                  <a:gd name="T91" fmla="*/ 148 h 248"/>
                  <a:gd name="T92" fmla="*/ 86 w 248"/>
                  <a:gd name="T93" fmla="*/ 170 h 248"/>
                  <a:gd name="T94" fmla="*/ 86 w 248"/>
                  <a:gd name="T95" fmla="*/ 176 h 248"/>
                  <a:gd name="T96" fmla="*/ 92 w 248"/>
                  <a:gd name="T97" fmla="*/ 192 h 248"/>
                  <a:gd name="T98" fmla="*/ 102 w 248"/>
                  <a:gd name="T99" fmla="*/ 198 h 248"/>
                  <a:gd name="T100" fmla="*/ 114 w 248"/>
                  <a:gd name="T101" fmla="*/ 20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8" h="248">
                    <a:moveTo>
                      <a:pt x="152" y="216"/>
                    </a:moveTo>
                    <a:lnTo>
                      <a:pt x="152" y="216"/>
                    </a:lnTo>
                    <a:lnTo>
                      <a:pt x="152" y="216"/>
                    </a:lnTo>
                    <a:lnTo>
                      <a:pt x="138" y="228"/>
                    </a:lnTo>
                    <a:lnTo>
                      <a:pt x="122" y="238"/>
                    </a:lnTo>
                    <a:lnTo>
                      <a:pt x="112" y="242"/>
                    </a:lnTo>
                    <a:lnTo>
                      <a:pt x="102" y="246"/>
                    </a:lnTo>
                    <a:lnTo>
                      <a:pt x="92" y="246"/>
                    </a:lnTo>
                    <a:lnTo>
                      <a:pt x="80" y="248"/>
                    </a:lnTo>
                    <a:lnTo>
                      <a:pt x="80" y="248"/>
                    </a:lnTo>
                    <a:lnTo>
                      <a:pt x="60" y="246"/>
                    </a:lnTo>
                    <a:lnTo>
                      <a:pt x="44" y="242"/>
                    </a:lnTo>
                    <a:lnTo>
                      <a:pt x="30" y="234"/>
                    </a:lnTo>
                    <a:lnTo>
                      <a:pt x="18" y="226"/>
                    </a:lnTo>
                    <a:lnTo>
                      <a:pt x="10" y="216"/>
                    </a:lnTo>
                    <a:lnTo>
                      <a:pt x="4" y="202"/>
                    </a:lnTo>
                    <a:lnTo>
                      <a:pt x="0" y="188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2" y="156"/>
                    </a:lnTo>
                    <a:lnTo>
                      <a:pt x="8" y="142"/>
                    </a:lnTo>
                    <a:lnTo>
                      <a:pt x="20" y="128"/>
                    </a:lnTo>
                    <a:lnTo>
                      <a:pt x="34" y="116"/>
                    </a:lnTo>
                    <a:lnTo>
                      <a:pt x="54" y="108"/>
                    </a:lnTo>
                    <a:lnTo>
                      <a:pt x="76" y="102"/>
                    </a:lnTo>
                    <a:lnTo>
                      <a:pt x="104" y="98"/>
                    </a:lnTo>
                    <a:lnTo>
                      <a:pt x="134" y="96"/>
                    </a:lnTo>
                    <a:lnTo>
                      <a:pt x="162" y="96"/>
                    </a:lnTo>
                    <a:lnTo>
                      <a:pt x="162" y="96"/>
                    </a:lnTo>
                    <a:lnTo>
                      <a:pt x="164" y="78"/>
                    </a:lnTo>
                    <a:lnTo>
                      <a:pt x="164" y="70"/>
                    </a:lnTo>
                    <a:lnTo>
                      <a:pt x="162" y="60"/>
                    </a:lnTo>
                    <a:lnTo>
                      <a:pt x="160" y="52"/>
                    </a:lnTo>
                    <a:lnTo>
                      <a:pt x="154" y="46"/>
                    </a:lnTo>
                    <a:lnTo>
                      <a:pt x="146" y="42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26" y="42"/>
                    </a:lnTo>
                    <a:lnTo>
                      <a:pt x="120" y="44"/>
                    </a:lnTo>
                    <a:lnTo>
                      <a:pt x="114" y="48"/>
                    </a:lnTo>
                    <a:lnTo>
                      <a:pt x="110" y="54"/>
                    </a:lnTo>
                    <a:lnTo>
                      <a:pt x="106" y="66"/>
                    </a:lnTo>
                    <a:lnTo>
                      <a:pt x="104" y="76"/>
                    </a:lnTo>
                    <a:lnTo>
                      <a:pt x="22" y="76"/>
                    </a:lnTo>
                    <a:lnTo>
                      <a:pt x="22" y="76"/>
                    </a:lnTo>
                    <a:lnTo>
                      <a:pt x="24" y="66"/>
                    </a:lnTo>
                    <a:lnTo>
                      <a:pt x="26" y="54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38" y="30"/>
                    </a:lnTo>
                    <a:lnTo>
                      <a:pt x="46" y="24"/>
                    </a:lnTo>
                    <a:lnTo>
                      <a:pt x="54" y="18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2" y="6"/>
                    </a:lnTo>
                    <a:lnTo>
                      <a:pt x="102" y="2"/>
                    </a:lnTo>
                    <a:lnTo>
                      <a:pt x="124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64" y="0"/>
                    </a:lnTo>
                    <a:lnTo>
                      <a:pt x="182" y="4"/>
                    </a:lnTo>
                    <a:lnTo>
                      <a:pt x="200" y="10"/>
                    </a:lnTo>
                    <a:lnTo>
                      <a:pt x="216" y="18"/>
                    </a:lnTo>
                    <a:lnTo>
                      <a:pt x="230" y="30"/>
                    </a:lnTo>
                    <a:lnTo>
                      <a:pt x="236" y="38"/>
                    </a:lnTo>
                    <a:lnTo>
                      <a:pt x="240" y="44"/>
                    </a:lnTo>
                    <a:lnTo>
                      <a:pt x="244" y="52"/>
                    </a:lnTo>
                    <a:lnTo>
                      <a:pt x="246" y="62"/>
                    </a:lnTo>
                    <a:lnTo>
                      <a:pt x="248" y="72"/>
                    </a:lnTo>
                    <a:lnTo>
                      <a:pt x="248" y="82"/>
                    </a:lnTo>
                    <a:lnTo>
                      <a:pt x="242" y="196"/>
                    </a:lnTo>
                    <a:lnTo>
                      <a:pt x="242" y="196"/>
                    </a:lnTo>
                    <a:lnTo>
                      <a:pt x="240" y="214"/>
                    </a:lnTo>
                    <a:lnTo>
                      <a:pt x="242" y="246"/>
                    </a:lnTo>
                    <a:lnTo>
                      <a:pt x="158" y="246"/>
                    </a:lnTo>
                    <a:lnTo>
                      <a:pt x="152" y="216"/>
                    </a:lnTo>
                    <a:close/>
                    <a:moveTo>
                      <a:pt x="114" y="200"/>
                    </a:moveTo>
                    <a:lnTo>
                      <a:pt x="114" y="200"/>
                    </a:lnTo>
                    <a:lnTo>
                      <a:pt x="128" y="198"/>
                    </a:lnTo>
                    <a:lnTo>
                      <a:pt x="138" y="194"/>
                    </a:lnTo>
                    <a:lnTo>
                      <a:pt x="146" y="186"/>
                    </a:lnTo>
                    <a:lnTo>
                      <a:pt x="152" y="176"/>
                    </a:lnTo>
                    <a:lnTo>
                      <a:pt x="156" y="166"/>
                    </a:lnTo>
                    <a:lnTo>
                      <a:pt x="158" y="154"/>
                    </a:lnTo>
                    <a:lnTo>
                      <a:pt x="160" y="130"/>
                    </a:lnTo>
                    <a:lnTo>
                      <a:pt x="160" y="130"/>
                    </a:lnTo>
                    <a:lnTo>
                      <a:pt x="134" y="130"/>
                    </a:lnTo>
                    <a:lnTo>
                      <a:pt x="122" y="132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2" y="140"/>
                    </a:lnTo>
                    <a:lnTo>
                      <a:pt x="94" y="148"/>
                    </a:lnTo>
                    <a:lnTo>
                      <a:pt x="88" y="158"/>
                    </a:lnTo>
                    <a:lnTo>
                      <a:pt x="86" y="170"/>
                    </a:lnTo>
                    <a:lnTo>
                      <a:pt x="86" y="170"/>
                    </a:lnTo>
                    <a:lnTo>
                      <a:pt x="86" y="176"/>
                    </a:lnTo>
                    <a:lnTo>
                      <a:pt x="88" y="182"/>
                    </a:lnTo>
                    <a:lnTo>
                      <a:pt x="92" y="192"/>
                    </a:lnTo>
                    <a:lnTo>
                      <a:pt x="96" y="194"/>
                    </a:lnTo>
                    <a:lnTo>
                      <a:pt x="102" y="198"/>
                    </a:lnTo>
                    <a:lnTo>
                      <a:pt x="108" y="200"/>
                    </a:lnTo>
                    <a:lnTo>
                      <a:pt x="114" y="200"/>
                    </a:lnTo>
                    <a:lnTo>
                      <a:pt x="114" y="2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Freeform 11">
                <a:extLst>
                  <a:ext uri="{FF2B5EF4-FFF2-40B4-BE49-F238E27FC236}">
                    <a16:creationId xmlns:a16="http://schemas.microsoft.com/office/drawing/2014/main" id="{18AC3A23-EF36-4D81-ABDC-389239B5C0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92825" y="352425"/>
                <a:ext cx="454025" cy="542925"/>
              </a:xfrm>
              <a:custGeom>
                <a:avLst/>
                <a:gdLst>
                  <a:gd name="T0" fmla="*/ 0 w 286"/>
                  <a:gd name="T1" fmla="*/ 342 h 342"/>
                  <a:gd name="T2" fmla="*/ 24 w 286"/>
                  <a:gd name="T3" fmla="*/ 0 h 342"/>
                  <a:gd name="T4" fmla="*/ 114 w 286"/>
                  <a:gd name="T5" fmla="*/ 0 h 342"/>
                  <a:gd name="T6" fmla="*/ 90 w 286"/>
                  <a:gd name="T7" fmla="*/ 342 h 342"/>
                  <a:gd name="T8" fmla="*/ 0 w 286"/>
                  <a:gd name="T9" fmla="*/ 342 h 342"/>
                  <a:gd name="T10" fmla="*/ 100 w 286"/>
                  <a:gd name="T11" fmla="*/ 210 h 342"/>
                  <a:gd name="T12" fmla="*/ 184 w 286"/>
                  <a:gd name="T13" fmla="*/ 104 h 342"/>
                  <a:gd name="T14" fmla="*/ 286 w 286"/>
                  <a:gd name="T15" fmla="*/ 104 h 342"/>
                  <a:gd name="T16" fmla="*/ 194 w 286"/>
                  <a:gd name="T17" fmla="*/ 204 h 342"/>
                  <a:gd name="T18" fmla="*/ 282 w 286"/>
                  <a:gd name="T19" fmla="*/ 342 h 342"/>
                  <a:gd name="T20" fmla="*/ 170 w 286"/>
                  <a:gd name="T21" fmla="*/ 342 h 342"/>
                  <a:gd name="T22" fmla="*/ 100 w 286"/>
                  <a:gd name="T23" fmla="*/ 21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6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4" y="0"/>
                    </a:lnTo>
                    <a:lnTo>
                      <a:pt x="90" y="342"/>
                    </a:lnTo>
                    <a:lnTo>
                      <a:pt x="0" y="342"/>
                    </a:lnTo>
                    <a:close/>
                    <a:moveTo>
                      <a:pt x="100" y="210"/>
                    </a:moveTo>
                    <a:lnTo>
                      <a:pt x="184" y="104"/>
                    </a:lnTo>
                    <a:lnTo>
                      <a:pt x="286" y="104"/>
                    </a:lnTo>
                    <a:lnTo>
                      <a:pt x="194" y="204"/>
                    </a:lnTo>
                    <a:lnTo>
                      <a:pt x="282" y="342"/>
                    </a:lnTo>
                    <a:lnTo>
                      <a:pt x="170" y="342"/>
                    </a:lnTo>
                    <a:lnTo>
                      <a:pt x="10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Freeform 12">
                <a:extLst>
                  <a:ext uri="{FF2B5EF4-FFF2-40B4-BE49-F238E27FC236}">
                    <a16:creationId xmlns:a16="http://schemas.microsoft.com/office/drawing/2014/main" id="{A66A789A-EF0F-415C-92FD-D43843D9E7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6800" y="517525"/>
                <a:ext cx="292100" cy="377825"/>
              </a:xfrm>
              <a:custGeom>
                <a:avLst/>
                <a:gdLst>
                  <a:gd name="T0" fmla="*/ 104 w 184"/>
                  <a:gd name="T1" fmla="*/ 34 h 238"/>
                  <a:gd name="T2" fmla="*/ 106 w 184"/>
                  <a:gd name="T3" fmla="*/ 34 h 238"/>
                  <a:gd name="T4" fmla="*/ 106 w 184"/>
                  <a:gd name="T5" fmla="*/ 34 h 238"/>
                  <a:gd name="T6" fmla="*/ 114 w 184"/>
                  <a:gd name="T7" fmla="*/ 24 h 238"/>
                  <a:gd name="T8" fmla="*/ 124 w 184"/>
                  <a:gd name="T9" fmla="*/ 16 h 238"/>
                  <a:gd name="T10" fmla="*/ 132 w 184"/>
                  <a:gd name="T11" fmla="*/ 10 h 238"/>
                  <a:gd name="T12" fmla="*/ 142 w 184"/>
                  <a:gd name="T13" fmla="*/ 6 h 238"/>
                  <a:gd name="T14" fmla="*/ 152 w 184"/>
                  <a:gd name="T15" fmla="*/ 4 h 238"/>
                  <a:gd name="T16" fmla="*/ 162 w 184"/>
                  <a:gd name="T17" fmla="*/ 2 h 238"/>
                  <a:gd name="T18" fmla="*/ 184 w 184"/>
                  <a:gd name="T19" fmla="*/ 0 h 238"/>
                  <a:gd name="T20" fmla="*/ 178 w 184"/>
                  <a:gd name="T21" fmla="*/ 76 h 238"/>
                  <a:gd name="T22" fmla="*/ 178 w 184"/>
                  <a:gd name="T23" fmla="*/ 76 h 238"/>
                  <a:gd name="T24" fmla="*/ 160 w 184"/>
                  <a:gd name="T25" fmla="*/ 76 h 238"/>
                  <a:gd name="T26" fmla="*/ 160 w 184"/>
                  <a:gd name="T27" fmla="*/ 76 h 238"/>
                  <a:gd name="T28" fmla="*/ 140 w 184"/>
                  <a:gd name="T29" fmla="*/ 78 h 238"/>
                  <a:gd name="T30" fmla="*/ 126 w 184"/>
                  <a:gd name="T31" fmla="*/ 82 h 238"/>
                  <a:gd name="T32" fmla="*/ 116 w 184"/>
                  <a:gd name="T33" fmla="*/ 88 h 238"/>
                  <a:gd name="T34" fmla="*/ 108 w 184"/>
                  <a:gd name="T35" fmla="*/ 98 h 238"/>
                  <a:gd name="T36" fmla="*/ 102 w 184"/>
                  <a:gd name="T37" fmla="*/ 108 h 238"/>
                  <a:gd name="T38" fmla="*/ 100 w 184"/>
                  <a:gd name="T39" fmla="*/ 120 h 238"/>
                  <a:gd name="T40" fmla="*/ 98 w 184"/>
                  <a:gd name="T41" fmla="*/ 148 h 238"/>
                  <a:gd name="T42" fmla="*/ 92 w 184"/>
                  <a:gd name="T43" fmla="*/ 238 h 238"/>
                  <a:gd name="T44" fmla="*/ 0 w 184"/>
                  <a:gd name="T45" fmla="*/ 238 h 238"/>
                  <a:gd name="T46" fmla="*/ 12 w 184"/>
                  <a:gd name="T47" fmla="*/ 62 h 238"/>
                  <a:gd name="T48" fmla="*/ 12 w 184"/>
                  <a:gd name="T49" fmla="*/ 62 h 238"/>
                  <a:gd name="T50" fmla="*/ 14 w 184"/>
                  <a:gd name="T51" fmla="*/ 32 h 238"/>
                  <a:gd name="T52" fmla="*/ 14 w 184"/>
                  <a:gd name="T53" fmla="*/ 0 h 238"/>
                  <a:gd name="T54" fmla="*/ 102 w 184"/>
                  <a:gd name="T55" fmla="*/ 0 h 238"/>
                  <a:gd name="T56" fmla="*/ 104 w 184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4" h="238">
                    <a:moveTo>
                      <a:pt x="104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4" y="24"/>
                    </a:lnTo>
                    <a:lnTo>
                      <a:pt x="124" y="16"/>
                    </a:lnTo>
                    <a:lnTo>
                      <a:pt x="132" y="10"/>
                    </a:lnTo>
                    <a:lnTo>
                      <a:pt x="142" y="6"/>
                    </a:lnTo>
                    <a:lnTo>
                      <a:pt x="152" y="4"/>
                    </a:lnTo>
                    <a:lnTo>
                      <a:pt x="162" y="2"/>
                    </a:lnTo>
                    <a:lnTo>
                      <a:pt x="184" y="0"/>
                    </a:lnTo>
                    <a:lnTo>
                      <a:pt x="178" y="76"/>
                    </a:lnTo>
                    <a:lnTo>
                      <a:pt x="178" y="76"/>
                    </a:lnTo>
                    <a:lnTo>
                      <a:pt x="160" y="76"/>
                    </a:lnTo>
                    <a:lnTo>
                      <a:pt x="160" y="76"/>
                    </a:lnTo>
                    <a:lnTo>
                      <a:pt x="140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2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4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13">
                <a:extLst>
                  <a:ext uri="{FF2B5EF4-FFF2-40B4-BE49-F238E27FC236}">
                    <a16:creationId xmlns:a16="http://schemas.microsoft.com/office/drawing/2014/main" id="{73E39B2D-ADB7-4D1D-B21F-D326D5344E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9375" y="352425"/>
                <a:ext cx="174625" cy="542925"/>
              </a:xfrm>
              <a:custGeom>
                <a:avLst/>
                <a:gdLst>
                  <a:gd name="T0" fmla="*/ 0 w 110"/>
                  <a:gd name="T1" fmla="*/ 342 h 342"/>
                  <a:gd name="T2" fmla="*/ 24 w 110"/>
                  <a:gd name="T3" fmla="*/ 0 h 342"/>
                  <a:gd name="T4" fmla="*/ 110 w 110"/>
                  <a:gd name="T5" fmla="*/ 0 h 342"/>
                  <a:gd name="T6" fmla="*/ 86 w 110"/>
                  <a:gd name="T7" fmla="*/ 342 h 342"/>
                  <a:gd name="T8" fmla="*/ 0 w 110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0" y="0"/>
                    </a:lnTo>
                    <a:lnTo>
                      <a:pt x="86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14">
                <a:extLst>
                  <a:ext uri="{FF2B5EF4-FFF2-40B4-BE49-F238E27FC236}">
                    <a16:creationId xmlns:a16="http://schemas.microsoft.com/office/drawing/2014/main" id="{4F96BB26-4B10-440D-9F9C-1E45EE302A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40025" y="352425"/>
                <a:ext cx="438150" cy="546100"/>
              </a:xfrm>
              <a:custGeom>
                <a:avLst/>
                <a:gdLst>
                  <a:gd name="T0" fmla="*/ 112 w 276"/>
                  <a:gd name="T1" fmla="*/ 0 h 344"/>
                  <a:gd name="T2" fmla="*/ 104 w 276"/>
                  <a:gd name="T3" fmla="*/ 136 h 344"/>
                  <a:gd name="T4" fmla="*/ 120 w 276"/>
                  <a:gd name="T5" fmla="*/ 122 h 344"/>
                  <a:gd name="T6" fmla="*/ 146 w 276"/>
                  <a:gd name="T7" fmla="*/ 104 h 344"/>
                  <a:gd name="T8" fmla="*/ 168 w 276"/>
                  <a:gd name="T9" fmla="*/ 98 h 344"/>
                  <a:gd name="T10" fmla="*/ 180 w 276"/>
                  <a:gd name="T11" fmla="*/ 98 h 344"/>
                  <a:gd name="T12" fmla="*/ 206 w 276"/>
                  <a:gd name="T13" fmla="*/ 100 h 344"/>
                  <a:gd name="T14" fmla="*/ 226 w 276"/>
                  <a:gd name="T15" fmla="*/ 108 h 344"/>
                  <a:gd name="T16" fmla="*/ 244 w 276"/>
                  <a:gd name="T17" fmla="*/ 120 h 344"/>
                  <a:gd name="T18" fmla="*/ 258 w 276"/>
                  <a:gd name="T19" fmla="*/ 136 h 344"/>
                  <a:gd name="T20" fmla="*/ 274 w 276"/>
                  <a:gd name="T21" fmla="*/ 176 h 344"/>
                  <a:gd name="T22" fmla="*/ 276 w 276"/>
                  <a:gd name="T23" fmla="*/ 220 h 344"/>
                  <a:gd name="T24" fmla="*/ 274 w 276"/>
                  <a:gd name="T25" fmla="*/ 242 h 344"/>
                  <a:gd name="T26" fmla="*/ 260 w 276"/>
                  <a:gd name="T27" fmla="*/ 284 h 344"/>
                  <a:gd name="T28" fmla="*/ 240 w 276"/>
                  <a:gd name="T29" fmla="*/ 312 h 344"/>
                  <a:gd name="T30" fmla="*/ 222 w 276"/>
                  <a:gd name="T31" fmla="*/ 328 h 344"/>
                  <a:gd name="T32" fmla="*/ 202 w 276"/>
                  <a:gd name="T33" fmla="*/ 338 h 344"/>
                  <a:gd name="T34" fmla="*/ 176 w 276"/>
                  <a:gd name="T35" fmla="*/ 344 h 344"/>
                  <a:gd name="T36" fmla="*/ 160 w 276"/>
                  <a:gd name="T37" fmla="*/ 344 h 344"/>
                  <a:gd name="T38" fmla="*/ 140 w 276"/>
                  <a:gd name="T39" fmla="*/ 342 h 344"/>
                  <a:gd name="T40" fmla="*/ 106 w 276"/>
                  <a:gd name="T41" fmla="*/ 324 h 344"/>
                  <a:gd name="T42" fmla="*/ 92 w 276"/>
                  <a:gd name="T43" fmla="*/ 312 h 344"/>
                  <a:gd name="T44" fmla="*/ 0 w 276"/>
                  <a:gd name="T45" fmla="*/ 342 h 344"/>
                  <a:gd name="T46" fmla="*/ 94 w 276"/>
                  <a:gd name="T47" fmla="*/ 226 h 344"/>
                  <a:gd name="T48" fmla="*/ 96 w 276"/>
                  <a:gd name="T49" fmla="*/ 250 h 344"/>
                  <a:gd name="T50" fmla="*/ 102 w 276"/>
                  <a:gd name="T51" fmla="*/ 272 h 344"/>
                  <a:gd name="T52" fmla="*/ 114 w 276"/>
                  <a:gd name="T53" fmla="*/ 288 h 344"/>
                  <a:gd name="T54" fmla="*/ 134 w 276"/>
                  <a:gd name="T55" fmla="*/ 296 h 344"/>
                  <a:gd name="T56" fmla="*/ 148 w 276"/>
                  <a:gd name="T57" fmla="*/ 294 h 344"/>
                  <a:gd name="T58" fmla="*/ 168 w 276"/>
                  <a:gd name="T59" fmla="*/ 282 h 344"/>
                  <a:gd name="T60" fmla="*/ 180 w 276"/>
                  <a:gd name="T61" fmla="*/ 260 h 344"/>
                  <a:gd name="T62" fmla="*/ 186 w 276"/>
                  <a:gd name="T63" fmla="*/ 222 h 344"/>
                  <a:gd name="T64" fmla="*/ 186 w 276"/>
                  <a:gd name="T65" fmla="*/ 198 h 344"/>
                  <a:gd name="T66" fmla="*/ 180 w 276"/>
                  <a:gd name="T67" fmla="*/ 174 h 344"/>
                  <a:gd name="T68" fmla="*/ 168 w 276"/>
                  <a:gd name="T69" fmla="*/ 156 h 344"/>
                  <a:gd name="T70" fmla="*/ 146 w 276"/>
                  <a:gd name="T71" fmla="*/ 150 h 344"/>
                  <a:gd name="T72" fmla="*/ 132 w 276"/>
                  <a:gd name="T73" fmla="*/ 152 h 344"/>
                  <a:gd name="T74" fmla="*/ 112 w 276"/>
                  <a:gd name="T75" fmla="*/ 166 h 344"/>
                  <a:gd name="T76" fmla="*/ 100 w 276"/>
                  <a:gd name="T77" fmla="*/ 188 h 344"/>
                  <a:gd name="T78" fmla="*/ 94 w 276"/>
                  <a:gd name="T79" fmla="*/ 226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6" h="344">
                    <a:moveTo>
                      <a:pt x="24" y="0"/>
                    </a:moveTo>
                    <a:lnTo>
                      <a:pt x="112" y="0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20" y="122"/>
                    </a:lnTo>
                    <a:lnTo>
                      <a:pt x="138" y="108"/>
                    </a:lnTo>
                    <a:lnTo>
                      <a:pt x="146" y="104"/>
                    </a:lnTo>
                    <a:lnTo>
                      <a:pt x="158" y="100"/>
                    </a:lnTo>
                    <a:lnTo>
                      <a:pt x="168" y="98"/>
                    </a:lnTo>
                    <a:lnTo>
                      <a:pt x="180" y="98"/>
                    </a:lnTo>
                    <a:lnTo>
                      <a:pt x="180" y="98"/>
                    </a:lnTo>
                    <a:lnTo>
                      <a:pt x="194" y="98"/>
                    </a:lnTo>
                    <a:lnTo>
                      <a:pt x="206" y="100"/>
                    </a:lnTo>
                    <a:lnTo>
                      <a:pt x="216" y="104"/>
                    </a:lnTo>
                    <a:lnTo>
                      <a:pt x="226" y="108"/>
                    </a:lnTo>
                    <a:lnTo>
                      <a:pt x="236" y="114"/>
                    </a:lnTo>
                    <a:lnTo>
                      <a:pt x="244" y="120"/>
                    </a:lnTo>
                    <a:lnTo>
                      <a:pt x="250" y="128"/>
                    </a:lnTo>
                    <a:lnTo>
                      <a:pt x="258" y="136"/>
                    </a:lnTo>
                    <a:lnTo>
                      <a:pt x="266" y="156"/>
                    </a:lnTo>
                    <a:lnTo>
                      <a:pt x="274" y="176"/>
                    </a:lnTo>
                    <a:lnTo>
                      <a:pt x="276" y="198"/>
                    </a:lnTo>
                    <a:lnTo>
                      <a:pt x="276" y="220"/>
                    </a:lnTo>
                    <a:lnTo>
                      <a:pt x="276" y="220"/>
                    </a:lnTo>
                    <a:lnTo>
                      <a:pt x="274" y="242"/>
                    </a:lnTo>
                    <a:lnTo>
                      <a:pt x="268" y="264"/>
                    </a:lnTo>
                    <a:lnTo>
                      <a:pt x="260" y="284"/>
                    </a:lnTo>
                    <a:lnTo>
                      <a:pt x="248" y="304"/>
                    </a:lnTo>
                    <a:lnTo>
                      <a:pt x="240" y="312"/>
                    </a:lnTo>
                    <a:lnTo>
                      <a:pt x="232" y="320"/>
                    </a:lnTo>
                    <a:lnTo>
                      <a:pt x="222" y="328"/>
                    </a:lnTo>
                    <a:lnTo>
                      <a:pt x="212" y="334"/>
                    </a:lnTo>
                    <a:lnTo>
                      <a:pt x="202" y="338"/>
                    </a:lnTo>
                    <a:lnTo>
                      <a:pt x="188" y="342"/>
                    </a:lnTo>
                    <a:lnTo>
                      <a:pt x="176" y="344"/>
                    </a:lnTo>
                    <a:lnTo>
                      <a:pt x="160" y="344"/>
                    </a:lnTo>
                    <a:lnTo>
                      <a:pt x="160" y="344"/>
                    </a:lnTo>
                    <a:lnTo>
                      <a:pt x="150" y="344"/>
                    </a:lnTo>
                    <a:lnTo>
                      <a:pt x="140" y="342"/>
                    </a:lnTo>
                    <a:lnTo>
                      <a:pt x="122" y="336"/>
                    </a:lnTo>
                    <a:lnTo>
                      <a:pt x="106" y="324"/>
                    </a:lnTo>
                    <a:lnTo>
                      <a:pt x="94" y="312"/>
                    </a:lnTo>
                    <a:lnTo>
                      <a:pt x="92" y="312"/>
                    </a:lnTo>
                    <a:lnTo>
                      <a:pt x="88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  <a:moveTo>
                      <a:pt x="94" y="226"/>
                    </a:moveTo>
                    <a:lnTo>
                      <a:pt x="94" y="226"/>
                    </a:lnTo>
                    <a:lnTo>
                      <a:pt x="96" y="250"/>
                    </a:lnTo>
                    <a:lnTo>
                      <a:pt x="98" y="260"/>
                    </a:lnTo>
                    <a:lnTo>
                      <a:pt x="102" y="272"/>
                    </a:lnTo>
                    <a:lnTo>
                      <a:pt x="106" y="282"/>
                    </a:lnTo>
                    <a:lnTo>
                      <a:pt x="114" y="288"/>
                    </a:lnTo>
                    <a:lnTo>
                      <a:pt x="122" y="294"/>
                    </a:lnTo>
                    <a:lnTo>
                      <a:pt x="134" y="296"/>
                    </a:lnTo>
                    <a:lnTo>
                      <a:pt x="134" y="296"/>
                    </a:lnTo>
                    <a:lnTo>
                      <a:pt x="148" y="294"/>
                    </a:lnTo>
                    <a:lnTo>
                      <a:pt x="158" y="288"/>
                    </a:lnTo>
                    <a:lnTo>
                      <a:pt x="168" y="282"/>
                    </a:lnTo>
                    <a:lnTo>
                      <a:pt x="174" y="272"/>
                    </a:lnTo>
                    <a:lnTo>
                      <a:pt x="180" y="260"/>
                    </a:lnTo>
                    <a:lnTo>
                      <a:pt x="184" y="248"/>
                    </a:lnTo>
                    <a:lnTo>
                      <a:pt x="186" y="222"/>
                    </a:lnTo>
                    <a:lnTo>
                      <a:pt x="186" y="222"/>
                    </a:lnTo>
                    <a:lnTo>
                      <a:pt x="186" y="198"/>
                    </a:lnTo>
                    <a:lnTo>
                      <a:pt x="184" y="186"/>
                    </a:lnTo>
                    <a:lnTo>
                      <a:pt x="180" y="174"/>
                    </a:lnTo>
                    <a:lnTo>
                      <a:pt x="176" y="164"/>
                    </a:lnTo>
                    <a:lnTo>
                      <a:pt x="168" y="156"/>
                    </a:lnTo>
                    <a:lnTo>
                      <a:pt x="158" y="152"/>
                    </a:lnTo>
                    <a:lnTo>
                      <a:pt x="146" y="150"/>
                    </a:lnTo>
                    <a:lnTo>
                      <a:pt x="146" y="150"/>
                    </a:lnTo>
                    <a:lnTo>
                      <a:pt x="132" y="152"/>
                    </a:lnTo>
                    <a:lnTo>
                      <a:pt x="120" y="156"/>
                    </a:lnTo>
                    <a:lnTo>
                      <a:pt x="112" y="166"/>
                    </a:lnTo>
                    <a:lnTo>
                      <a:pt x="104" y="176"/>
                    </a:lnTo>
                    <a:lnTo>
                      <a:pt x="100" y="188"/>
                    </a:lnTo>
                    <a:lnTo>
                      <a:pt x="98" y="200"/>
                    </a:lnTo>
                    <a:lnTo>
                      <a:pt x="94" y="226"/>
                    </a:lnTo>
                    <a:lnTo>
                      <a:pt x="94" y="2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15">
                <a:extLst>
                  <a:ext uri="{FF2B5EF4-FFF2-40B4-BE49-F238E27FC236}">
                    <a16:creationId xmlns:a16="http://schemas.microsoft.com/office/drawing/2014/main" id="{752DA0B4-A9DF-4355-942F-1900725767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97225" y="504825"/>
                <a:ext cx="406400" cy="396875"/>
              </a:xfrm>
              <a:custGeom>
                <a:avLst/>
                <a:gdLst>
                  <a:gd name="T0" fmla="*/ 86 w 256"/>
                  <a:gd name="T1" fmla="*/ 142 h 250"/>
                  <a:gd name="T2" fmla="*/ 86 w 256"/>
                  <a:gd name="T3" fmla="*/ 166 h 250"/>
                  <a:gd name="T4" fmla="*/ 90 w 256"/>
                  <a:gd name="T5" fmla="*/ 184 h 250"/>
                  <a:gd name="T6" fmla="*/ 102 w 256"/>
                  <a:gd name="T7" fmla="*/ 196 h 250"/>
                  <a:gd name="T8" fmla="*/ 124 w 256"/>
                  <a:gd name="T9" fmla="*/ 202 h 250"/>
                  <a:gd name="T10" fmla="*/ 132 w 256"/>
                  <a:gd name="T11" fmla="*/ 200 h 250"/>
                  <a:gd name="T12" fmla="*/ 148 w 256"/>
                  <a:gd name="T13" fmla="*/ 196 h 250"/>
                  <a:gd name="T14" fmla="*/ 158 w 256"/>
                  <a:gd name="T15" fmla="*/ 186 h 250"/>
                  <a:gd name="T16" fmla="*/ 164 w 256"/>
                  <a:gd name="T17" fmla="*/ 174 h 250"/>
                  <a:gd name="T18" fmla="*/ 248 w 256"/>
                  <a:gd name="T19" fmla="*/ 170 h 250"/>
                  <a:gd name="T20" fmla="*/ 246 w 256"/>
                  <a:gd name="T21" fmla="*/ 180 h 250"/>
                  <a:gd name="T22" fmla="*/ 238 w 256"/>
                  <a:gd name="T23" fmla="*/ 198 h 250"/>
                  <a:gd name="T24" fmla="*/ 218 w 256"/>
                  <a:gd name="T25" fmla="*/ 222 h 250"/>
                  <a:gd name="T26" fmla="*/ 202 w 256"/>
                  <a:gd name="T27" fmla="*/ 234 h 250"/>
                  <a:gd name="T28" fmla="*/ 168 w 256"/>
                  <a:gd name="T29" fmla="*/ 246 h 250"/>
                  <a:gd name="T30" fmla="*/ 128 w 256"/>
                  <a:gd name="T31" fmla="*/ 250 h 250"/>
                  <a:gd name="T32" fmla="*/ 96 w 256"/>
                  <a:gd name="T33" fmla="*/ 248 h 250"/>
                  <a:gd name="T34" fmla="*/ 66 w 256"/>
                  <a:gd name="T35" fmla="*/ 242 h 250"/>
                  <a:gd name="T36" fmla="*/ 44 w 256"/>
                  <a:gd name="T37" fmla="*/ 232 h 250"/>
                  <a:gd name="T38" fmla="*/ 26 w 256"/>
                  <a:gd name="T39" fmla="*/ 218 h 250"/>
                  <a:gd name="T40" fmla="*/ 12 w 256"/>
                  <a:gd name="T41" fmla="*/ 200 h 250"/>
                  <a:gd name="T42" fmla="*/ 4 w 256"/>
                  <a:gd name="T43" fmla="*/ 178 h 250"/>
                  <a:gd name="T44" fmla="*/ 0 w 256"/>
                  <a:gd name="T45" fmla="*/ 150 h 250"/>
                  <a:gd name="T46" fmla="*/ 0 w 256"/>
                  <a:gd name="T47" fmla="*/ 118 h 250"/>
                  <a:gd name="T48" fmla="*/ 4 w 256"/>
                  <a:gd name="T49" fmla="*/ 92 h 250"/>
                  <a:gd name="T50" fmla="*/ 14 w 256"/>
                  <a:gd name="T51" fmla="*/ 68 h 250"/>
                  <a:gd name="T52" fmla="*/ 26 w 256"/>
                  <a:gd name="T53" fmla="*/ 48 h 250"/>
                  <a:gd name="T54" fmla="*/ 44 w 256"/>
                  <a:gd name="T55" fmla="*/ 32 h 250"/>
                  <a:gd name="T56" fmla="*/ 86 w 256"/>
                  <a:gd name="T57" fmla="*/ 8 h 250"/>
                  <a:gd name="T58" fmla="*/ 138 w 256"/>
                  <a:gd name="T59" fmla="*/ 0 h 250"/>
                  <a:gd name="T60" fmla="*/ 154 w 256"/>
                  <a:gd name="T61" fmla="*/ 2 h 250"/>
                  <a:gd name="T62" fmla="*/ 184 w 256"/>
                  <a:gd name="T63" fmla="*/ 6 h 250"/>
                  <a:gd name="T64" fmla="*/ 208 w 256"/>
                  <a:gd name="T65" fmla="*/ 18 h 250"/>
                  <a:gd name="T66" fmla="*/ 228 w 256"/>
                  <a:gd name="T67" fmla="*/ 32 h 250"/>
                  <a:gd name="T68" fmla="*/ 242 w 256"/>
                  <a:gd name="T69" fmla="*/ 50 h 250"/>
                  <a:gd name="T70" fmla="*/ 250 w 256"/>
                  <a:gd name="T71" fmla="*/ 72 h 250"/>
                  <a:gd name="T72" fmla="*/ 256 w 256"/>
                  <a:gd name="T73" fmla="*/ 112 h 250"/>
                  <a:gd name="T74" fmla="*/ 86 w 256"/>
                  <a:gd name="T75" fmla="*/ 142 h 250"/>
                  <a:gd name="T76" fmla="*/ 172 w 256"/>
                  <a:gd name="T77" fmla="*/ 98 h 250"/>
                  <a:gd name="T78" fmla="*/ 170 w 256"/>
                  <a:gd name="T79" fmla="*/ 78 h 250"/>
                  <a:gd name="T80" fmla="*/ 164 w 256"/>
                  <a:gd name="T81" fmla="*/ 62 h 250"/>
                  <a:gd name="T82" fmla="*/ 158 w 256"/>
                  <a:gd name="T83" fmla="*/ 56 h 250"/>
                  <a:gd name="T84" fmla="*/ 142 w 256"/>
                  <a:gd name="T85" fmla="*/ 48 h 250"/>
                  <a:gd name="T86" fmla="*/ 134 w 256"/>
                  <a:gd name="T87" fmla="*/ 46 h 250"/>
                  <a:gd name="T88" fmla="*/ 114 w 256"/>
                  <a:gd name="T89" fmla="*/ 52 h 250"/>
                  <a:gd name="T90" fmla="*/ 102 w 256"/>
                  <a:gd name="T91" fmla="*/ 62 h 250"/>
                  <a:gd name="T92" fmla="*/ 94 w 256"/>
                  <a:gd name="T93" fmla="*/ 78 h 250"/>
                  <a:gd name="T94" fmla="*/ 172 w 256"/>
                  <a:gd name="T95" fmla="*/ 98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6" h="250">
                    <a:moveTo>
                      <a:pt x="86" y="142"/>
                    </a:moveTo>
                    <a:lnTo>
                      <a:pt x="86" y="142"/>
                    </a:lnTo>
                    <a:lnTo>
                      <a:pt x="84" y="154"/>
                    </a:lnTo>
                    <a:lnTo>
                      <a:pt x="86" y="166"/>
                    </a:lnTo>
                    <a:lnTo>
                      <a:pt x="88" y="176"/>
                    </a:lnTo>
                    <a:lnTo>
                      <a:pt x="90" y="184"/>
                    </a:lnTo>
                    <a:lnTo>
                      <a:pt x="96" y="192"/>
                    </a:lnTo>
                    <a:lnTo>
                      <a:pt x="102" y="196"/>
                    </a:lnTo>
                    <a:lnTo>
                      <a:pt x="112" y="200"/>
                    </a:lnTo>
                    <a:lnTo>
                      <a:pt x="124" y="202"/>
                    </a:lnTo>
                    <a:lnTo>
                      <a:pt x="124" y="202"/>
                    </a:lnTo>
                    <a:lnTo>
                      <a:pt x="132" y="200"/>
                    </a:lnTo>
                    <a:lnTo>
                      <a:pt x="140" y="198"/>
                    </a:lnTo>
                    <a:lnTo>
                      <a:pt x="148" y="196"/>
                    </a:lnTo>
                    <a:lnTo>
                      <a:pt x="154" y="192"/>
                    </a:lnTo>
                    <a:lnTo>
                      <a:pt x="158" y="186"/>
                    </a:lnTo>
                    <a:lnTo>
                      <a:pt x="162" y="180"/>
                    </a:lnTo>
                    <a:lnTo>
                      <a:pt x="164" y="174"/>
                    </a:lnTo>
                    <a:lnTo>
                      <a:pt x="164" y="170"/>
                    </a:lnTo>
                    <a:lnTo>
                      <a:pt x="248" y="170"/>
                    </a:lnTo>
                    <a:lnTo>
                      <a:pt x="248" y="170"/>
                    </a:lnTo>
                    <a:lnTo>
                      <a:pt x="246" y="180"/>
                    </a:lnTo>
                    <a:lnTo>
                      <a:pt x="242" y="190"/>
                    </a:lnTo>
                    <a:lnTo>
                      <a:pt x="238" y="198"/>
                    </a:lnTo>
                    <a:lnTo>
                      <a:pt x="232" y="208"/>
                    </a:lnTo>
                    <a:lnTo>
                      <a:pt x="218" y="222"/>
                    </a:lnTo>
                    <a:lnTo>
                      <a:pt x="202" y="234"/>
                    </a:lnTo>
                    <a:lnTo>
                      <a:pt x="202" y="234"/>
                    </a:lnTo>
                    <a:lnTo>
                      <a:pt x="186" y="242"/>
                    </a:lnTo>
                    <a:lnTo>
                      <a:pt x="168" y="246"/>
                    </a:lnTo>
                    <a:lnTo>
                      <a:pt x="148" y="248"/>
                    </a:lnTo>
                    <a:lnTo>
                      <a:pt x="128" y="250"/>
                    </a:lnTo>
                    <a:lnTo>
                      <a:pt x="128" y="250"/>
                    </a:lnTo>
                    <a:lnTo>
                      <a:pt x="96" y="248"/>
                    </a:lnTo>
                    <a:lnTo>
                      <a:pt x="80" y="244"/>
                    </a:lnTo>
                    <a:lnTo>
                      <a:pt x="66" y="242"/>
                    </a:lnTo>
                    <a:lnTo>
                      <a:pt x="54" y="238"/>
                    </a:lnTo>
                    <a:lnTo>
                      <a:pt x="44" y="232"/>
                    </a:lnTo>
                    <a:lnTo>
                      <a:pt x="34" y="226"/>
                    </a:lnTo>
                    <a:lnTo>
                      <a:pt x="26" y="218"/>
                    </a:lnTo>
                    <a:lnTo>
                      <a:pt x="18" y="210"/>
                    </a:lnTo>
                    <a:lnTo>
                      <a:pt x="12" y="200"/>
                    </a:lnTo>
                    <a:lnTo>
                      <a:pt x="8" y="190"/>
                    </a:lnTo>
                    <a:lnTo>
                      <a:pt x="4" y="178"/>
                    </a:lnTo>
                    <a:lnTo>
                      <a:pt x="2" y="164"/>
                    </a:lnTo>
                    <a:lnTo>
                      <a:pt x="0" y="150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2" y="106"/>
                    </a:lnTo>
                    <a:lnTo>
                      <a:pt x="4" y="92"/>
                    </a:lnTo>
                    <a:lnTo>
                      <a:pt x="8" y="80"/>
                    </a:lnTo>
                    <a:lnTo>
                      <a:pt x="14" y="68"/>
                    </a:lnTo>
                    <a:lnTo>
                      <a:pt x="20" y="58"/>
                    </a:lnTo>
                    <a:lnTo>
                      <a:pt x="26" y="48"/>
                    </a:lnTo>
                    <a:lnTo>
                      <a:pt x="34" y="40"/>
                    </a:lnTo>
                    <a:lnTo>
                      <a:pt x="44" y="32"/>
                    </a:lnTo>
                    <a:lnTo>
                      <a:pt x="64" y="18"/>
                    </a:lnTo>
                    <a:lnTo>
                      <a:pt x="86" y="8"/>
                    </a:lnTo>
                    <a:lnTo>
                      <a:pt x="110" y="2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4" y="2"/>
                    </a:lnTo>
                    <a:lnTo>
                      <a:pt x="170" y="4"/>
                    </a:lnTo>
                    <a:lnTo>
                      <a:pt x="184" y="6"/>
                    </a:lnTo>
                    <a:lnTo>
                      <a:pt x="196" y="12"/>
                    </a:lnTo>
                    <a:lnTo>
                      <a:pt x="208" y="18"/>
                    </a:lnTo>
                    <a:lnTo>
                      <a:pt x="218" y="24"/>
                    </a:lnTo>
                    <a:lnTo>
                      <a:pt x="228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46" y="60"/>
                    </a:lnTo>
                    <a:lnTo>
                      <a:pt x="250" y="72"/>
                    </a:lnTo>
                    <a:lnTo>
                      <a:pt x="254" y="84"/>
                    </a:lnTo>
                    <a:lnTo>
                      <a:pt x="256" y="112"/>
                    </a:lnTo>
                    <a:lnTo>
                      <a:pt x="254" y="142"/>
                    </a:lnTo>
                    <a:lnTo>
                      <a:pt x="86" y="142"/>
                    </a:lnTo>
                    <a:close/>
                    <a:moveTo>
                      <a:pt x="172" y="98"/>
                    </a:moveTo>
                    <a:lnTo>
                      <a:pt x="172" y="98"/>
                    </a:lnTo>
                    <a:lnTo>
                      <a:pt x="172" y="88"/>
                    </a:lnTo>
                    <a:lnTo>
                      <a:pt x="170" y="78"/>
                    </a:lnTo>
                    <a:lnTo>
                      <a:pt x="168" y="70"/>
                    </a:lnTo>
                    <a:lnTo>
                      <a:pt x="164" y="62"/>
                    </a:lnTo>
                    <a:lnTo>
                      <a:pt x="164" y="62"/>
                    </a:lnTo>
                    <a:lnTo>
                      <a:pt x="158" y="56"/>
                    </a:lnTo>
                    <a:lnTo>
                      <a:pt x="150" y="50"/>
                    </a:lnTo>
                    <a:lnTo>
                      <a:pt x="142" y="48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22" y="48"/>
                    </a:lnTo>
                    <a:lnTo>
                      <a:pt x="114" y="52"/>
                    </a:lnTo>
                    <a:lnTo>
                      <a:pt x="106" y="56"/>
                    </a:lnTo>
                    <a:lnTo>
                      <a:pt x="102" y="62"/>
                    </a:lnTo>
                    <a:lnTo>
                      <a:pt x="96" y="70"/>
                    </a:lnTo>
                    <a:lnTo>
                      <a:pt x="94" y="78"/>
                    </a:lnTo>
                    <a:lnTo>
                      <a:pt x="90" y="98"/>
                    </a:lnTo>
                    <a:lnTo>
                      <a:pt x="172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16">
                <a:extLst>
                  <a:ext uri="{FF2B5EF4-FFF2-40B4-BE49-F238E27FC236}">
                    <a16:creationId xmlns:a16="http://schemas.microsoft.com/office/drawing/2014/main" id="{69E1D591-BD39-4F7C-822F-DEFBECB96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4450" y="352425"/>
                <a:ext cx="196850" cy="542925"/>
              </a:xfrm>
              <a:custGeom>
                <a:avLst/>
                <a:gdLst>
                  <a:gd name="T0" fmla="*/ 24 w 124"/>
                  <a:gd name="T1" fmla="*/ 0 h 342"/>
                  <a:gd name="T2" fmla="*/ 124 w 124"/>
                  <a:gd name="T3" fmla="*/ 0 h 342"/>
                  <a:gd name="T4" fmla="*/ 100 w 124"/>
                  <a:gd name="T5" fmla="*/ 342 h 342"/>
                  <a:gd name="T6" fmla="*/ 0 w 124"/>
                  <a:gd name="T7" fmla="*/ 342 h 342"/>
                  <a:gd name="T8" fmla="*/ 24 w 124"/>
                  <a:gd name="T9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342">
                    <a:moveTo>
                      <a:pt x="24" y="0"/>
                    </a:moveTo>
                    <a:lnTo>
                      <a:pt x="124" y="0"/>
                    </a:lnTo>
                    <a:lnTo>
                      <a:pt x="100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17">
                <a:extLst>
                  <a:ext uri="{FF2B5EF4-FFF2-40B4-BE49-F238E27FC236}">
                    <a16:creationId xmlns:a16="http://schemas.microsoft.com/office/drawing/2014/main" id="{EE2D1F80-EAE6-43F1-BEA2-1741B57139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8600" y="352425"/>
                <a:ext cx="368300" cy="542925"/>
              </a:xfrm>
              <a:custGeom>
                <a:avLst/>
                <a:gdLst>
                  <a:gd name="T0" fmla="*/ 120 w 232"/>
                  <a:gd name="T1" fmla="*/ 0 h 342"/>
                  <a:gd name="T2" fmla="*/ 0 w 232"/>
                  <a:gd name="T3" fmla="*/ 152 h 342"/>
                  <a:gd name="T4" fmla="*/ 106 w 232"/>
                  <a:gd name="T5" fmla="*/ 342 h 342"/>
                  <a:gd name="T6" fmla="*/ 226 w 232"/>
                  <a:gd name="T7" fmla="*/ 342 h 342"/>
                  <a:gd name="T8" fmla="*/ 106 w 232"/>
                  <a:gd name="T9" fmla="*/ 148 h 342"/>
                  <a:gd name="T10" fmla="*/ 232 w 232"/>
                  <a:gd name="T11" fmla="*/ 0 h 342"/>
                  <a:gd name="T12" fmla="*/ 120 w 232"/>
                  <a:gd name="T13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2" h="342">
                    <a:moveTo>
                      <a:pt x="120" y="0"/>
                    </a:moveTo>
                    <a:lnTo>
                      <a:pt x="0" y="152"/>
                    </a:lnTo>
                    <a:lnTo>
                      <a:pt x="106" y="342"/>
                    </a:lnTo>
                    <a:lnTo>
                      <a:pt x="226" y="342"/>
                    </a:lnTo>
                    <a:lnTo>
                      <a:pt x="106" y="148"/>
                    </a:lnTo>
                    <a:lnTo>
                      <a:pt x="232" y="0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18">
                <a:extLst>
                  <a:ext uri="{FF2B5EF4-FFF2-40B4-BE49-F238E27FC236}">
                    <a16:creationId xmlns:a16="http://schemas.microsoft.com/office/drawing/2014/main" id="{EEC377DA-470E-406E-A16D-E61E0F0CF5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6425" y="517525"/>
                <a:ext cx="158750" cy="377825"/>
              </a:xfrm>
              <a:custGeom>
                <a:avLst/>
                <a:gdLst>
                  <a:gd name="T0" fmla="*/ 16 w 100"/>
                  <a:gd name="T1" fmla="*/ 0 h 238"/>
                  <a:gd name="T2" fmla="*/ 100 w 100"/>
                  <a:gd name="T3" fmla="*/ 0 h 238"/>
                  <a:gd name="T4" fmla="*/ 84 w 100"/>
                  <a:gd name="T5" fmla="*/ 238 h 238"/>
                  <a:gd name="T6" fmla="*/ 0 w 100"/>
                  <a:gd name="T7" fmla="*/ 238 h 238"/>
                  <a:gd name="T8" fmla="*/ 16 w 100"/>
                  <a:gd name="T9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238">
                    <a:moveTo>
                      <a:pt x="16" y="0"/>
                    </a:moveTo>
                    <a:lnTo>
                      <a:pt x="100" y="0"/>
                    </a:lnTo>
                    <a:lnTo>
                      <a:pt x="84" y="238"/>
                    </a:lnTo>
                    <a:lnTo>
                      <a:pt x="0" y="238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19">
                <a:extLst>
                  <a:ext uri="{FF2B5EF4-FFF2-40B4-BE49-F238E27FC236}">
                    <a16:creationId xmlns:a16="http://schemas.microsoft.com/office/drawing/2014/main" id="{A0E1BE29-9E5B-4B32-A2C4-B4CBF71C02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8350" y="504825"/>
                <a:ext cx="692150" cy="390525"/>
              </a:xfrm>
              <a:custGeom>
                <a:avLst/>
                <a:gdLst>
                  <a:gd name="T0" fmla="*/ 106 w 436"/>
                  <a:gd name="T1" fmla="*/ 40 h 246"/>
                  <a:gd name="T2" fmla="*/ 106 w 436"/>
                  <a:gd name="T3" fmla="*/ 40 h 246"/>
                  <a:gd name="T4" fmla="*/ 128 w 436"/>
                  <a:gd name="T5" fmla="*/ 20 h 246"/>
                  <a:gd name="T6" fmla="*/ 150 w 436"/>
                  <a:gd name="T7" fmla="*/ 8 h 246"/>
                  <a:gd name="T8" fmla="*/ 172 w 436"/>
                  <a:gd name="T9" fmla="*/ 2 h 246"/>
                  <a:gd name="T10" fmla="*/ 192 w 436"/>
                  <a:gd name="T11" fmla="*/ 2 h 246"/>
                  <a:gd name="T12" fmla="*/ 216 w 436"/>
                  <a:gd name="T13" fmla="*/ 6 h 246"/>
                  <a:gd name="T14" fmla="*/ 238 w 436"/>
                  <a:gd name="T15" fmla="*/ 14 h 246"/>
                  <a:gd name="T16" fmla="*/ 254 w 436"/>
                  <a:gd name="T17" fmla="*/ 28 h 246"/>
                  <a:gd name="T18" fmla="*/ 264 w 436"/>
                  <a:gd name="T19" fmla="*/ 44 h 246"/>
                  <a:gd name="T20" fmla="*/ 272 w 436"/>
                  <a:gd name="T21" fmla="*/ 34 h 246"/>
                  <a:gd name="T22" fmla="*/ 290 w 436"/>
                  <a:gd name="T23" fmla="*/ 18 h 246"/>
                  <a:gd name="T24" fmla="*/ 312 w 436"/>
                  <a:gd name="T25" fmla="*/ 8 h 246"/>
                  <a:gd name="T26" fmla="*/ 338 w 436"/>
                  <a:gd name="T27" fmla="*/ 2 h 246"/>
                  <a:gd name="T28" fmla="*/ 352 w 436"/>
                  <a:gd name="T29" fmla="*/ 0 h 246"/>
                  <a:gd name="T30" fmla="*/ 386 w 436"/>
                  <a:gd name="T31" fmla="*/ 6 h 246"/>
                  <a:gd name="T32" fmla="*/ 414 w 436"/>
                  <a:gd name="T33" fmla="*/ 24 h 246"/>
                  <a:gd name="T34" fmla="*/ 432 w 436"/>
                  <a:gd name="T35" fmla="*/ 50 h 246"/>
                  <a:gd name="T36" fmla="*/ 436 w 436"/>
                  <a:gd name="T37" fmla="*/ 86 h 246"/>
                  <a:gd name="T38" fmla="*/ 332 w 436"/>
                  <a:gd name="T39" fmla="*/ 246 h 246"/>
                  <a:gd name="T40" fmla="*/ 342 w 436"/>
                  <a:gd name="T41" fmla="*/ 106 h 246"/>
                  <a:gd name="T42" fmla="*/ 342 w 436"/>
                  <a:gd name="T43" fmla="*/ 80 h 246"/>
                  <a:gd name="T44" fmla="*/ 336 w 436"/>
                  <a:gd name="T45" fmla="*/ 66 h 246"/>
                  <a:gd name="T46" fmla="*/ 322 w 436"/>
                  <a:gd name="T47" fmla="*/ 58 h 246"/>
                  <a:gd name="T48" fmla="*/ 312 w 436"/>
                  <a:gd name="T49" fmla="*/ 58 h 246"/>
                  <a:gd name="T50" fmla="*/ 288 w 436"/>
                  <a:gd name="T51" fmla="*/ 66 h 246"/>
                  <a:gd name="T52" fmla="*/ 276 w 436"/>
                  <a:gd name="T53" fmla="*/ 82 h 246"/>
                  <a:gd name="T54" fmla="*/ 270 w 436"/>
                  <a:gd name="T55" fmla="*/ 100 h 246"/>
                  <a:gd name="T56" fmla="*/ 260 w 436"/>
                  <a:gd name="T57" fmla="*/ 246 h 246"/>
                  <a:gd name="T58" fmla="*/ 180 w 436"/>
                  <a:gd name="T59" fmla="*/ 106 h 246"/>
                  <a:gd name="T60" fmla="*/ 178 w 436"/>
                  <a:gd name="T61" fmla="*/ 88 h 246"/>
                  <a:gd name="T62" fmla="*/ 174 w 436"/>
                  <a:gd name="T63" fmla="*/ 72 h 246"/>
                  <a:gd name="T64" fmla="*/ 164 w 436"/>
                  <a:gd name="T65" fmla="*/ 62 h 246"/>
                  <a:gd name="T66" fmla="*/ 148 w 436"/>
                  <a:gd name="T67" fmla="*/ 58 h 246"/>
                  <a:gd name="T68" fmla="*/ 132 w 436"/>
                  <a:gd name="T69" fmla="*/ 60 h 246"/>
                  <a:gd name="T70" fmla="*/ 114 w 436"/>
                  <a:gd name="T71" fmla="*/ 72 h 246"/>
                  <a:gd name="T72" fmla="*/ 104 w 436"/>
                  <a:gd name="T73" fmla="*/ 92 h 246"/>
                  <a:gd name="T74" fmla="*/ 102 w 436"/>
                  <a:gd name="T75" fmla="*/ 110 h 246"/>
                  <a:gd name="T76" fmla="*/ 0 w 436"/>
                  <a:gd name="T77" fmla="*/ 246 h 246"/>
                  <a:gd name="T78" fmla="*/ 106 w 436"/>
                  <a:gd name="T79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36" h="246">
                    <a:moveTo>
                      <a:pt x="106" y="8"/>
                    </a:moveTo>
                    <a:lnTo>
                      <a:pt x="106" y="40"/>
                    </a:lnTo>
                    <a:lnTo>
                      <a:pt x="106" y="40"/>
                    </a:lnTo>
                    <a:lnTo>
                      <a:pt x="106" y="40"/>
                    </a:lnTo>
                    <a:lnTo>
                      <a:pt x="118" y="28"/>
                    </a:lnTo>
                    <a:lnTo>
                      <a:pt x="128" y="20"/>
                    </a:lnTo>
                    <a:lnTo>
                      <a:pt x="140" y="12"/>
                    </a:lnTo>
                    <a:lnTo>
                      <a:pt x="150" y="8"/>
                    </a:lnTo>
                    <a:lnTo>
                      <a:pt x="162" y="4"/>
                    </a:lnTo>
                    <a:lnTo>
                      <a:pt x="172" y="2"/>
                    </a:lnTo>
                    <a:lnTo>
                      <a:pt x="192" y="2"/>
                    </a:lnTo>
                    <a:lnTo>
                      <a:pt x="192" y="2"/>
                    </a:lnTo>
                    <a:lnTo>
                      <a:pt x="204" y="2"/>
                    </a:lnTo>
                    <a:lnTo>
                      <a:pt x="216" y="6"/>
                    </a:lnTo>
                    <a:lnTo>
                      <a:pt x="228" y="8"/>
                    </a:lnTo>
                    <a:lnTo>
                      <a:pt x="238" y="14"/>
                    </a:lnTo>
                    <a:lnTo>
                      <a:pt x="246" y="20"/>
                    </a:lnTo>
                    <a:lnTo>
                      <a:pt x="254" y="28"/>
                    </a:lnTo>
                    <a:lnTo>
                      <a:pt x="260" y="36"/>
                    </a:lnTo>
                    <a:lnTo>
                      <a:pt x="264" y="44"/>
                    </a:lnTo>
                    <a:lnTo>
                      <a:pt x="264" y="44"/>
                    </a:lnTo>
                    <a:lnTo>
                      <a:pt x="272" y="34"/>
                    </a:lnTo>
                    <a:lnTo>
                      <a:pt x="280" y="26"/>
                    </a:lnTo>
                    <a:lnTo>
                      <a:pt x="290" y="18"/>
                    </a:lnTo>
                    <a:lnTo>
                      <a:pt x="302" y="12"/>
                    </a:lnTo>
                    <a:lnTo>
                      <a:pt x="312" y="8"/>
                    </a:lnTo>
                    <a:lnTo>
                      <a:pt x="326" y="4"/>
                    </a:lnTo>
                    <a:lnTo>
                      <a:pt x="338" y="2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70" y="2"/>
                    </a:lnTo>
                    <a:lnTo>
                      <a:pt x="386" y="6"/>
                    </a:lnTo>
                    <a:lnTo>
                      <a:pt x="402" y="14"/>
                    </a:lnTo>
                    <a:lnTo>
                      <a:pt x="414" y="24"/>
                    </a:lnTo>
                    <a:lnTo>
                      <a:pt x="424" y="36"/>
                    </a:lnTo>
                    <a:lnTo>
                      <a:pt x="432" y="50"/>
                    </a:lnTo>
                    <a:lnTo>
                      <a:pt x="436" y="68"/>
                    </a:lnTo>
                    <a:lnTo>
                      <a:pt x="436" y="86"/>
                    </a:lnTo>
                    <a:lnTo>
                      <a:pt x="424" y="246"/>
                    </a:lnTo>
                    <a:lnTo>
                      <a:pt x="332" y="246"/>
                    </a:lnTo>
                    <a:lnTo>
                      <a:pt x="342" y="106"/>
                    </a:lnTo>
                    <a:lnTo>
                      <a:pt x="342" y="106"/>
                    </a:lnTo>
                    <a:lnTo>
                      <a:pt x="342" y="88"/>
                    </a:lnTo>
                    <a:lnTo>
                      <a:pt x="342" y="80"/>
                    </a:lnTo>
                    <a:lnTo>
                      <a:pt x="340" y="74"/>
                    </a:lnTo>
                    <a:lnTo>
                      <a:pt x="336" y="66"/>
                    </a:lnTo>
                    <a:lnTo>
                      <a:pt x="330" y="62"/>
                    </a:lnTo>
                    <a:lnTo>
                      <a:pt x="322" y="58"/>
                    </a:lnTo>
                    <a:lnTo>
                      <a:pt x="312" y="58"/>
                    </a:lnTo>
                    <a:lnTo>
                      <a:pt x="312" y="58"/>
                    </a:lnTo>
                    <a:lnTo>
                      <a:pt x="298" y="60"/>
                    </a:lnTo>
                    <a:lnTo>
                      <a:pt x="288" y="66"/>
                    </a:lnTo>
                    <a:lnTo>
                      <a:pt x="280" y="72"/>
                    </a:lnTo>
                    <a:lnTo>
                      <a:pt x="276" y="82"/>
                    </a:lnTo>
                    <a:lnTo>
                      <a:pt x="272" y="92"/>
                    </a:lnTo>
                    <a:lnTo>
                      <a:pt x="270" y="100"/>
                    </a:lnTo>
                    <a:lnTo>
                      <a:pt x="270" y="110"/>
                    </a:lnTo>
                    <a:lnTo>
                      <a:pt x="260" y="246"/>
                    </a:lnTo>
                    <a:lnTo>
                      <a:pt x="170" y="246"/>
                    </a:lnTo>
                    <a:lnTo>
                      <a:pt x="180" y="106"/>
                    </a:lnTo>
                    <a:lnTo>
                      <a:pt x="180" y="106"/>
                    </a:lnTo>
                    <a:lnTo>
                      <a:pt x="178" y="88"/>
                    </a:lnTo>
                    <a:lnTo>
                      <a:pt x="178" y="80"/>
                    </a:lnTo>
                    <a:lnTo>
                      <a:pt x="174" y="72"/>
                    </a:lnTo>
                    <a:lnTo>
                      <a:pt x="170" y="66"/>
                    </a:lnTo>
                    <a:lnTo>
                      <a:pt x="164" y="62"/>
                    </a:lnTo>
                    <a:lnTo>
                      <a:pt x="15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32" y="60"/>
                    </a:lnTo>
                    <a:lnTo>
                      <a:pt x="122" y="66"/>
                    </a:lnTo>
                    <a:lnTo>
                      <a:pt x="114" y="72"/>
                    </a:lnTo>
                    <a:lnTo>
                      <a:pt x="108" y="82"/>
                    </a:lnTo>
                    <a:lnTo>
                      <a:pt x="104" y="92"/>
                    </a:lnTo>
                    <a:lnTo>
                      <a:pt x="104" y="100"/>
                    </a:lnTo>
                    <a:lnTo>
                      <a:pt x="102" y="110"/>
                    </a:lnTo>
                    <a:lnTo>
                      <a:pt x="94" y="246"/>
                    </a:lnTo>
                    <a:lnTo>
                      <a:pt x="0" y="246"/>
                    </a:lnTo>
                    <a:lnTo>
                      <a:pt x="16" y="8"/>
                    </a:lnTo>
                    <a:lnTo>
                      <a:pt x="106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20">
                <a:extLst>
                  <a:ext uri="{FF2B5EF4-FFF2-40B4-BE49-F238E27FC236}">
                    <a16:creationId xmlns:a16="http://schemas.microsoft.com/office/drawing/2014/main" id="{A936AE2D-CE87-4EBD-8AD3-4054049070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4000" y="517525"/>
                <a:ext cx="454025" cy="558800"/>
              </a:xfrm>
              <a:custGeom>
                <a:avLst/>
                <a:gdLst>
                  <a:gd name="T0" fmla="*/ 116 w 286"/>
                  <a:gd name="T1" fmla="*/ 352 h 352"/>
                  <a:gd name="T2" fmla="*/ 34 w 286"/>
                  <a:gd name="T3" fmla="*/ 352 h 352"/>
                  <a:gd name="T4" fmla="*/ 86 w 286"/>
                  <a:gd name="T5" fmla="*/ 242 h 352"/>
                  <a:gd name="T6" fmla="*/ 0 w 286"/>
                  <a:gd name="T7" fmla="*/ 0 h 352"/>
                  <a:gd name="T8" fmla="*/ 100 w 286"/>
                  <a:gd name="T9" fmla="*/ 0 h 352"/>
                  <a:gd name="T10" fmla="*/ 140 w 286"/>
                  <a:gd name="T11" fmla="*/ 148 h 352"/>
                  <a:gd name="T12" fmla="*/ 202 w 286"/>
                  <a:gd name="T13" fmla="*/ 0 h 352"/>
                  <a:gd name="T14" fmla="*/ 286 w 286"/>
                  <a:gd name="T15" fmla="*/ 0 h 352"/>
                  <a:gd name="T16" fmla="*/ 116 w 286"/>
                  <a:gd name="T17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6" h="352">
                    <a:moveTo>
                      <a:pt x="116" y="352"/>
                    </a:moveTo>
                    <a:lnTo>
                      <a:pt x="34" y="352"/>
                    </a:lnTo>
                    <a:lnTo>
                      <a:pt x="86" y="242"/>
                    </a:lnTo>
                    <a:lnTo>
                      <a:pt x="0" y="0"/>
                    </a:lnTo>
                    <a:lnTo>
                      <a:pt x="100" y="0"/>
                    </a:lnTo>
                    <a:lnTo>
                      <a:pt x="140" y="148"/>
                    </a:lnTo>
                    <a:lnTo>
                      <a:pt x="202" y="0"/>
                    </a:lnTo>
                    <a:lnTo>
                      <a:pt x="286" y="0"/>
                    </a:lnTo>
                    <a:lnTo>
                      <a:pt x="116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21">
                <a:extLst>
                  <a:ext uri="{FF2B5EF4-FFF2-40B4-BE49-F238E27FC236}">
                    <a16:creationId xmlns:a16="http://schemas.microsoft.com/office/drawing/2014/main" id="{686E72A2-232A-407E-99D2-C17E820F29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3575" y="593725"/>
                <a:ext cx="241300" cy="117475"/>
              </a:xfrm>
              <a:custGeom>
                <a:avLst/>
                <a:gdLst>
                  <a:gd name="T0" fmla="*/ 36 w 152"/>
                  <a:gd name="T1" fmla="*/ 0 h 74"/>
                  <a:gd name="T2" fmla="*/ 152 w 152"/>
                  <a:gd name="T3" fmla="*/ 0 h 74"/>
                  <a:gd name="T4" fmla="*/ 114 w 152"/>
                  <a:gd name="T5" fmla="*/ 74 h 74"/>
                  <a:gd name="T6" fmla="*/ 0 w 152"/>
                  <a:gd name="T7" fmla="*/ 74 h 74"/>
                  <a:gd name="T8" fmla="*/ 36 w 152"/>
                  <a:gd name="T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74">
                    <a:moveTo>
                      <a:pt x="36" y="0"/>
                    </a:moveTo>
                    <a:lnTo>
                      <a:pt x="152" y="0"/>
                    </a:lnTo>
                    <a:lnTo>
                      <a:pt x="114" y="74"/>
                    </a:lnTo>
                    <a:lnTo>
                      <a:pt x="0" y="7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22">
                <a:extLst>
                  <a:ext uri="{FF2B5EF4-FFF2-40B4-BE49-F238E27FC236}">
                    <a16:creationId xmlns:a16="http://schemas.microsoft.com/office/drawing/2014/main" id="{71CECB97-95C1-4A90-82EA-842128F05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1225" y="339725"/>
                <a:ext cx="504825" cy="558800"/>
              </a:xfrm>
              <a:custGeom>
                <a:avLst/>
                <a:gdLst>
                  <a:gd name="T0" fmla="*/ 180 w 318"/>
                  <a:gd name="T1" fmla="*/ 0 h 352"/>
                  <a:gd name="T2" fmla="*/ 232 w 318"/>
                  <a:gd name="T3" fmla="*/ 6 h 352"/>
                  <a:gd name="T4" fmla="*/ 266 w 318"/>
                  <a:gd name="T5" fmla="*/ 20 h 352"/>
                  <a:gd name="T6" fmla="*/ 286 w 318"/>
                  <a:gd name="T7" fmla="*/ 32 h 352"/>
                  <a:gd name="T8" fmla="*/ 302 w 318"/>
                  <a:gd name="T9" fmla="*/ 50 h 352"/>
                  <a:gd name="T10" fmla="*/ 312 w 318"/>
                  <a:gd name="T11" fmla="*/ 74 h 352"/>
                  <a:gd name="T12" fmla="*/ 318 w 318"/>
                  <a:gd name="T13" fmla="*/ 100 h 352"/>
                  <a:gd name="T14" fmla="*/ 222 w 318"/>
                  <a:gd name="T15" fmla="*/ 116 h 352"/>
                  <a:gd name="T16" fmla="*/ 222 w 318"/>
                  <a:gd name="T17" fmla="*/ 108 h 352"/>
                  <a:gd name="T18" fmla="*/ 216 w 318"/>
                  <a:gd name="T19" fmla="*/ 90 h 352"/>
                  <a:gd name="T20" fmla="*/ 204 w 318"/>
                  <a:gd name="T21" fmla="*/ 76 h 352"/>
                  <a:gd name="T22" fmla="*/ 188 w 318"/>
                  <a:gd name="T23" fmla="*/ 68 h 352"/>
                  <a:gd name="T24" fmla="*/ 176 w 318"/>
                  <a:gd name="T25" fmla="*/ 68 h 352"/>
                  <a:gd name="T26" fmla="*/ 150 w 318"/>
                  <a:gd name="T27" fmla="*/ 72 h 352"/>
                  <a:gd name="T28" fmla="*/ 128 w 318"/>
                  <a:gd name="T29" fmla="*/ 88 h 352"/>
                  <a:gd name="T30" fmla="*/ 108 w 318"/>
                  <a:gd name="T31" fmla="*/ 118 h 352"/>
                  <a:gd name="T32" fmla="*/ 98 w 318"/>
                  <a:gd name="T33" fmla="*/ 162 h 352"/>
                  <a:gd name="T34" fmla="*/ 96 w 318"/>
                  <a:gd name="T35" fmla="*/ 188 h 352"/>
                  <a:gd name="T36" fmla="*/ 98 w 318"/>
                  <a:gd name="T37" fmla="*/ 234 h 352"/>
                  <a:gd name="T38" fmla="*/ 112 w 318"/>
                  <a:gd name="T39" fmla="*/ 266 h 352"/>
                  <a:gd name="T40" fmla="*/ 122 w 318"/>
                  <a:gd name="T41" fmla="*/ 278 h 352"/>
                  <a:gd name="T42" fmla="*/ 138 w 318"/>
                  <a:gd name="T43" fmla="*/ 284 h 352"/>
                  <a:gd name="T44" fmla="*/ 158 w 318"/>
                  <a:gd name="T45" fmla="*/ 288 h 352"/>
                  <a:gd name="T46" fmla="*/ 174 w 318"/>
                  <a:gd name="T47" fmla="*/ 286 h 352"/>
                  <a:gd name="T48" fmla="*/ 198 w 318"/>
                  <a:gd name="T49" fmla="*/ 274 h 352"/>
                  <a:gd name="T50" fmla="*/ 212 w 318"/>
                  <a:gd name="T51" fmla="*/ 256 h 352"/>
                  <a:gd name="T52" fmla="*/ 218 w 318"/>
                  <a:gd name="T53" fmla="*/ 236 h 352"/>
                  <a:gd name="T54" fmla="*/ 314 w 318"/>
                  <a:gd name="T55" fmla="*/ 236 h 352"/>
                  <a:gd name="T56" fmla="*/ 306 w 318"/>
                  <a:gd name="T57" fmla="*/ 270 h 352"/>
                  <a:gd name="T58" fmla="*/ 290 w 318"/>
                  <a:gd name="T59" fmla="*/ 300 h 352"/>
                  <a:gd name="T60" fmla="*/ 272 w 318"/>
                  <a:gd name="T61" fmla="*/ 318 h 352"/>
                  <a:gd name="T62" fmla="*/ 248 w 318"/>
                  <a:gd name="T63" fmla="*/ 334 h 352"/>
                  <a:gd name="T64" fmla="*/ 216 w 318"/>
                  <a:gd name="T65" fmla="*/ 346 h 352"/>
                  <a:gd name="T66" fmla="*/ 176 w 318"/>
                  <a:gd name="T67" fmla="*/ 352 h 352"/>
                  <a:gd name="T68" fmla="*/ 152 w 318"/>
                  <a:gd name="T69" fmla="*/ 352 h 352"/>
                  <a:gd name="T70" fmla="*/ 106 w 318"/>
                  <a:gd name="T71" fmla="*/ 348 h 352"/>
                  <a:gd name="T72" fmla="*/ 70 w 318"/>
                  <a:gd name="T73" fmla="*/ 336 h 352"/>
                  <a:gd name="T74" fmla="*/ 42 w 318"/>
                  <a:gd name="T75" fmla="*/ 316 h 352"/>
                  <a:gd name="T76" fmla="*/ 22 w 318"/>
                  <a:gd name="T77" fmla="*/ 292 h 352"/>
                  <a:gd name="T78" fmla="*/ 8 w 318"/>
                  <a:gd name="T79" fmla="*/ 262 h 352"/>
                  <a:gd name="T80" fmla="*/ 2 w 318"/>
                  <a:gd name="T81" fmla="*/ 230 h 352"/>
                  <a:gd name="T82" fmla="*/ 0 w 318"/>
                  <a:gd name="T83" fmla="*/ 194 h 352"/>
                  <a:gd name="T84" fmla="*/ 2 w 318"/>
                  <a:gd name="T85" fmla="*/ 160 h 352"/>
                  <a:gd name="T86" fmla="*/ 18 w 318"/>
                  <a:gd name="T87" fmla="*/ 102 h 352"/>
                  <a:gd name="T88" fmla="*/ 32 w 318"/>
                  <a:gd name="T89" fmla="*/ 74 h 352"/>
                  <a:gd name="T90" fmla="*/ 52 w 318"/>
                  <a:gd name="T91" fmla="*/ 50 h 352"/>
                  <a:gd name="T92" fmla="*/ 76 w 318"/>
                  <a:gd name="T93" fmla="*/ 30 h 352"/>
                  <a:gd name="T94" fmla="*/ 106 w 318"/>
                  <a:gd name="T95" fmla="*/ 14 h 352"/>
                  <a:gd name="T96" fmla="*/ 140 w 318"/>
                  <a:gd name="T97" fmla="*/ 4 h 352"/>
                  <a:gd name="T98" fmla="*/ 180 w 318"/>
                  <a:gd name="T99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18" h="352">
                    <a:moveTo>
                      <a:pt x="180" y="0"/>
                    </a:moveTo>
                    <a:lnTo>
                      <a:pt x="180" y="0"/>
                    </a:lnTo>
                    <a:lnTo>
                      <a:pt x="206" y="0"/>
                    </a:lnTo>
                    <a:lnTo>
                      <a:pt x="232" y="6"/>
                    </a:lnTo>
                    <a:lnTo>
                      <a:pt x="256" y="14"/>
                    </a:lnTo>
                    <a:lnTo>
                      <a:pt x="266" y="20"/>
                    </a:lnTo>
                    <a:lnTo>
                      <a:pt x="276" y="26"/>
                    </a:lnTo>
                    <a:lnTo>
                      <a:pt x="286" y="32"/>
                    </a:lnTo>
                    <a:lnTo>
                      <a:pt x="294" y="42"/>
                    </a:lnTo>
                    <a:lnTo>
                      <a:pt x="302" y="50"/>
                    </a:lnTo>
                    <a:lnTo>
                      <a:pt x="308" y="62"/>
                    </a:lnTo>
                    <a:lnTo>
                      <a:pt x="312" y="74"/>
                    </a:lnTo>
                    <a:lnTo>
                      <a:pt x="316" y="86"/>
                    </a:lnTo>
                    <a:lnTo>
                      <a:pt x="318" y="100"/>
                    </a:lnTo>
                    <a:lnTo>
                      <a:pt x="318" y="116"/>
                    </a:lnTo>
                    <a:lnTo>
                      <a:pt x="222" y="116"/>
                    </a:lnTo>
                    <a:lnTo>
                      <a:pt x="222" y="116"/>
                    </a:lnTo>
                    <a:lnTo>
                      <a:pt x="222" y="108"/>
                    </a:lnTo>
                    <a:lnTo>
                      <a:pt x="220" y="98"/>
                    </a:lnTo>
                    <a:lnTo>
                      <a:pt x="216" y="90"/>
                    </a:lnTo>
                    <a:lnTo>
                      <a:pt x="212" y="84"/>
                    </a:lnTo>
                    <a:lnTo>
                      <a:pt x="204" y="76"/>
                    </a:lnTo>
                    <a:lnTo>
                      <a:pt x="198" y="72"/>
                    </a:lnTo>
                    <a:lnTo>
                      <a:pt x="188" y="68"/>
                    </a:lnTo>
                    <a:lnTo>
                      <a:pt x="176" y="68"/>
                    </a:lnTo>
                    <a:lnTo>
                      <a:pt x="176" y="68"/>
                    </a:lnTo>
                    <a:lnTo>
                      <a:pt x="164" y="68"/>
                    </a:lnTo>
                    <a:lnTo>
                      <a:pt x="150" y="72"/>
                    </a:lnTo>
                    <a:lnTo>
                      <a:pt x="138" y="80"/>
                    </a:lnTo>
                    <a:lnTo>
                      <a:pt x="128" y="88"/>
                    </a:lnTo>
                    <a:lnTo>
                      <a:pt x="118" y="102"/>
                    </a:lnTo>
                    <a:lnTo>
                      <a:pt x="108" y="118"/>
                    </a:lnTo>
                    <a:lnTo>
                      <a:pt x="102" y="138"/>
                    </a:lnTo>
                    <a:lnTo>
                      <a:pt x="98" y="162"/>
                    </a:lnTo>
                    <a:lnTo>
                      <a:pt x="98" y="162"/>
                    </a:lnTo>
                    <a:lnTo>
                      <a:pt x="96" y="188"/>
                    </a:lnTo>
                    <a:lnTo>
                      <a:pt x="96" y="212"/>
                    </a:lnTo>
                    <a:lnTo>
                      <a:pt x="98" y="234"/>
                    </a:lnTo>
                    <a:lnTo>
                      <a:pt x="104" y="252"/>
                    </a:lnTo>
                    <a:lnTo>
                      <a:pt x="112" y="266"/>
                    </a:lnTo>
                    <a:lnTo>
                      <a:pt x="116" y="272"/>
                    </a:lnTo>
                    <a:lnTo>
                      <a:pt x="122" y="278"/>
                    </a:lnTo>
                    <a:lnTo>
                      <a:pt x="130" y="282"/>
                    </a:lnTo>
                    <a:lnTo>
                      <a:pt x="138" y="284"/>
                    </a:lnTo>
                    <a:lnTo>
                      <a:pt x="148" y="286"/>
                    </a:lnTo>
                    <a:lnTo>
                      <a:pt x="158" y="288"/>
                    </a:lnTo>
                    <a:lnTo>
                      <a:pt x="158" y="288"/>
                    </a:lnTo>
                    <a:lnTo>
                      <a:pt x="174" y="286"/>
                    </a:lnTo>
                    <a:lnTo>
                      <a:pt x="188" y="280"/>
                    </a:lnTo>
                    <a:lnTo>
                      <a:pt x="198" y="274"/>
                    </a:lnTo>
                    <a:lnTo>
                      <a:pt x="206" y="264"/>
                    </a:lnTo>
                    <a:lnTo>
                      <a:pt x="212" y="256"/>
                    </a:lnTo>
                    <a:lnTo>
                      <a:pt x="214" y="248"/>
                    </a:lnTo>
                    <a:lnTo>
                      <a:pt x="218" y="236"/>
                    </a:lnTo>
                    <a:lnTo>
                      <a:pt x="314" y="236"/>
                    </a:lnTo>
                    <a:lnTo>
                      <a:pt x="314" y="236"/>
                    </a:lnTo>
                    <a:lnTo>
                      <a:pt x="312" y="252"/>
                    </a:lnTo>
                    <a:lnTo>
                      <a:pt x="306" y="270"/>
                    </a:lnTo>
                    <a:lnTo>
                      <a:pt x="296" y="290"/>
                    </a:lnTo>
                    <a:lnTo>
                      <a:pt x="290" y="300"/>
                    </a:lnTo>
                    <a:lnTo>
                      <a:pt x="282" y="308"/>
                    </a:lnTo>
                    <a:lnTo>
                      <a:pt x="272" y="318"/>
                    </a:lnTo>
                    <a:lnTo>
                      <a:pt x="260" y="326"/>
                    </a:lnTo>
                    <a:lnTo>
                      <a:pt x="248" y="334"/>
                    </a:lnTo>
                    <a:lnTo>
                      <a:pt x="232" y="340"/>
                    </a:lnTo>
                    <a:lnTo>
                      <a:pt x="216" y="346"/>
                    </a:lnTo>
                    <a:lnTo>
                      <a:pt x="196" y="350"/>
                    </a:lnTo>
                    <a:lnTo>
                      <a:pt x="176" y="352"/>
                    </a:lnTo>
                    <a:lnTo>
                      <a:pt x="152" y="352"/>
                    </a:lnTo>
                    <a:lnTo>
                      <a:pt x="152" y="352"/>
                    </a:lnTo>
                    <a:lnTo>
                      <a:pt x="128" y="352"/>
                    </a:lnTo>
                    <a:lnTo>
                      <a:pt x="106" y="348"/>
                    </a:lnTo>
                    <a:lnTo>
                      <a:pt x="86" y="342"/>
                    </a:lnTo>
                    <a:lnTo>
                      <a:pt x="70" y="336"/>
                    </a:lnTo>
                    <a:lnTo>
                      <a:pt x="54" y="326"/>
                    </a:lnTo>
                    <a:lnTo>
                      <a:pt x="42" y="316"/>
                    </a:lnTo>
                    <a:lnTo>
                      <a:pt x="30" y="304"/>
                    </a:lnTo>
                    <a:lnTo>
                      <a:pt x="22" y="292"/>
                    </a:lnTo>
                    <a:lnTo>
                      <a:pt x="14" y="276"/>
                    </a:lnTo>
                    <a:lnTo>
                      <a:pt x="8" y="262"/>
                    </a:lnTo>
                    <a:lnTo>
                      <a:pt x="4" y="246"/>
                    </a:lnTo>
                    <a:lnTo>
                      <a:pt x="2" y="230"/>
                    </a:lnTo>
                    <a:lnTo>
                      <a:pt x="0" y="212"/>
                    </a:lnTo>
                    <a:lnTo>
                      <a:pt x="0" y="194"/>
                    </a:lnTo>
                    <a:lnTo>
                      <a:pt x="2" y="160"/>
                    </a:lnTo>
                    <a:lnTo>
                      <a:pt x="2" y="160"/>
                    </a:lnTo>
                    <a:lnTo>
                      <a:pt x="8" y="130"/>
                    </a:lnTo>
                    <a:lnTo>
                      <a:pt x="18" y="102"/>
                    </a:lnTo>
                    <a:lnTo>
                      <a:pt x="24" y="88"/>
                    </a:lnTo>
                    <a:lnTo>
                      <a:pt x="32" y="74"/>
                    </a:lnTo>
                    <a:lnTo>
                      <a:pt x="42" y="62"/>
                    </a:lnTo>
                    <a:lnTo>
                      <a:pt x="52" y="50"/>
                    </a:lnTo>
                    <a:lnTo>
                      <a:pt x="64" y="40"/>
                    </a:lnTo>
                    <a:lnTo>
                      <a:pt x="76" y="30"/>
                    </a:lnTo>
                    <a:lnTo>
                      <a:pt x="90" y="20"/>
                    </a:lnTo>
                    <a:lnTo>
                      <a:pt x="106" y="14"/>
                    </a:lnTo>
                    <a:lnTo>
                      <a:pt x="122" y="8"/>
                    </a:lnTo>
                    <a:lnTo>
                      <a:pt x="140" y="4"/>
                    </a:lnTo>
                    <a:lnTo>
                      <a:pt x="160" y="0"/>
                    </a:lnTo>
                    <a:lnTo>
                      <a:pt x="180" y="0"/>
                    </a:lnTo>
                    <a:lnTo>
                      <a:pt x="18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23">
                <a:extLst>
                  <a:ext uri="{FF2B5EF4-FFF2-40B4-BE49-F238E27FC236}">
                    <a16:creationId xmlns:a16="http://schemas.microsoft.com/office/drawing/2014/main" id="{55FCA5A7-5ADB-484B-A948-2458352469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29225" y="352425"/>
                <a:ext cx="177800" cy="542925"/>
              </a:xfrm>
              <a:custGeom>
                <a:avLst/>
                <a:gdLst>
                  <a:gd name="T0" fmla="*/ 0 w 112"/>
                  <a:gd name="T1" fmla="*/ 342 h 342"/>
                  <a:gd name="T2" fmla="*/ 24 w 112"/>
                  <a:gd name="T3" fmla="*/ 0 h 342"/>
                  <a:gd name="T4" fmla="*/ 112 w 112"/>
                  <a:gd name="T5" fmla="*/ 0 h 342"/>
                  <a:gd name="T6" fmla="*/ 88 w 112"/>
                  <a:gd name="T7" fmla="*/ 342 h 342"/>
                  <a:gd name="T8" fmla="*/ 0 w 112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2" y="0"/>
                    </a:lnTo>
                    <a:lnTo>
                      <a:pt x="88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24">
                <a:extLst>
                  <a:ext uri="{FF2B5EF4-FFF2-40B4-BE49-F238E27FC236}">
                    <a16:creationId xmlns:a16="http://schemas.microsoft.com/office/drawing/2014/main" id="{76ED67C0-E3ED-4760-8657-26E92F456B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3900" y="517525"/>
                <a:ext cx="295275" cy="377825"/>
              </a:xfrm>
              <a:custGeom>
                <a:avLst/>
                <a:gdLst>
                  <a:gd name="T0" fmla="*/ 106 w 186"/>
                  <a:gd name="T1" fmla="*/ 34 h 238"/>
                  <a:gd name="T2" fmla="*/ 106 w 186"/>
                  <a:gd name="T3" fmla="*/ 34 h 238"/>
                  <a:gd name="T4" fmla="*/ 106 w 186"/>
                  <a:gd name="T5" fmla="*/ 34 h 238"/>
                  <a:gd name="T6" fmla="*/ 116 w 186"/>
                  <a:gd name="T7" fmla="*/ 24 h 238"/>
                  <a:gd name="T8" fmla="*/ 124 w 186"/>
                  <a:gd name="T9" fmla="*/ 16 h 238"/>
                  <a:gd name="T10" fmla="*/ 134 w 186"/>
                  <a:gd name="T11" fmla="*/ 10 h 238"/>
                  <a:gd name="T12" fmla="*/ 144 w 186"/>
                  <a:gd name="T13" fmla="*/ 6 h 238"/>
                  <a:gd name="T14" fmla="*/ 154 w 186"/>
                  <a:gd name="T15" fmla="*/ 4 h 238"/>
                  <a:gd name="T16" fmla="*/ 164 w 186"/>
                  <a:gd name="T17" fmla="*/ 2 h 238"/>
                  <a:gd name="T18" fmla="*/ 186 w 186"/>
                  <a:gd name="T19" fmla="*/ 0 h 238"/>
                  <a:gd name="T20" fmla="*/ 180 w 186"/>
                  <a:gd name="T21" fmla="*/ 76 h 238"/>
                  <a:gd name="T22" fmla="*/ 180 w 186"/>
                  <a:gd name="T23" fmla="*/ 76 h 238"/>
                  <a:gd name="T24" fmla="*/ 162 w 186"/>
                  <a:gd name="T25" fmla="*/ 76 h 238"/>
                  <a:gd name="T26" fmla="*/ 162 w 186"/>
                  <a:gd name="T27" fmla="*/ 76 h 238"/>
                  <a:gd name="T28" fmla="*/ 142 w 186"/>
                  <a:gd name="T29" fmla="*/ 78 h 238"/>
                  <a:gd name="T30" fmla="*/ 126 w 186"/>
                  <a:gd name="T31" fmla="*/ 82 h 238"/>
                  <a:gd name="T32" fmla="*/ 116 w 186"/>
                  <a:gd name="T33" fmla="*/ 88 h 238"/>
                  <a:gd name="T34" fmla="*/ 108 w 186"/>
                  <a:gd name="T35" fmla="*/ 98 h 238"/>
                  <a:gd name="T36" fmla="*/ 104 w 186"/>
                  <a:gd name="T37" fmla="*/ 108 h 238"/>
                  <a:gd name="T38" fmla="*/ 100 w 186"/>
                  <a:gd name="T39" fmla="*/ 120 h 238"/>
                  <a:gd name="T40" fmla="*/ 98 w 186"/>
                  <a:gd name="T41" fmla="*/ 148 h 238"/>
                  <a:gd name="T42" fmla="*/ 92 w 186"/>
                  <a:gd name="T43" fmla="*/ 238 h 238"/>
                  <a:gd name="T44" fmla="*/ 0 w 186"/>
                  <a:gd name="T45" fmla="*/ 238 h 238"/>
                  <a:gd name="T46" fmla="*/ 14 w 186"/>
                  <a:gd name="T47" fmla="*/ 62 h 238"/>
                  <a:gd name="T48" fmla="*/ 14 w 186"/>
                  <a:gd name="T49" fmla="*/ 62 h 238"/>
                  <a:gd name="T50" fmla="*/ 14 w 186"/>
                  <a:gd name="T51" fmla="*/ 32 h 238"/>
                  <a:gd name="T52" fmla="*/ 14 w 186"/>
                  <a:gd name="T53" fmla="*/ 0 h 238"/>
                  <a:gd name="T54" fmla="*/ 102 w 186"/>
                  <a:gd name="T55" fmla="*/ 0 h 238"/>
                  <a:gd name="T56" fmla="*/ 106 w 186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6" h="238">
                    <a:moveTo>
                      <a:pt x="106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6" y="24"/>
                    </a:lnTo>
                    <a:lnTo>
                      <a:pt x="124" y="16"/>
                    </a:lnTo>
                    <a:lnTo>
                      <a:pt x="134" y="10"/>
                    </a:lnTo>
                    <a:lnTo>
                      <a:pt x="144" y="6"/>
                    </a:lnTo>
                    <a:lnTo>
                      <a:pt x="154" y="4"/>
                    </a:lnTo>
                    <a:lnTo>
                      <a:pt x="164" y="2"/>
                    </a:lnTo>
                    <a:lnTo>
                      <a:pt x="186" y="0"/>
                    </a:lnTo>
                    <a:lnTo>
                      <a:pt x="180" y="76"/>
                    </a:lnTo>
                    <a:lnTo>
                      <a:pt x="180" y="76"/>
                    </a:lnTo>
                    <a:lnTo>
                      <a:pt x="162" y="76"/>
                    </a:lnTo>
                    <a:lnTo>
                      <a:pt x="162" y="76"/>
                    </a:lnTo>
                    <a:lnTo>
                      <a:pt x="142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4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6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pic>
        <p:nvPicPr>
          <p:cNvPr id="24" name="Picture 2">
            <a:extLst>
              <a:ext uri="{FF2B5EF4-FFF2-40B4-BE49-F238E27FC236}">
                <a16:creationId xmlns:a16="http://schemas.microsoft.com/office/drawing/2014/main" id="{23BAFDA5-9783-4EDB-8C25-DBDE6A521C9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554222" y="354199"/>
            <a:ext cx="4453277" cy="827568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BA3288B8-97E5-46C4-84C3-9AF4B9A4AA83}"/>
              </a:ext>
            </a:extLst>
          </p:cNvPr>
          <p:cNvSpPr txBox="1"/>
          <p:nvPr/>
        </p:nvSpPr>
        <p:spPr>
          <a:xfrm>
            <a:off x="568312" y="1049255"/>
            <a:ext cx="6131699" cy="72821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657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-59" normalizeH="0" baseline="0" noProof="0" dirty="0">
                <a:ln>
                  <a:noFill/>
                </a:ln>
                <a:solidFill>
                  <a:srgbClr val="FC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OADMAP</a:t>
            </a:r>
            <a:endParaRPr lang="en-US" sz="3200" b="1" spc="-59" dirty="0">
              <a:solidFill>
                <a:srgbClr val="FC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Arrow: Right 1">
            <a:extLst>
              <a:ext uri="{FF2B5EF4-FFF2-40B4-BE49-F238E27FC236}">
                <a16:creationId xmlns:a16="http://schemas.microsoft.com/office/drawing/2014/main" id="{F75097EC-D923-4EF5-8F98-A0325A67F71B}"/>
              </a:ext>
            </a:extLst>
          </p:cNvPr>
          <p:cNvSpPr/>
          <p:nvPr/>
        </p:nvSpPr>
        <p:spPr>
          <a:xfrm>
            <a:off x="897126" y="3514719"/>
            <a:ext cx="9799720" cy="471418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B087C31-509D-4A5E-A1ED-196AEE063107}"/>
              </a:ext>
            </a:extLst>
          </p:cNvPr>
          <p:cNvSpPr/>
          <p:nvPr/>
        </p:nvSpPr>
        <p:spPr>
          <a:xfrm>
            <a:off x="1485338" y="3357571"/>
            <a:ext cx="2100829" cy="94297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3813A3B-8DE9-4BFE-AF4F-CB330DFBBB8D}"/>
              </a:ext>
            </a:extLst>
          </p:cNvPr>
          <p:cNvSpPr txBox="1"/>
          <p:nvPr/>
        </p:nvSpPr>
        <p:spPr>
          <a:xfrm>
            <a:off x="1481283" y="3385064"/>
            <a:ext cx="210082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753BBD"/>
                </a:solidFill>
              </a:rPr>
              <a:t>From </a:t>
            </a:r>
            <a:br>
              <a:rPr lang="en-US" sz="2400" b="1" dirty="0">
                <a:solidFill>
                  <a:srgbClr val="753BBD"/>
                </a:solidFill>
              </a:rPr>
            </a:br>
            <a:r>
              <a:rPr lang="en-US" sz="2400" b="1" dirty="0">
                <a:solidFill>
                  <a:srgbClr val="753BBD"/>
                </a:solidFill>
              </a:rPr>
              <a:t>April 13, 2021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E7C8931B-BCDE-4C29-87FB-ECC67909AB0E}"/>
              </a:ext>
            </a:extLst>
          </p:cNvPr>
          <p:cNvSpPr/>
          <p:nvPr/>
        </p:nvSpPr>
        <p:spPr>
          <a:xfrm>
            <a:off x="4457152" y="3329072"/>
            <a:ext cx="2100829" cy="94297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237A2666-234F-4D5A-8F0F-772B02B406CB}"/>
              </a:ext>
            </a:extLst>
          </p:cNvPr>
          <p:cNvSpPr/>
          <p:nvPr/>
        </p:nvSpPr>
        <p:spPr>
          <a:xfrm>
            <a:off x="7428966" y="3329071"/>
            <a:ext cx="2100829" cy="94297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5349B70-E49E-4ED6-B915-45C29B9DFEC3}"/>
              </a:ext>
            </a:extLst>
          </p:cNvPr>
          <p:cNvSpPr txBox="1"/>
          <p:nvPr/>
        </p:nvSpPr>
        <p:spPr>
          <a:xfrm>
            <a:off x="4410234" y="3553295"/>
            <a:ext cx="21008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753BBD"/>
                </a:solidFill>
              </a:rPr>
              <a:t>Late 2021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78C65FC-B44C-4F31-8590-58B4523122F6}"/>
              </a:ext>
            </a:extLst>
          </p:cNvPr>
          <p:cNvSpPr txBox="1"/>
          <p:nvPr/>
        </p:nvSpPr>
        <p:spPr>
          <a:xfrm>
            <a:off x="7428965" y="3524705"/>
            <a:ext cx="21008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753BBD"/>
                </a:solidFill>
              </a:rPr>
              <a:t>Future State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1E282FD-3887-4B8A-93B1-640F42526F10}"/>
              </a:ext>
            </a:extLst>
          </p:cNvPr>
          <p:cNvSpPr/>
          <p:nvPr/>
        </p:nvSpPr>
        <p:spPr>
          <a:xfrm>
            <a:off x="1485338" y="2522204"/>
            <a:ext cx="2100829" cy="585787"/>
          </a:xfrm>
          <a:prstGeom prst="rect">
            <a:avLst/>
          </a:prstGeom>
          <a:solidFill>
            <a:srgbClr val="753B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Phase I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CB597A3-84B7-426A-9B02-CE255C4E9B2F}"/>
              </a:ext>
            </a:extLst>
          </p:cNvPr>
          <p:cNvSpPr/>
          <p:nvPr/>
        </p:nvSpPr>
        <p:spPr>
          <a:xfrm>
            <a:off x="4457152" y="2522194"/>
            <a:ext cx="2100829" cy="585787"/>
          </a:xfrm>
          <a:prstGeom prst="rect">
            <a:avLst/>
          </a:prstGeom>
          <a:solidFill>
            <a:srgbClr val="753B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Phase II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D3821B8-CFB5-4E61-9E35-2CD283B41030}"/>
              </a:ext>
            </a:extLst>
          </p:cNvPr>
          <p:cNvSpPr/>
          <p:nvPr/>
        </p:nvSpPr>
        <p:spPr>
          <a:xfrm>
            <a:off x="7428965" y="2522194"/>
            <a:ext cx="2100829" cy="585787"/>
          </a:xfrm>
          <a:prstGeom prst="rect">
            <a:avLst/>
          </a:prstGeom>
          <a:solidFill>
            <a:srgbClr val="753B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Phase III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15CCCD6-FCD7-4723-A25C-7931C288E34C}"/>
              </a:ext>
            </a:extLst>
          </p:cNvPr>
          <p:cNvSpPr/>
          <p:nvPr/>
        </p:nvSpPr>
        <p:spPr>
          <a:xfrm>
            <a:off x="1424747" y="4493134"/>
            <a:ext cx="211292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All global salaried employees can access </a:t>
            </a:r>
            <a:r>
              <a:rPr lang="en-US" sz="2000" b="1" dirty="0">
                <a:solidFill>
                  <a:schemeClr val="bg1"/>
                </a:solidFill>
              </a:rPr>
              <a:t>K-C NOW 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97D75A9-4247-49EC-9A5B-9BAA5DBA2214}"/>
              </a:ext>
            </a:extLst>
          </p:cNvPr>
          <p:cNvSpPr/>
          <p:nvPr/>
        </p:nvSpPr>
        <p:spPr>
          <a:xfrm>
            <a:off x="4410234" y="4457684"/>
            <a:ext cx="2576125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Expand to global hourly employees </a:t>
            </a:r>
            <a:br>
              <a:rPr lang="en-US" sz="2000" dirty="0">
                <a:solidFill>
                  <a:schemeClr val="bg1"/>
                </a:solidFill>
              </a:rPr>
            </a:br>
            <a:r>
              <a:rPr lang="en-US" sz="2000" dirty="0">
                <a:solidFill>
                  <a:schemeClr val="bg1"/>
                </a:solidFill>
              </a:rPr>
              <a:t>in early 2022 by first piloting in selected mills 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036A49A-7988-40CB-B7A9-93FC26EF0CB0}"/>
              </a:ext>
            </a:extLst>
          </p:cNvPr>
          <p:cNvSpPr/>
          <p:nvPr/>
        </p:nvSpPr>
        <p:spPr>
          <a:xfrm>
            <a:off x="7555420" y="4457684"/>
            <a:ext cx="2888743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Deliver</a:t>
            </a:r>
            <a:r>
              <a:rPr lang="en-US" sz="2000" dirty="0">
                <a:solidFill>
                  <a:schemeClr val="bg1"/>
                </a:solidFill>
              </a:rPr>
              <a:t> targeted content </a:t>
            </a:r>
          </a:p>
          <a:p>
            <a:r>
              <a:rPr lang="en-US" sz="2000" b="1" dirty="0">
                <a:solidFill>
                  <a:schemeClr val="bg1"/>
                </a:solidFill>
              </a:rPr>
              <a:t>Increase </a:t>
            </a:r>
            <a:r>
              <a:rPr lang="en-US" sz="2000" dirty="0">
                <a:solidFill>
                  <a:schemeClr val="bg1"/>
                </a:solidFill>
              </a:rPr>
              <a:t>employee submitted content   </a:t>
            </a:r>
            <a:endParaRPr lang="en-US" sz="2000" dirty="0">
              <a:solidFill>
                <a:schemeClr val="bg1"/>
              </a:solidFill>
              <a:cs typeface="Arial"/>
            </a:endParaRPr>
          </a:p>
          <a:p>
            <a:r>
              <a:rPr lang="en-US" sz="2000" b="1" dirty="0">
                <a:solidFill>
                  <a:schemeClr val="bg1"/>
                </a:solidFill>
              </a:rPr>
              <a:t>Test</a:t>
            </a:r>
            <a:r>
              <a:rPr lang="en-US" sz="2000" dirty="0">
                <a:solidFill>
                  <a:schemeClr val="bg1"/>
                </a:solidFill>
              </a:rPr>
              <a:t> and maximize functionality </a:t>
            </a:r>
          </a:p>
        </p:txBody>
      </p:sp>
    </p:spTree>
    <p:extLst>
      <p:ext uri="{BB962C8B-B14F-4D97-AF65-F5344CB8AC3E}">
        <p14:creationId xmlns:p14="http://schemas.microsoft.com/office/powerpoint/2010/main" val="26374812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rcRect l="2515" r="8595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881743" y="2692863"/>
            <a:ext cx="4789177" cy="889989"/>
          </a:xfrm>
          <a:prstGeom prst="rect">
            <a:avLst/>
          </a:prstGeom>
        </p:spPr>
      </p:pic>
      <p:sp>
        <p:nvSpPr>
          <p:cNvPr id="3" name="TextBox 3"/>
          <p:cNvSpPr txBox="1"/>
          <p:nvPr/>
        </p:nvSpPr>
        <p:spPr>
          <a:xfrm>
            <a:off x="624701" y="2227665"/>
            <a:ext cx="6131699" cy="72821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657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-59" normalizeH="0" baseline="0" noProof="0" dirty="0">
                <a:ln>
                  <a:noFill/>
                </a:ln>
                <a:solidFill>
                  <a:srgbClr val="FC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2822AB4-CCE5-4CE3-9F04-22D946632C24}"/>
              </a:ext>
            </a:extLst>
          </p:cNvPr>
          <p:cNvGrpSpPr/>
          <p:nvPr/>
        </p:nvGrpSpPr>
        <p:grpSpPr>
          <a:xfrm>
            <a:off x="270622" y="6413584"/>
            <a:ext cx="2165537" cy="271230"/>
            <a:chOff x="158750" y="276225"/>
            <a:chExt cx="6388100" cy="800100"/>
          </a:xfrm>
          <a:solidFill>
            <a:schemeClr val="bg1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D8A71DFB-B439-4713-80BF-380C4D888C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750" y="276225"/>
              <a:ext cx="857250" cy="736600"/>
            </a:xfrm>
            <a:custGeom>
              <a:avLst/>
              <a:gdLst>
                <a:gd name="T0" fmla="*/ 298 w 540"/>
                <a:gd name="T1" fmla="*/ 0 h 464"/>
                <a:gd name="T2" fmla="*/ 374 w 540"/>
                <a:gd name="T3" fmla="*/ 18 h 464"/>
                <a:gd name="T4" fmla="*/ 442 w 540"/>
                <a:gd name="T5" fmla="*/ 52 h 464"/>
                <a:gd name="T6" fmla="*/ 494 w 540"/>
                <a:gd name="T7" fmla="*/ 102 h 464"/>
                <a:gd name="T8" fmla="*/ 528 w 540"/>
                <a:gd name="T9" fmla="*/ 162 h 464"/>
                <a:gd name="T10" fmla="*/ 540 w 540"/>
                <a:gd name="T11" fmla="*/ 232 h 464"/>
                <a:gd name="T12" fmla="*/ 534 w 540"/>
                <a:gd name="T13" fmla="*/ 278 h 464"/>
                <a:gd name="T14" fmla="*/ 506 w 540"/>
                <a:gd name="T15" fmla="*/ 342 h 464"/>
                <a:gd name="T16" fmla="*/ 460 w 540"/>
                <a:gd name="T17" fmla="*/ 396 h 464"/>
                <a:gd name="T18" fmla="*/ 398 w 540"/>
                <a:gd name="T19" fmla="*/ 436 h 464"/>
                <a:gd name="T20" fmla="*/ 324 w 540"/>
                <a:gd name="T21" fmla="*/ 460 h 464"/>
                <a:gd name="T22" fmla="*/ 270 w 540"/>
                <a:gd name="T23" fmla="*/ 464 h 464"/>
                <a:gd name="T24" fmla="*/ 190 w 540"/>
                <a:gd name="T25" fmla="*/ 454 h 464"/>
                <a:gd name="T26" fmla="*/ 118 w 540"/>
                <a:gd name="T27" fmla="*/ 424 h 464"/>
                <a:gd name="T28" fmla="*/ 62 w 540"/>
                <a:gd name="T29" fmla="*/ 380 h 464"/>
                <a:gd name="T30" fmla="*/ 20 w 540"/>
                <a:gd name="T31" fmla="*/ 322 h 464"/>
                <a:gd name="T32" fmla="*/ 2 w 540"/>
                <a:gd name="T33" fmla="*/ 256 h 464"/>
                <a:gd name="T34" fmla="*/ 2 w 540"/>
                <a:gd name="T35" fmla="*/ 208 h 464"/>
                <a:gd name="T36" fmla="*/ 20 w 540"/>
                <a:gd name="T37" fmla="*/ 142 h 464"/>
                <a:gd name="T38" fmla="*/ 62 w 540"/>
                <a:gd name="T39" fmla="*/ 84 h 464"/>
                <a:gd name="T40" fmla="*/ 118 w 540"/>
                <a:gd name="T41" fmla="*/ 40 h 464"/>
                <a:gd name="T42" fmla="*/ 190 w 540"/>
                <a:gd name="T43" fmla="*/ 10 h 464"/>
                <a:gd name="T44" fmla="*/ 270 w 540"/>
                <a:gd name="T45" fmla="*/ 0 h 464"/>
                <a:gd name="T46" fmla="*/ 270 w 540"/>
                <a:gd name="T47" fmla="*/ 232 h 464"/>
                <a:gd name="T48" fmla="*/ 220 w 540"/>
                <a:gd name="T49" fmla="*/ 196 h 464"/>
                <a:gd name="T50" fmla="*/ 208 w 540"/>
                <a:gd name="T51" fmla="*/ 176 h 464"/>
                <a:gd name="T52" fmla="*/ 156 w 540"/>
                <a:gd name="T53" fmla="*/ 130 h 464"/>
                <a:gd name="T54" fmla="*/ 76 w 540"/>
                <a:gd name="T55" fmla="*/ 152 h 464"/>
                <a:gd name="T56" fmla="*/ 130 w 540"/>
                <a:gd name="T57" fmla="*/ 204 h 464"/>
                <a:gd name="T58" fmla="*/ 138 w 540"/>
                <a:gd name="T59" fmla="*/ 230 h 464"/>
                <a:gd name="T60" fmla="*/ 132 w 540"/>
                <a:gd name="T61" fmla="*/ 244 h 464"/>
                <a:gd name="T62" fmla="*/ 108 w 540"/>
                <a:gd name="T63" fmla="*/ 250 h 464"/>
                <a:gd name="T64" fmla="*/ 38 w 540"/>
                <a:gd name="T65" fmla="*/ 330 h 464"/>
                <a:gd name="T66" fmla="*/ 146 w 540"/>
                <a:gd name="T67" fmla="*/ 330 h 464"/>
                <a:gd name="T68" fmla="*/ 186 w 540"/>
                <a:gd name="T69" fmla="*/ 320 h 464"/>
                <a:gd name="T70" fmla="*/ 214 w 540"/>
                <a:gd name="T71" fmla="*/ 296 h 464"/>
                <a:gd name="T72" fmla="*/ 320 w 540"/>
                <a:gd name="T73" fmla="*/ 390 h 464"/>
                <a:gd name="T74" fmla="*/ 326 w 540"/>
                <a:gd name="T75" fmla="*/ 296 h 464"/>
                <a:gd name="T76" fmla="*/ 352 w 540"/>
                <a:gd name="T77" fmla="*/ 320 h 464"/>
                <a:gd name="T78" fmla="*/ 392 w 540"/>
                <a:gd name="T79" fmla="*/ 330 h 464"/>
                <a:gd name="T80" fmla="*/ 500 w 540"/>
                <a:gd name="T81" fmla="*/ 250 h 464"/>
                <a:gd name="T82" fmla="*/ 432 w 540"/>
                <a:gd name="T83" fmla="*/ 250 h 464"/>
                <a:gd name="T84" fmla="*/ 408 w 540"/>
                <a:gd name="T85" fmla="*/ 244 h 464"/>
                <a:gd name="T86" fmla="*/ 400 w 540"/>
                <a:gd name="T87" fmla="*/ 230 h 464"/>
                <a:gd name="T88" fmla="*/ 410 w 540"/>
                <a:gd name="T89" fmla="*/ 204 h 464"/>
                <a:gd name="T90" fmla="*/ 462 w 540"/>
                <a:gd name="T91" fmla="*/ 152 h 464"/>
                <a:gd name="T92" fmla="*/ 382 w 540"/>
                <a:gd name="T93" fmla="*/ 130 h 464"/>
                <a:gd name="T94" fmla="*/ 330 w 540"/>
                <a:gd name="T95" fmla="*/ 176 h 464"/>
                <a:gd name="T96" fmla="*/ 320 w 540"/>
                <a:gd name="T97" fmla="*/ 19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40" h="464">
                  <a:moveTo>
                    <a:pt x="270" y="0"/>
                  </a:moveTo>
                  <a:lnTo>
                    <a:pt x="270" y="0"/>
                  </a:lnTo>
                  <a:lnTo>
                    <a:pt x="298" y="0"/>
                  </a:lnTo>
                  <a:lnTo>
                    <a:pt x="324" y="4"/>
                  </a:lnTo>
                  <a:lnTo>
                    <a:pt x="350" y="10"/>
                  </a:lnTo>
                  <a:lnTo>
                    <a:pt x="374" y="18"/>
                  </a:lnTo>
                  <a:lnTo>
                    <a:pt x="398" y="28"/>
                  </a:lnTo>
                  <a:lnTo>
                    <a:pt x="420" y="40"/>
                  </a:lnTo>
                  <a:lnTo>
                    <a:pt x="442" y="52"/>
                  </a:lnTo>
                  <a:lnTo>
                    <a:pt x="460" y="68"/>
                  </a:lnTo>
                  <a:lnTo>
                    <a:pt x="478" y="84"/>
                  </a:lnTo>
                  <a:lnTo>
                    <a:pt x="494" y="102"/>
                  </a:lnTo>
                  <a:lnTo>
                    <a:pt x="506" y="122"/>
                  </a:lnTo>
                  <a:lnTo>
                    <a:pt x="518" y="142"/>
                  </a:lnTo>
                  <a:lnTo>
                    <a:pt x="528" y="162"/>
                  </a:lnTo>
                  <a:lnTo>
                    <a:pt x="534" y="184"/>
                  </a:lnTo>
                  <a:lnTo>
                    <a:pt x="538" y="208"/>
                  </a:lnTo>
                  <a:lnTo>
                    <a:pt x="540" y="232"/>
                  </a:lnTo>
                  <a:lnTo>
                    <a:pt x="540" y="232"/>
                  </a:lnTo>
                  <a:lnTo>
                    <a:pt x="538" y="256"/>
                  </a:lnTo>
                  <a:lnTo>
                    <a:pt x="534" y="278"/>
                  </a:lnTo>
                  <a:lnTo>
                    <a:pt x="528" y="300"/>
                  </a:lnTo>
                  <a:lnTo>
                    <a:pt x="518" y="322"/>
                  </a:lnTo>
                  <a:lnTo>
                    <a:pt x="506" y="342"/>
                  </a:lnTo>
                  <a:lnTo>
                    <a:pt x="494" y="362"/>
                  </a:lnTo>
                  <a:lnTo>
                    <a:pt x="478" y="380"/>
                  </a:lnTo>
                  <a:lnTo>
                    <a:pt x="460" y="396"/>
                  </a:lnTo>
                  <a:lnTo>
                    <a:pt x="442" y="410"/>
                  </a:lnTo>
                  <a:lnTo>
                    <a:pt x="420" y="424"/>
                  </a:lnTo>
                  <a:lnTo>
                    <a:pt x="398" y="436"/>
                  </a:lnTo>
                  <a:lnTo>
                    <a:pt x="374" y="446"/>
                  </a:lnTo>
                  <a:lnTo>
                    <a:pt x="350" y="454"/>
                  </a:lnTo>
                  <a:lnTo>
                    <a:pt x="324" y="460"/>
                  </a:lnTo>
                  <a:lnTo>
                    <a:pt x="298" y="462"/>
                  </a:lnTo>
                  <a:lnTo>
                    <a:pt x="270" y="464"/>
                  </a:lnTo>
                  <a:lnTo>
                    <a:pt x="270" y="464"/>
                  </a:lnTo>
                  <a:lnTo>
                    <a:pt x="242" y="462"/>
                  </a:lnTo>
                  <a:lnTo>
                    <a:pt x="216" y="458"/>
                  </a:lnTo>
                  <a:lnTo>
                    <a:pt x="190" y="454"/>
                  </a:lnTo>
                  <a:lnTo>
                    <a:pt x="164" y="446"/>
                  </a:lnTo>
                  <a:lnTo>
                    <a:pt x="140" y="436"/>
                  </a:lnTo>
                  <a:lnTo>
                    <a:pt x="118" y="424"/>
                  </a:lnTo>
                  <a:lnTo>
                    <a:pt x="98" y="410"/>
                  </a:lnTo>
                  <a:lnTo>
                    <a:pt x="78" y="396"/>
                  </a:lnTo>
                  <a:lnTo>
                    <a:pt x="62" y="380"/>
                  </a:lnTo>
                  <a:lnTo>
                    <a:pt x="46" y="362"/>
                  </a:lnTo>
                  <a:lnTo>
                    <a:pt x="32" y="342"/>
                  </a:lnTo>
                  <a:lnTo>
                    <a:pt x="20" y="322"/>
                  </a:lnTo>
                  <a:lnTo>
                    <a:pt x="12" y="300"/>
                  </a:lnTo>
                  <a:lnTo>
                    <a:pt x="6" y="278"/>
                  </a:lnTo>
                  <a:lnTo>
                    <a:pt x="2" y="256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08"/>
                  </a:lnTo>
                  <a:lnTo>
                    <a:pt x="6" y="184"/>
                  </a:lnTo>
                  <a:lnTo>
                    <a:pt x="12" y="162"/>
                  </a:lnTo>
                  <a:lnTo>
                    <a:pt x="20" y="142"/>
                  </a:lnTo>
                  <a:lnTo>
                    <a:pt x="32" y="120"/>
                  </a:lnTo>
                  <a:lnTo>
                    <a:pt x="46" y="102"/>
                  </a:lnTo>
                  <a:lnTo>
                    <a:pt x="62" y="84"/>
                  </a:lnTo>
                  <a:lnTo>
                    <a:pt x="78" y="68"/>
                  </a:lnTo>
                  <a:lnTo>
                    <a:pt x="98" y="52"/>
                  </a:lnTo>
                  <a:lnTo>
                    <a:pt x="118" y="40"/>
                  </a:lnTo>
                  <a:lnTo>
                    <a:pt x="140" y="28"/>
                  </a:lnTo>
                  <a:lnTo>
                    <a:pt x="164" y="18"/>
                  </a:lnTo>
                  <a:lnTo>
                    <a:pt x="190" y="10"/>
                  </a:lnTo>
                  <a:lnTo>
                    <a:pt x="216" y="4"/>
                  </a:lnTo>
                  <a:lnTo>
                    <a:pt x="242" y="0"/>
                  </a:lnTo>
                  <a:lnTo>
                    <a:pt x="270" y="0"/>
                  </a:lnTo>
                  <a:lnTo>
                    <a:pt x="270" y="0"/>
                  </a:lnTo>
                  <a:close/>
                  <a:moveTo>
                    <a:pt x="270" y="232"/>
                  </a:moveTo>
                  <a:lnTo>
                    <a:pt x="270" y="232"/>
                  </a:lnTo>
                  <a:close/>
                  <a:moveTo>
                    <a:pt x="220" y="50"/>
                  </a:moveTo>
                  <a:lnTo>
                    <a:pt x="220" y="50"/>
                  </a:lnTo>
                  <a:lnTo>
                    <a:pt x="220" y="196"/>
                  </a:lnTo>
                  <a:lnTo>
                    <a:pt x="220" y="196"/>
                  </a:lnTo>
                  <a:lnTo>
                    <a:pt x="214" y="186"/>
                  </a:lnTo>
                  <a:lnTo>
                    <a:pt x="208" y="176"/>
                  </a:lnTo>
                  <a:lnTo>
                    <a:pt x="194" y="160"/>
                  </a:lnTo>
                  <a:lnTo>
                    <a:pt x="176" y="144"/>
                  </a:lnTo>
                  <a:lnTo>
                    <a:pt x="156" y="130"/>
                  </a:lnTo>
                  <a:lnTo>
                    <a:pt x="48" y="130"/>
                  </a:lnTo>
                  <a:lnTo>
                    <a:pt x="48" y="130"/>
                  </a:lnTo>
                  <a:lnTo>
                    <a:pt x="76" y="152"/>
                  </a:lnTo>
                  <a:lnTo>
                    <a:pt x="106" y="178"/>
                  </a:lnTo>
                  <a:lnTo>
                    <a:pt x="120" y="192"/>
                  </a:lnTo>
                  <a:lnTo>
                    <a:pt x="130" y="204"/>
                  </a:lnTo>
                  <a:lnTo>
                    <a:pt x="136" y="218"/>
                  </a:lnTo>
                  <a:lnTo>
                    <a:pt x="138" y="230"/>
                  </a:lnTo>
                  <a:lnTo>
                    <a:pt x="138" y="230"/>
                  </a:lnTo>
                  <a:lnTo>
                    <a:pt x="138" y="236"/>
                  </a:lnTo>
                  <a:lnTo>
                    <a:pt x="136" y="240"/>
                  </a:lnTo>
                  <a:lnTo>
                    <a:pt x="132" y="244"/>
                  </a:lnTo>
                  <a:lnTo>
                    <a:pt x="128" y="246"/>
                  </a:lnTo>
                  <a:lnTo>
                    <a:pt x="11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38" y="25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146" y="330"/>
                  </a:lnTo>
                  <a:lnTo>
                    <a:pt x="146" y="330"/>
                  </a:lnTo>
                  <a:lnTo>
                    <a:pt x="166" y="328"/>
                  </a:lnTo>
                  <a:lnTo>
                    <a:pt x="176" y="324"/>
                  </a:lnTo>
                  <a:lnTo>
                    <a:pt x="186" y="320"/>
                  </a:lnTo>
                  <a:lnTo>
                    <a:pt x="196" y="314"/>
                  </a:lnTo>
                  <a:lnTo>
                    <a:pt x="206" y="306"/>
                  </a:lnTo>
                  <a:lnTo>
                    <a:pt x="214" y="296"/>
                  </a:lnTo>
                  <a:lnTo>
                    <a:pt x="220" y="284"/>
                  </a:lnTo>
                  <a:lnTo>
                    <a:pt x="220" y="390"/>
                  </a:lnTo>
                  <a:lnTo>
                    <a:pt x="320" y="390"/>
                  </a:lnTo>
                  <a:lnTo>
                    <a:pt x="320" y="284"/>
                  </a:lnTo>
                  <a:lnTo>
                    <a:pt x="320" y="284"/>
                  </a:lnTo>
                  <a:lnTo>
                    <a:pt x="326" y="296"/>
                  </a:lnTo>
                  <a:lnTo>
                    <a:pt x="334" y="306"/>
                  </a:lnTo>
                  <a:lnTo>
                    <a:pt x="342" y="314"/>
                  </a:lnTo>
                  <a:lnTo>
                    <a:pt x="352" y="320"/>
                  </a:lnTo>
                  <a:lnTo>
                    <a:pt x="362" y="324"/>
                  </a:lnTo>
                  <a:lnTo>
                    <a:pt x="372" y="328"/>
                  </a:lnTo>
                  <a:lnTo>
                    <a:pt x="392" y="330"/>
                  </a:lnTo>
                  <a:lnTo>
                    <a:pt x="392" y="330"/>
                  </a:lnTo>
                  <a:lnTo>
                    <a:pt x="500" y="330"/>
                  </a:lnTo>
                  <a:lnTo>
                    <a:pt x="500" y="250"/>
                  </a:lnTo>
                  <a:lnTo>
                    <a:pt x="500" y="250"/>
                  </a:lnTo>
                  <a:lnTo>
                    <a:pt x="432" y="250"/>
                  </a:lnTo>
                  <a:lnTo>
                    <a:pt x="432" y="250"/>
                  </a:lnTo>
                  <a:lnTo>
                    <a:pt x="422" y="250"/>
                  </a:lnTo>
                  <a:lnTo>
                    <a:pt x="412" y="246"/>
                  </a:lnTo>
                  <a:lnTo>
                    <a:pt x="408" y="244"/>
                  </a:lnTo>
                  <a:lnTo>
                    <a:pt x="404" y="240"/>
                  </a:lnTo>
                  <a:lnTo>
                    <a:pt x="402" y="236"/>
                  </a:lnTo>
                  <a:lnTo>
                    <a:pt x="400" y="230"/>
                  </a:lnTo>
                  <a:lnTo>
                    <a:pt x="400" y="230"/>
                  </a:lnTo>
                  <a:lnTo>
                    <a:pt x="402" y="218"/>
                  </a:lnTo>
                  <a:lnTo>
                    <a:pt x="410" y="204"/>
                  </a:lnTo>
                  <a:lnTo>
                    <a:pt x="420" y="192"/>
                  </a:lnTo>
                  <a:lnTo>
                    <a:pt x="432" y="178"/>
                  </a:lnTo>
                  <a:lnTo>
                    <a:pt x="462" y="152"/>
                  </a:lnTo>
                  <a:lnTo>
                    <a:pt x="492" y="130"/>
                  </a:lnTo>
                  <a:lnTo>
                    <a:pt x="382" y="130"/>
                  </a:lnTo>
                  <a:lnTo>
                    <a:pt x="382" y="130"/>
                  </a:lnTo>
                  <a:lnTo>
                    <a:pt x="364" y="144"/>
                  </a:lnTo>
                  <a:lnTo>
                    <a:pt x="346" y="160"/>
                  </a:lnTo>
                  <a:lnTo>
                    <a:pt x="330" y="176"/>
                  </a:lnTo>
                  <a:lnTo>
                    <a:pt x="324" y="186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20" y="50"/>
                  </a:lnTo>
                  <a:lnTo>
                    <a:pt x="22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8E665D83-13E5-475D-9C24-9F558DDC7201}"/>
                </a:ext>
              </a:extLst>
            </p:cNvPr>
            <p:cNvGrpSpPr/>
            <p:nvPr/>
          </p:nvGrpSpPr>
          <p:grpSpPr>
            <a:xfrm>
              <a:off x="1314450" y="339725"/>
              <a:ext cx="5232400" cy="736600"/>
              <a:chOff x="1314450" y="339725"/>
              <a:chExt cx="5232400" cy="736600"/>
            </a:xfrm>
            <a:grpFill/>
          </p:grpSpPr>
          <p:sp>
            <p:nvSpPr>
              <p:cNvPr id="8" name="Freeform 9">
                <a:extLst>
                  <a:ext uri="{FF2B5EF4-FFF2-40B4-BE49-F238E27FC236}">
                    <a16:creationId xmlns:a16="http://schemas.microsoft.com/office/drawing/2014/main" id="{DDB2C059-B7E2-41A2-B9FC-5A44DA8AF5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8175" y="352425"/>
                <a:ext cx="139700" cy="98425"/>
              </a:xfrm>
              <a:custGeom>
                <a:avLst/>
                <a:gdLst>
                  <a:gd name="T0" fmla="*/ 4 w 88"/>
                  <a:gd name="T1" fmla="*/ 0 h 62"/>
                  <a:gd name="T2" fmla="*/ 88 w 88"/>
                  <a:gd name="T3" fmla="*/ 0 h 62"/>
                  <a:gd name="T4" fmla="*/ 84 w 88"/>
                  <a:gd name="T5" fmla="*/ 62 h 62"/>
                  <a:gd name="T6" fmla="*/ 0 w 88"/>
                  <a:gd name="T7" fmla="*/ 62 h 62"/>
                  <a:gd name="T8" fmla="*/ 4 w 88"/>
                  <a:gd name="T9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" h="62">
                    <a:moveTo>
                      <a:pt x="4" y="0"/>
                    </a:moveTo>
                    <a:lnTo>
                      <a:pt x="88" y="0"/>
                    </a:lnTo>
                    <a:lnTo>
                      <a:pt x="84" y="62"/>
                    </a:lnTo>
                    <a:lnTo>
                      <a:pt x="0" y="6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" name="Freeform 10">
                <a:extLst>
                  <a:ext uri="{FF2B5EF4-FFF2-40B4-BE49-F238E27FC236}">
                    <a16:creationId xmlns:a16="http://schemas.microsoft.com/office/drawing/2014/main" id="{729F9D2D-9B6C-4A06-BB35-9ABB2816A3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97500" y="504825"/>
                <a:ext cx="393700" cy="393700"/>
              </a:xfrm>
              <a:custGeom>
                <a:avLst/>
                <a:gdLst>
                  <a:gd name="T0" fmla="*/ 152 w 248"/>
                  <a:gd name="T1" fmla="*/ 216 h 248"/>
                  <a:gd name="T2" fmla="*/ 138 w 248"/>
                  <a:gd name="T3" fmla="*/ 228 h 248"/>
                  <a:gd name="T4" fmla="*/ 112 w 248"/>
                  <a:gd name="T5" fmla="*/ 242 h 248"/>
                  <a:gd name="T6" fmla="*/ 92 w 248"/>
                  <a:gd name="T7" fmla="*/ 246 h 248"/>
                  <a:gd name="T8" fmla="*/ 80 w 248"/>
                  <a:gd name="T9" fmla="*/ 248 h 248"/>
                  <a:gd name="T10" fmla="*/ 44 w 248"/>
                  <a:gd name="T11" fmla="*/ 242 h 248"/>
                  <a:gd name="T12" fmla="*/ 18 w 248"/>
                  <a:gd name="T13" fmla="*/ 226 h 248"/>
                  <a:gd name="T14" fmla="*/ 4 w 248"/>
                  <a:gd name="T15" fmla="*/ 202 h 248"/>
                  <a:gd name="T16" fmla="*/ 0 w 248"/>
                  <a:gd name="T17" fmla="*/ 174 h 248"/>
                  <a:gd name="T18" fmla="*/ 2 w 248"/>
                  <a:gd name="T19" fmla="*/ 156 h 248"/>
                  <a:gd name="T20" fmla="*/ 20 w 248"/>
                  <a:gd name="T21" fmla="*/ 128 h 248"/>
                  <a:gd name="T22" fmla="*/ 54 w 248"/>
                  <a:gd name="T23" fmla="*/ 108 h 248"/>
                  <a:gd name="T24" fmla="*/ 104 w 248"/>
                  <a:gd name="T25" fmla="*/ 98 h 248"/>
                  <a:gd name="T26" fmla="*/ 162 w 248"/>
                  <a:gd name="T27" fmla="*/ 96 h 248"/>
                  <a:gd name="T28" fmla="*/ 164 w 248"/>
                  <a:gd name="T29" fmla="*/ 78 h 248"/>
                  <a:gd name="T30" fmla="*/ 162 w 248"/>
                  <a:gd name="T31" fmla="*/ 60 h 248"/>
                  <a:gd name="T32" fmla="*/ 154 w 248"/>
                  <a:gd name="T33" fmla="*/ 46 h 248"/>
                  <a:gd name="T34" fmla="*/ 136 w 248"/>
                  <a:gd name="T35" fmla="*/ 40 h 248"/>
                  <a:gd name="T36" fmla="*/ 126 w 248"/>
                  <a:gd name="T37" fmla="*/ 42 h 248"/>
                  <a:gd name="T38" fmla="*/ 114 w 248"/>
                  <a:gd name="T39" fmla="*/ 48 h 248"/>
                  <a:gd name="T40" fmla="*/ 106 w 248"/>
                  <a:gd name="T41" fmla="*/ 66 h 248"/>
                  <a:gd name="T42" fmla="*/ 22 w 248"/>
                  <a:gd name="T43" fmla="*/ 76 h 248"/>
                  <a:gd name="T44" fmla="*/ 24 w 248"/>
                  <a:gd name="T45" fmla="*/ 66 h 248"/>
                  <a:gd name="T46" fmla="*/ 28 w 248"/>
                  <a:gd name="T47" fmla="*/ 46 h 248"/>
                  <a:gd name="T48" fmla="*/ 38 w 248"/>
                  <a:gd name="T49" fmla="*/ 30 h 248"/>
                  <a:gd name="T50" fmla="*/ 54 w 248"/>
                  <a:gd name="T51" fmla="*/ 18 h 248"/>
                  <a:gd name="T52" fmla="*/ 62 w 248"/>
                  <a:gd name="T53" fmla="*/ 14 h 248"/>
                  <a:gd name="T54" fmla="*/ 102 w 248"/>
                  <a:gd name="T55" fmla="*/ 2 h 248"/>
                  <a:gd name="T56" fmla="*/ 144 w 248"/>
                  <a:gd name="T57" fmla="*/ 0 h 248"/>
                  <a:gd name="T58" fmla="*/ 164 w 248"/>
                  <a:gd name="T59" fmla="*/ 0 h 248"/>
                  <a:gd name="T60" fmla="*/ 200 w 248"/>
                  <a:gd name="T61" fmla="*/ 10 h 248"/>
                  <a:gd name="T62" fmla="*/ 230 w 248"/>
                  <a:gd name="T63" fmla="*/ 30 h 248"/>
                  <a:gd name="T64" fmla="*/ 240 w 248"/>
                  <a:gd name="T65" fmla="*/ 44 h 248"/>
                  <a:gd name="T66" fmla="*/ 246 w 248"/>
                  <a:gd name="T67" fmla="*/ 62 h 248"/>
                  <a:gd name="T68" fmla="*/ 248 w 248"/>
                  <a:gd name="T69" fmla="*/ 82 h 248"/>
                  <a:gd name="T70" fmla="*/ 242 w 248"/>
                  <a:gd name="T71" fmla="*/ 196 h 248"/>
                  <a:gd name="T72" fmla="*/ 242 w 248"/>
                  <a:gd name="T73" fmla="*/ 246 h 248"/>
                  <a:gd name="T74" fmla="*/ 152 w 248"/>
                  <a:gd name="T75" fmla="*/ 216 h 248"/>
                  <a:gd name="T76" fmla="*/ 114 w 248"/>
                  <a:gd name="T77" fmla="*/ 200 h 248"/>
                  <a:gd name="T78" fmla="*/ 138 w 248"/>
                  <a:gd name="T79" fmla="*/ 194 h 248"/>
                  <a:gd name="T80" fmla="*/ 152 w 248"/>
                  <a:gd name="T81" fmla="*/ 176 h 248"/>
                  <a:gd name="T82" fmla="*/ 158 w 248"/>
                  <a:gd name="T83" fmla="*/ 154 h 248"/>
                  <a:gd name="T84" fmla="*/ 160 w 248"/>
                  <a:gd name="T85" fmla="*/ 130 h 248"/>
                  <a:gd name="T86" fmla="*/ 122 w 248"/>
                  <a:gd name="T87" fmla="*/ 132 h 248"/>
                  <a:gd name="T88" fmla="*/ 110 w 248"/>
                  <a:gd name="T89" fmla="*/ 134 h 248"/>
                  <a:gd name="T90" fmla="*/ 94 w 248"/>
                  <a:gd name="T91" fmla="*/ 148 h 248"/>
                  <a:gd name="T92" fmla="*/ 86 w 248"/>
                  <a:gd name="T93" fmla="*/ 170 h 248"/>
                  <a:gd name="T94" fmla="*/ 86 w 248"/>
                  <a:gd name="T95" fmla="*/ 176 h 248"/>
                  <a:gd name="T96" fmla="*/ 92 w 248"/>
                  <a:gd name="T97" fmla="*/ 192 h 248"/>
                  <a:gd name="T98" fmla="*/ 102 w 248"/>
                  <a:gd name="T99" fmla="*/ 198 h 248"/>
                  <a:gd name="T100" fmla="*/ 114 w 248"/>
                  <a:gd name="T101" fmla="*/ 20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8" h="248">
                    <a:moveTo>
                      <a:pt x="152" y="216"/>
                    </a:moveTo>
                    <a:lnTo>
                      <a:pt x="152" y="216"/>
                    </a:lnTo>
                    <a:lnTo>
                      <a:pt x="152" y="216"/>
                    </a:lnTo>
                    <a:lnTo>
                      <a:pt x="138" y="228"/>
                    </a:lnTo>
                    <a:lnTo>
                      <a:pt x="122" y="238"/>
                    </a:lnTo>
                    <a:lnTo>
                      <a:pt x="112" y="242"/>
                    </a:lnTo>
                    <a:lnTo>
                      <a:pt x="102" y="246"/>
                    </a:lnTo>
                    <a:lnTo>
                      <a:pt x="92" y="246"/>
                    </a:lnTo>
                    <a:lnTo>
                      <a:pt x="80" y="248"/>
                    </a:lnTo>
                    <a:lnTo>
                      <a:pt x="80" y="248"/>
                    </a:lnTo>
                    <a:lnTo>
                      <a:pt x="60" y="246"/>
                    </a:lnTo>
                    <a:lnTo>
                      <a:pt x="44" y="242"/>
                    </a:lnTo>
                    <a:lnTo>
                      <a:pt x="30" y="234"/>
                    </a:lnTo>
                    <a:lnTo>
                      <a:pt x="18" y="226"/>
                    </a:lnTo>
                    <a:lnTo>
                      <a:pt x="10" y="216"/>
                    </a:lnTo>
                    <a:lnTo>
                      <a:pt x="4" y="202"/>
                    </a:lnTo>
                    <a:lnTo>
                      <a:pt x="0" y="188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2" y="156"/>
                    </a:lnTo>
                    <a:lnTo>
                      <a:pt x="8" y="142"/>
                    </a:lnTo>
                    <a:lnTo>
                      <a:pt x="20" y="128"/>
                    </a:lnTo>
                    <a:lnTo>
                      <a:pt x="34" y="116"/>
                    </a:lnTo>
                    <a:lnTo>
                      <a:pt x="54" y="108"/>
                    </a:lnTo>
                    <a:lnTo>
                      <a:pt x="76" y="102"/>
                    </a:lnTo>
                    <a:lnTo>
                      <a:pt x="104" y="98"/>
                    </a:lnTo>
                    <a:lnTo>
                      <a:pt x="134" y="96"/>
                    </a:lnTo>
                    <a:lnTo>
                      <a:pt x="162" y="96"/>
                    </a:lnTo>
                    <a:lnTo>
                      <a:pt x="162" y="96"/>
                    </a:lnTo>
                    <a:lnTo>
                      <a:pt x="164" y="78"/>
                    </a:lnTo>
                    <a:lnTo>
                      <a:pt x="164" y="70"/>
                    </a:lnTo>
                    <a:lnTo>
                      <a:pt x="162" y="60"/>
                    </a:lnTo>
                    <a:lnTo>
                      <a:pt x="160" y="52"/>
                    </a:lnTo>
                    <a:lnTo>
                      <a:pt x="154" y="46"/>
                    </a:lnTo>
                    <a:lnTo>
                      <a:pt x="146" y="42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26" y="42"/>
                    </a:lnTo>
                    <a:lnTo>
                      <a:pt x="120" y="44"/>
                    </a:lnTo>
                    <a:lnTo>
                      <a:pt x="114" y="48"/>
                    </a:lnTo>
                    <a:lnTo>
                      <a:pt x="110" y="54"/>
                    </a:lnTo>
                    <a:lnTo>
                      <a:pt x="106" y="66"/>
                    </a:lnTo>
                    <a:lnTo>
                      <a:pt x="104" y="76"/>
                    </a:lnTo>
                    <a:lnTo>
                      <a:pt x="22" y="76"/>
                    </a:lnTo>
                    <a:lnTo>
                      <a:pt x="22" y="76"/>
                    </a:lnTo>
                    <a:lnTo>
                      <a:pt x="24" y="66"/>
                    </a:lnTo>
                    <a:lnTo>
                      <a:pt x="26" y="54"/>
                    </a:lnTo>
                    <a:lnTo>
                      <a:pt x="28" y="46"/>
                    </a:lnTo>
                    <a:lnTo>
                      <a:pt x="34" y="38"/>
                    </a:lnTo>
                    <a:lnTo>
                      <a:pt x="38" y="30"/>
                    </a:lnTo>
                    <a:lnTo>
                      <a:pt x="46" y="24"/>
                    </a:lnTo>
                    <a:lnTo>
                      <a:pt x="54" y="18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82" y="6"/>
                    </a:lnTo>
                    <a:lnTo>
                      <a:pt x="102" y="2"/>
                    </a:lnTo>
                    <a:lnTo>
                      <a:pt x="124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64" y="0"/>
                    </a:lnTo>
                    <a:lnTo>
                      <a:pt x="182" y="4"/>
                    </a:lnTo>
                    <a:lnTo>
                      <a:pt x="200" y="10"/>
                    </a:lnTo>
                    <a:lnTo>
                      <a:pt x="216" y="18"/>
                    </a:lnTo>
                    <a:lnTo>
                      <a:pt x="230" y="30"/>
                    </a:lnTo>
                    <a:lnTo>
                      <a:pt x="236" y="38"/>
                    </a:lnTo>
                    <a:lnTo>
                      <a:pt x="240" y="44"/>
                    </a:lnTo>
                    <a:lnTo>
                      <a:pt x="244" y="52"/>
                    </a:lnTo>
                    <a:lnTo>
                      <a:pt x="246" y="62"/>
                    </a:lnTo>
                    <a:lnTo>
                      <a:pt x="248" y="72"/>
                    </a:lnTo>
                    <a:lnTo>
                      <a:pt x="248" y="82"/>
                    </a:lnTo>
                    <a:lnTo>
                      <a:pt x="242" y="196"/>
                    </a:lnTo>
                    <a:lnTo>
                      <a:pt x="242" y="196"/>
                    </a:lnTo>
                    <a:lnTo>
                      <a:pt x="240" y="214"/>
                    </a:lnTo>
                    <a:lnTo>
                      <a:pt x="242" y="246"/>
                    </a:lnTo>
                    <a:lnTo>
                      <a:pt x="158" y="246"/>
                    </a:lnTo>
                    <a:lnTo>
                      <a:pt x="152" y="216"/>
                    </a:lnTo>
                    <a:close/>
                    <a:moveTo>
                      <a:pt x="114" y="200"/>
                    </a:moveTo>
                    <a:lnTo>
                      <a:pt x="114" y="200"/>
                    </a:lnTo>
                    <a:lnTo>
                      <a:pt x="128" y="198"/>
                    </a:lnTo>
                    <a:lnTo>
                      <a:pt x="138" y="194"/>
                    </a:lnTo>
                    <a:lnTo>
                      <a:pt x="146" y="186"/>
                    </a:lnTo>
                    <a:lnTo>
                      <a:pt x="152" y="176"/>
                    </a:lnTo>
                    <a:lnTo>
                      <a:pt x="156" y="166"/>
                    </a:lnTo>
                    <a:lnTo>
                      <a:pt x="158" y="154"/>
                    </a:lnTo>
                    <a:lnTo>
                      <a:pt x="160" y="130"/>
                    </a:lnTo>
                    <a:lnTo>
                      <a:pt x="160" y="130"/>
                    </a:lnTo>
                    <a:lnTo>
                      <a:pt x="134" y="130"/>
                    </a:lnTo>
                    <a:lnTo>
                      <a:pt x="122" y="132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2" y="140"/>
                    </a:lnTo>
                    <a:lnTo>
                      <a:pt x="94" y="148"/>
                    </a:lnTo>
                    <a:lnTo>
                      <a:pt x="88" y="158"/>
                    </a:lnTo>
                    <a:lnTo>
                      <a:pt x="86" y="170"/>
                    </a:lnTo>
                    <a:lnTo>
                      <a:pt x="86" y="170"/>
                    </a:lnTo>
                    <a:lnTo>
                      <a:pt x="86" y="176"/>
                    </a:lnTo>
                    <a:lnTo>
                      <a:pt x="88" y="182"/>
                    </a:lnTo>
                    <a:lnTo>
                      <a:pt x="92" y="192"/>
                    </a:lnTo>
                    <a:lnTo>
                      <a:pt x="96" y="194"/>
                    </a:lnTo>
                    <a:lnTo>
                      <a:pt x="102" y="198"/>
                    </a:lnTo>
                    <a:lnTo>
                      <a:pt x="108" y="200"/>
                    </a:lnTo>
                    <a:lnTo>
                      <a:pt x="114" y="200"/>
                    </a:lnTo>
                    <a:lnTo>
                      <a:pt x="114" y="2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Freeform 11">
                <a:extLst>
                  <a:ext uri="{FF2B5EF4-FFF2-40B4-BE49-F238E27FC236}">
                    <a16:creationId xmlns:a16="http://schemas.microsoft.com/office/drawing/2014/main" id="{ABCE7B99-6997-40B8-B0B5-4951EB98284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92825" y="352425"/>
                <a:ext cx="454025" cy="542925"/>
              </a:xfrm>
              <a:custGeom>
                <a:avLst/>
                <a:gdLst>
                  <a:gd name="T0" fmla="*/ 0 w 286"/>
                  <a:gd name="T1" fmla="*/ 342 h 342"/>
                  <a:gd name="T2" fmla="*/ 24 w 286"/>
                  <a:gd name="T3" fmla="*/ 0 h 342"/>
                  <a:gd name="T4" fmla="*/ 114 w 286"/>
                  <a:gd name="T5" fmla="*/ 0 h 342"/>
                  <a:gd name="T6" fmla="*/ 90 w 286"/>
                  <a:gd name="T7" fmla="*/ 342 h 342"/>
                  <a:gd name="T8" fmla="*/ 0 w 286"/>
                  <a:gd name="T9" fmla="*/ 342 h 342"/>
                  <a:gd name="T10" fmla="*/ 100 w 286"/>
                  <a:gd name="T11" fmla="*/ 210 h 342"/>
                  <a:gd name="T12" fmla="*/ 184 w 286"/>
                  <a:gd name="T13" fmla="*/ 104 h 342"/>
                  <a:gd name="T14" fmla="*/ 286 w 286"/>
                  <a:gd name="T15" fmla="*/ 104 h 342"/>
                  <a:gd name="T16" fmla="*/ 194 w 286"/>
                  <a:gd name="T17" fmla="*/ 204 h 342"/>
                  <a:gd name="T18" fmla="*/ 282 w 286"/>
                  <a:gd name="T19" fmla="*/ 342 h 342"/>
                  <a:gd name="T20" fmla="*/ 170 w 286"/>
                  <a:gd name="T21" fmla="*/ 342 h 342"/>
                  <a:gd name="T22" fmla="*/ 100 w 286"/>
                  <a:gd name="T23" fmla="*/ 21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6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4" y="0"/>
                    </a:lnTo>
                    <a:lnTo>
                      <a:pt x="90" y="342"/>
                    </a:lnTo>
                    <a:lnTo>
                      <a:pt x="0" y="342"/>
                    </a:lnTo>
                    <a:close/>
                    <a:moveTo>
                      <a:pt x="100" y="210"/>
                    </a:moveTo>
                    <a:lnTo>
                      <a:pt x="184" y="104"/>
                    </a:lnTo>
                    <a:lnTo>
                      <a:pt x="286" y="104"/>
                    </a:lnTo>
                    <a:lnTo>
                      <a:pt x="194" y="204"/>
                    </a:lnTo>
                    <a:lnTo>
                      <a:pt x="282" y="342"/>
                    </a:lnTo>
                    <a:lnTo>
                      <a:pt x="170" y="342"/>
                    </a:lnTo>
                    <a:lnTo>
                      <a:pt x="100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Freeform 12">
                <a:extLst>
                  <a:ext uri="{FF2B5EF4-FFF2-40B4-BE49-F238E27FC236}">
                    <a16:creationId xmlns:a16="http://schemas.microsoft.com/office/drawing/2014/main" id="{E0DDBC19-FC4E-4643-9582-B7FBD621C3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6800" y="517525"/>
                <a:ext cx="292100" cy="377825"/>
              </a:xfrm>
              <a:custGeom>
                <a:avLst/>
                <a:gdLst>
                  <a:gd name="T0" fmla="*/ 104 w 184"/>
                  <a:gd name="T1" fmla="*/ 34 h 238"/>
                  <a:gd name="T2" fmla="*/ 106 w 184"/>
                  <a:gd name="T3" fmla="*/ 34 h 238"/>
                  <a:gd name="T4" fmla="*/ 106 w 184"/>
                  <a:gd name="T5" fmla="*/ 34 h 238"/>
                  <a:gd name="T6" fmla="*/ 114 w 184"/>
                  <a:gd name="T7" fmla="*/ 24 h 238"/>
                  <a:gd name="T8" fmla="*/ 124 w 184"/>
                  <a:gd name="T9" fmla="*/ 16 h 238"/>
                  <a:gd name="T10" fmla="*/ 132 w 184"/>
                  <a:gd name="T11" fmla="*/ 10 h 238"/>
                  <a:gd name="T12" fmla="*/ 142 w 184"/>
                  <a:gd name="T13" fmla="*/ 6 h 238"/>
                  <a:gd name="T14" fmla="*/ 152 w 184"/>
                  <a:gd name="T15" fmla="*/ 4 h 238"/>
                  <a:gd name="T16" fmla="*/ 162 w 184"/>
                  <a:gd name="T17" fmla="*/ 2 h 238"/>
                  <a:gd name="T18" fmla="*/ 184 w 184"/>
                  <a:gd name="T19" fmla="*/ 0 h 238"/>
                  <a:gd name="T20" fmla="*/ 178 w 184"/>
                  <a:gd name="T21" fmla="*/ 76 h 238"/>
                  <a:gd name="T22" fmla="*/ 178 w 184"/>
                  <a:gd name="T23" fmla="*/ 76 h 238"/>
                  <a:gd name="T24" fmla="*/ 160 w 184"/>
                  <a:gd name="T25" fmla="*/ 76 h 238"/>
                  <a:gd name="T26" fmla="*/ 160 w 184"/>
                  <a:gd name="T27" fmla="*/ 76 h 238"/>
                  <a:gd name="T28" fmla="*/ 140 w 184"/>
                  <a:gd name="T29" fmla="*/ 78 h 238"/>
                  <a:gd name="T30" fmla="*/ 126 w 184"/>
                  <a:gd name="T31" fmla="*/ 82 h 238"/>
                  <a:gd name="T32" fmla="*/ 116 w 184"/>
                  <a:gd name="T33" fmla="*/ 88 h 238"/>
                  <a:gd name="T34" fmla="*/ 108 w 184"/>
                  <a:gd name="T35" fmla="*/ 98 h 238"/>
                  <a:gd name="T36" fmla="*/ 102 w 184"/>
                  <a:gd name="T37" fmla="*/ 108 h 238"/>
                  <a:gd name="T38" fmla="*/ 100 w 184"/>
                  <a:gd name="T39" fmla="*/ 120 h 238"/>
                  <a:gd name="T40" fmla="*/ 98 w 184"/>
                  <a:gd name="T41" fmla="*/ 148 h 238"/>
                  <a:gd name="T42" fmla="*/ 92 w 184"/>
                  <a:gd name="T43" fmla="*/ 238 h 238"/>
                  <a:gd name="T44" fmla="*/ 0 w 184"/>
                  <a:gd name="T45" fmla="*/ 238 h 238"/>
                  <a:gd name="T46" fmla="*/ 12 w 184"/>
                  <a:gd name="T47" fmla="*/ 62 h 238"/>
                  <a:gd name="T48" fmla="*/ 12 w 184"/>
                  <a:gd name="T49" fmla="*/ 62 h 238"/>
                  <a:gd name="T50" fmla="*/ 14 w 184"/>
                  <a:gd name="T51" fmla="*/ 32 h 238"/>
                  <a:gd name="T52" fmla="*/ 14 w 184"/>
                  <a:gd name="T53" fmla="*/ 0 h 238"/>
                  <a:gd name="T54" fmla="*/ 102 w 184"/>
                  <a:gd name="T55" fmla="*/ 0 h 238"/>
                  <a:gd name="T56" fmla="*/ 104 w 184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4" h="238">
                    <a:moveTo>
                      <a:pt x="104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4" y="24"/>
                    </a:lnTo>
                    <a:lnTo>
                      <a:pt x="124" y="16"/>
                    </a:lnTo>
                    <a:lnTo>
                      <a:pt x="132" y="10"/>
                    </a:lnTo>
                    <a:lnTo>
                      <a:pt x="142" y="6"/>
                    </a:lnTo>
                    <a:lnTo>
                      <a:pt x="152" y="4"/>
                    </a:lnTo>
                    <a:lnTo>
                      <a:pt x="162" y="2"/>
                    </a:lnTo>
                    <a:lnTo>
                      <a:pt x="184" y="0"/>
                    </a:lnTo>
                    <a:lnTo>
                      <a:pt x="178" y="76"/>
                    </a:lnTo>
                    <a:lnTo>
                      <a:pt x="178" y="76"/>
                    </a:lnTo>
                    <a:lnTo>
                      <a:pt x="160" y="76"/>
                    </a:lnTo>
                    <a:lnTo>
                      <a:pt x="160" y="76"/>
                    </a:lnTo>
                    <a:lnTo>
                      <a:pt x="140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2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4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13">
                <a:extLst>
                  <a:ext uri="{FF2B5EF4-FFF2-40B4-BE49-F238E27FC236}">
                    <a16:creationId xmlns:a16="http://schemas.microsoft.com/office/drawing/2014/main" id="{FC6F6BFF-B96F-4FB2-A17E-4A85831CA6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9375" y="352425"/>
                <a:ext cx="174625" cy="542925"/>
              </a:xfrm>
              <a:custGeom>
                <a:avLst/>
                <a:gdLst>
                  <a:gd name="T0" fmla="*/ 0 w 110"/>
                  <a:gd name="T1" fmla="*/ 342 h 342"/>
                  <a:gd name="T2" fmla="*/ 24 w 110"/>
                  <a:gd name="T3" fmla="*/ 0 h 342"/>
                  <a:gd name="T4" fmla="*/ 110 w 110"/>
                  <a:gd name="T5" fmla="*/ 0 h 342"/>
                  <a:gd name="T6" fmla="*/ 86 w 110"/>
                  <a:gd name="T7" fmla="*/ 342 h 342"/>
                  <a:gd name="T8" fmla="*/ 0 w 110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0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0" y="0"/>
                    </a:lnTo>
                    <a:lnTo>
                      <a:pt x="86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14">
                <a:extLst>
                  <a:ext uri="{FF2B5EF4-FFF2-40B4-BE49-F238E27FC236}">
                    <a16:creationId xmlns:a16="http://schemas.microsoft.com/office/drawing/2014/main" id="{6D209785-0A22-4BAA-BF64-5BB4318047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40025" y="352425"/>
                <a:ext cx="438150" cy="546100"/>
              </a:xfrm>
              <a:custGeom>
                <a:avLst/>
                <a:gdLst>
                  <a:gd name="T0" fmla="*/ 112 w 276"/>
                  <a:gd name="T1" fmla="*/ 0 h 344"/>
                  <a:gd name="T2" fmla="*/ 104 w 276"/>
                  <a:gd name="T3" fmla="*/ 136 h 344"/>
                  <a:gd name="T4" fmla="*/ 120 w 276"/>
                  <a:gd name="T5" fmla="*/ 122 h 344"/>
                  <a:gd name="T6" fmla="*/ 146 w 276"/>
                  <a:gd name="T7" fmla="*/ 104 h 344"/>
                  <a:gd name="T8" fmla="*/ 168 w 276"/>
                  <a:gd name="T9" fmla="*/ 98 h 344"/>
                  <a:gd name="T10" fmla="*/ 180 w 276"/>
                  <a:gd name="T11" fmla="*/ 98 h 344"/>
                  <a:gd name="T12" fmla="*/ 206 w 276"/>
                  <a:gd name="T13" fmla="*/ 100 h 344"/>
                  <a:gd name="T14" fmla="*/ 226 w 276"/>
                  <a:gd name="T15" fmla="*/ 108 h 344"/>
                  <a:gd name="T16" fmla="*/ 244 w 276"/>
                  <a:gd name="T17" fmla="*/ 120 h 344"/>
                  <a:gd name="T18" fmla="*/ 258 w 276"/>
                  <a:gd name="T19" fmla="*/ 136 h 344"/>
                  <a:gd name="T20" fmla="*/ 274 w 276"/>
                  <a:gd name="T21" fmla="*/ 176 h 344"/>
                  <a:gd name="T22" fmla="*/ 276 w 276"/>
                  <a:gd name="T23" fmla="*/ 220 h 344"/>
                  <a:gd name="T24" fmla="*/ 274 w 276"/>
                  <a:gd name="T25" fmla="*/ 242 h 344"/>
                  <a:gd name="T26" fmla="*/ 260 w 276"/>
                  <a:gd name="T27" fmla="*/ 284 h 344"/>
                  <a:gd name="T28" fmla="*/ 240 w 276"/>
                  <a:gd name="T29" fmla="*/ 312 h 344"/>
                  <a:gd name="T30" fmla="*/ 222 w 276"/>
                  <a:gd name="T31" fmla="*/ 328 h 344"/>
                  <a:gd name="T32" fmla="*/ 202 w 276"/>
                  <a:gd name="T33" fmla="*/ 338 h 344"/>
                  <a:gd name="T34" fmla="*/ 176 w 276"/>
                  <a:gd name="T35" fmla="*/ 344 h 344"/>
                  <a:gd name="T36" fmla="*/ 160 w 276"/>
                  <a:gd name="T37" fmla="*/ 344 h 344"/>
                  <a:gd name="T38" fmla="*/ 140 w 276"/>
                  <a:gd name="T39" fmla="*/ 342 h 344"/>
                  <a:gd name="T40" fmla="*/ 106 w 276"/>
                  <a:gd name="T41" fmla="*/ 324 h 344"/>
                  <a:gd name="T42" fmla="*/ 92 w 276"/>
                  <a:gd name="T43" fmla="*/ 312 h 344"/>
                  <a:gd name="T44" fmla="*/ 0 w 276"/>
                  <a:gd name="T45" fmla="*/ 342 h 344"/>
                  <a:gd name="T46" fmla="*/ 94 w 276"/>
                  <a:gd name="T47" fmla="*/ 226 h 344"/>
                  <a:gd name="T48" fmla="*/ 96 w 276"/>
                  <a:gd name="T49" fmla="*/ 250 h 344"/>
                  <a:gd name="T50" fmla="*/ 102 w 276"/>
                  <a:gd name="T51" fmla="*/ 272 h 344"/>
                  <a:gd name="T52" fmla="*/ 114 w 276"/>
                  <a:gd name="T53" fmla="*/ 288 h 344"/>
                  <a:gd name="T54" fmla="*/ 134 w 276"/>
                  <a:gd name="T55" fmla="*/ 296 h 344"/>
                  <a:gd name="T56" fmla="*/ 148 w 276"/>
                  <a:gd name="T57" fmla="*/ 294 h 344"/>
                  <a:gd name="T58" fmla="*/ 168 w 276"/>
                  <a:gd name="T59" fmla="*/ 282 h 344"/>
                  <a:gd name="T60" fmla="*/ 180 w 276"/>
                  <a:gd name="T61" fmla="*/ 260 h 344"/>
                  <a:gd name="T62" fmla="*/ 186 w 276"/>
                  <a:gd name="T63" fmla="*/ 222 h 344"/>
                  <a:gd name="T64" fmla="*/ 186 w 276"/>
                  <a:gd name="T65" fmla="*/ 198 h 344"/>
                  <a:gd name="T66" fmla="*/ 180 w 276"/>
                  <a:gd name="T67" fmla="*/ 174 h 344"/>
                  <a:gd name="T68" fmla="*/ 168 w 276"/>
                  <a:gd name="T69" fmla="*/ 156 h 344"/>
                  <a:gd name="T70" fmla="*/ 146 w 276"/>
                  <a:gd name="T71" fmla="*/ 150 h 344"/>
                  <a:gd name="T72" fmla="*/ 132 w 276"/>
                  <a:gd name="T73" fmla="*/ 152 h 344"/>
                  <a:gd name="T74" fmla="*/ 112 w 276"/>
                  <a:gd name="T75" fmla="*/ 166 h 344"/>
                  <a:gd name="T76" fmla="*/ 100 w 276"/>
                  <a:gd name="T77" fmla="*/ 188 h 344"/>
                  <a:gd name="T78" fmla="*/ 94 w 276"/>
                  <a:gd name="T79" fmla="*/ 226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6" h="344">
                    <a:moveTo>
                      <a:pt x="24" y="0"/>
                    </a:moveTo>
                    <a:lnTo>
                      <a:pt x="112" y="0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20" y="122"/>
                    </a:lnTo>
                    <a:lnTo>
                      <a:pt x="138" y="108"/>
                    </a:lnTo>
                    <a:lnTo>
                      <a:pt x="146" y="104"/>
                    </a:lnTo>
                    <a:lnTo>
                      <a:pt x="158" y="100"/>
                    </a:lnTo>
                    <a:lnTo>
                      <a:pt x="168" y="98"/>
                    </a:lnTo>
                    <a:lnTo>
                      <a:pt x="180" y="98"/>
                    </a:lnTo>
                    <a:lnTo>
                      <a:pt x="180" y="98"/>
                    </a:lnTo>
                    <a:lnTo>
                      <a:pt x="194" y="98"/>
                    </a:lnTo>
                    <a:lnTo>
                      <a:pt x="206" y="100"/>
                    </a:lnTo>
                    <a:lnTo>
                      <a:pt x="216" y="104"/>
                    </a:lnTo>
                    <a:lnTo>
                      <a:pt x="226" y="108"/>
                    </a:lnTo>
                    <a:lnTo>
                      <a:pt x="236" y="114"/>
                    </a:lnTo>
                    <a:lnTo>
                      <a:pt x="244" y="120"/>
                    </a:lnTo>
                    <a:lnTo>
                      <a:pt x="250" y="128"/>
                    </a:lnTo>
                    <a:lnTo>
                      <a:pt x="258" y="136"/>
                    </a:lnTo>
                    <a:lnTo>
                      <a:pt x="266" y="156"/>
                    </a:lnTo>
                    <a:lnTo>
                      <a:pt x="274" y="176"/>
                    </a:lnTo>
                    <a:lnTo>
                      <a:pt x="276" y="198"/>
                    </a:lnTo>
                    <a:lnTo>
                      <a:pt x="276" y="220"/>
                    </a:lnTo>
                    <a:lnTo>
                      <a:pt x="276" y="220"/>
                    </a:lnTo>
                    <a:lnTo>
                      <a:pt x="274" y="242"/>
                    </a:lnTo>
                    <a:lnTo>
                      <a:pt x="268" y="264"/>
                    </a:lnTo>
                    <a:lnTo>
                      <a:pt x="260" y="284"/>
                    </a:lnTo>
                    <a:lnTo>
                      <a:pt x="248" y="304"/>
                    </a:lnTo>
                    <a:lnTo>
                      <a:pt x="240" y="312"/>
                    </a:lnTo>
                    <a:lnTo>
                      <a:pt x="232" y="320"/>
                    </a:lnTo>
                    <a:lnTo>
                      <a:pt x="222" y="328"/>
                    </a:lnTo>
                    <a:lnTo>
                      <a:pt x="212" y="334"/>
                    </a:lnTo>
                    <a:lnTo>
                      <a:pt x="202" y="338"/>
                    </a:lnTo>
                    <a:lnTo>
                      <a:pt x="188" y="342"/>
                    </a:lnTo>
                    <a:lnTo>
                      <a:pt x="176" y="344"/>
                    </a:lnTo>
                    <a:lnTo>
                      <a:pt x="160" y="344"/>
                    </a:lnTo>
                    <a:lnTo>
                      <a:pt x="160" y="344"/>
                    </a:lnTo>
                    <a:lnTo>
                      <a:pt x="150" y="344"/>
                    </a:lnTo>
                    <a:lnTo>
                      <a:pt x="140" y="342"/>
                    </a:lnTo>
                    <a:lnTo>
                      <a:pt x="122" y="336"/>
                    </a:lnTo>
                    <a:lnTo>
                      <a:pt x="106" y="324"/>
                    </a:lnTo>
                    <a:lnTo>
                      <a:pt x="94" y="312"/>
                    </a:lnTo>
                    <a:lnTo>
                      <a:pt x="92" y="312"/>
                    </a:lnTo>
                    <a:lnTo>
                      <a:pt x="88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  <a:moveTo>
                      <a:pt x="94" y="226"/>
                    </a:moveTo>
                    <a:lnTo>
                      <a:pt x="94" y="226"/>
                    </a:lnTo>
                    <a:lnTo>
                      <a:pt x="96" y="250"/>
                    </a:lnTo>
                    <a:lnTo>
                      <a:pt x="98" y="260"/>
                    </a:lnTo>
                    <a:lnTo>
                      <a:pt x="102" y="272"/>
                    </a:lnTo>
                    <a:lnTo>
                      <a:pt x="106" y="282"/>
                    </a:lnTo>
                    <a:lnTo>
                      <a:pt x="114" y="288"/>
                    </a:lnTo>
                    <a:lnTo>
                      <a:pt x="122" y="294"/>
                    </a:lnTo>
                    <a:lnTo>
                      <a:pt x="134" y="296"/>
                    </a:lnTo>
                    <a:lnTo>
                      <a:pt x="134" y="296"/>
                    </a:lnTo>
                    <a:lnTo>
                      <a:pt x="148" y="294"/>
                    </a:lnTo>
                    <a:lnTo>
                      <a:pt x="158" y="288"/>
                    </a:lnTo>
                    <a:lnTo>
                      <a:pt x="168" y="282"/>
                    </a:lnTo>
                    <a:lnTo>
                      <a:pt x="174" y="272"/>
                    </a:lnTo>
                    <a:lnTo>
                      <a:pt x="180" y="260"/>
                    </a:lnTo>
                    <a:lnTo>
                      <a:pt x="184" y="248"/>
                    </a:lnTo>
                    <a:lnTo>
                      <a:pt x="186" y="222"/>
                    </a:lnTo>
                    <a:lnTo>
                      <a:pt x="186" y="222"/>
                    </a:lnTo>
                    <a:lnTo>
                      <a:pt x="186" y="198"/>
                    </a:lnTo>
                    <a:lnTo>
                      <a:pt x="184" y="186"/>
                    </a:lnTo>
                    <a:lnTo>
                      <a:pt x="180" y="174"/>
                    </a:lnTo>
                    <a:lnTo>
                      <a:pt x="176" y="164"/>
                    </a:lnTo>
                    <a:lnTo>
                      <a:pt x="168" y="156"/>
                    </a:lnTo>
                    <a:lnTo>
                      <a:pt x="158" y="152"/>
                    </a:lnTo>
                    <a:lnTo>
                      <a:pt x="146" y="150"/>
                    </a:lnTo>
                    <a:lnTo>
                      <a:pt x="146" y="150"/>
                    </a:lnTo>
                    <a:lnTo>
                      <a:pt x="132" y="152"/>
                    </a:lnTo>
                    <a:lnTo>
                      <a:pt x="120" y="156"/>
                    </a:lnTo>
                    <a:lnTo>
                      <a:pt x="112" y="166"/>
                    </a:lnTo>
                    <a:lnTo>
                      <a:pt x="104" y="176"/>
                    </a:lnTo>
                    <a:lnTo>
                      <a:pt x="100" y="188"/>
                    </a:lnTo>
                    <a:lnTo>
                      <a:pt x="98" y="200"/>
                    </a:lnTo>
                    <a:lnTo>
                      <a:pt x="94" y="226"/>
                    </a:lnTo>
                    <a:lnTo>
                      <a:pt x="94" y="2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15">
                <a:extLst>
                  <a:ext uri="{FF2B5EF4-FFF2-40B4-BE49-F238E27FC236}">
                    <a16:creationId xmlns:a16="http://schemas.microsoft.com/office/drawing/2014/main" id="{21F43C09-8D71-4AB5-971A-61A9E0D6A8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97225" y="504825"/>
                <a:ext cx="406400" cy="396875"/>
              </a:xfrm>
              <a:custGeom>
                <a:avLst/>
                <a:gdLst>
                  <a:gd name="T0" fmla="*/ 86 w 256"/>
                  <a:gd name="T1" fmla="*/ 142 h 250"/>
                  <a:gd name="T2" fmla="*/ 86 w 256"/>
                  <a:gd name="T3" fmla="*/ 166 h 250"/>
                  <a:gd name="T4" fmla="*/ 90 w 256"/>
                  <a:gd name="T5" fmla="*/ 184 h 250"/>
                  <a:gd name="T6" fmla="*/ 102 w 256"/>
                  <a:gd name="T7" fmla="*/ 196 h 250"/>
                  <a:gd name="T8" fmla="*/ 124 w 256"/>
                  <a:gd name="T9" fmla="*/ 202 h 250"/>
                  <a:gd name="T10" fmla="*/ 132 w 256"/>
                  <a:gd name="T11" fmla="*/ 200 h 250"/>
                  <a:gd name="T12" fmla="*/ 148 w 256"/>
                  <a:gd name="T13" fmla="*/ 196 h 250"/>
                  <a:gd name="T14" fmla="*/ 158 w 256"/>
                  <a:gd name="T15" fmla="*/ 186 h 250"/>
                  <a:gd name="T16" fmla="*/ 164 w 256"/>
                  <a:gd name="T17" fmla="*/ 174 h 250"/>
                  <a:gd name="T18" fmla="*/ 248 w 256"/>
                  <a:gd name="T19" fmla="*/ 170 h 250"/>
                  <a:gd name="T20" fmla="*/ 246 w 256"/>
                  <a:gd name="T21" fmla="*/ 180 h 250"/>
                  <a:gd name="T22" fmla="*/ 238 w 256"/>
                  <a:gd name="T23" fmla="*/ 198 h 250"/>
                  <a:gd name="T24" fmla="*/ 218 w 256"/>
                  <a:gd name="T25" fmla="*/ 222 h 250"/>
                  <a:gd name="T26" fmla="*/ 202 w 256"/>
                  <a:gd name="T27" fmla="*/ 234 h 250"/>
                  <a:gd name="T28" fmla="*/ 168 w 256"/>
                  <a:gd name="T29" fmla="*/ 246 h 250"/>
                  <a:gd name="T30" fmla="*/ 128 w 256"/>
                  <a:gd name="T31" fmla="*/ 250 h 250"/>
                  <a:gd name="T32" fmla="*/ 96 w 256"/>
                  <a:gd name="T33" fmla="*/ 248 h 250"/>
                  <a:gd name="T34" fmla="*/ 66 w 256"/>
                  <a:gd name="T35" fmla="*/ 242 h 250"/>
                  <a:gd name="T36" fmla="*/ 44 w 256"/>
                  <a:gd name="T37" fmla="*/ 232 h 250"/>
                  <a:gd name="T38" fmla="*/ 26 w 256"/>
                  <a:gd name="T39" fmla="*/ 218 h 250"/>
                  <a:gd name="T40" fmla="*/ 12 w 256"/>
                  <a:gd name="T41" fmla="*/ 200 h 250"/>
                  <a:gd name="T42" fmla="*/ 4 w 256"/>
                  <a:gd name="T43" fmla="*/ 178 h 250"/>
                  <a:gd name="T44" fmla="*/ 0 w 256"/>
                  <a:gd name="T45" fmla="*/ 150 h 250"/>
                  <a:gd name="T46" fmla="*/ 0 w 256"/>
                  <a:gd name="T47" fmla="*/ 118 h 250"/>
                  <a:gd name="T48" fmla="*/ 4 w 256"/>
                  <a:gd name="T49" fmla="*/ 92 h 250"/>
                  <a:gd name="T50" fmla="*/ 14 w 256"/>
                  <a:gd name="T51" fmla="*/ 68 h 250"/>
                  <a:gd name="T52" fmla="*/ 26 w 256"/>
                  <a:gd name="T53" fmla="*/ 48 h 250"/>
                  <a:gd name="T54" fmla="*/ 44 w 256"/>
                  <a:gd name="T55" fmla="*/ 32 h 250"/>
                  <a:gd name="T56" fmla="*/ 86 w 256"/>
                  <a:gd name="T57" fmla="*/ 8 h 250"/>
                  <a:gd name="T58" fmla="*/ 138 w 256"/>
                  <a:gd name="T59" fmla="*/ 0 h 250"/>
                  <a:gd name="T60" fmla="*/ 154 w 256"/>
                  <a:gd name="T61" fmla="*/ 2 h 250"/>
                  <a:gd name="T62" fmla="*/ 184 w 256"/>
                  <a:gd name="T63" fmla="*/ 6 h 250"/>
                  <a:gd name="T64" fmla="*/ 208 w 256"/>
                  <a:gd name="T65" fmla="*/ 18 h 250"/>
                  <a:gd name="T66" fmla="*/ 228 w 256"/>
                  <a:gd name="T67" fmla="*/ 32 h 250"/>
                  <a:gd name="T68" fmla="*/ 242 w 256"/>
                  <a:gd name="T69" fmla="*/ 50 h 250"/>
                  <a:gd name="T70" fmla="*/ 250 w 256"/>
                  <a:gd name="T71" fmla="*/ 72 h 250"/>
                  <a:gd name="T72" fmla="*/ 256 w 256"/>
                  <a:gd name="T73" fmla="*/ 112 h 250"/>
                  <a:gd name="T74" fmla="*/ 86 w 256"/>
                  <a:gd name="T75" fmla="*/ 142 h 250"/>
                  <a:gd name="T76" fmla="*/ 172 w 256"/>
                  <a:gd name="T77" fmla="*/ 98 h 250"/>
                  <a:gd name="T78" fmla="*/ 170 w 256"/>
                  <a:gd name="T79" fmla="*/ 78 h 250"/>
                  <a:gd name="T80" fmla="*/ 164 w 256"/>
                  <a:gd name="T81" fmla="*/ 62 h 250"/>
                  <a:gd name="T82" fmla="*/ 158 w 256"/>
                  <a:gd name="T83" fmla="*/ 56 h 250"/>
                  <a:gd name="T84" fmla="*/ 142 w 256"/>
                  <a:gd name="T85" fmla="*/ 48 h 250"/>
                  <a:gd name="T86" fmla="*/ 134 w 256"/>
                  <a:gd name="T87" fmla="*/ 46 h 250"/>
                  <a:gd name="T88" fmla="*/ 114 w 256"/>
                  <a:gd name="T89" fmla="*/ 52 h 250"/>
                  <a:gd name="T90" fmla="*/ 102 w 256"/>
                  <a:gd name="T91" fmla="*/ 62 h 250"/>
                  <a:gd name="T92" fmla="*/ 94 w 256"/>
                  <a:gd name="T93" fmla="*/ 78 h 250"/>
                  <a:gd name="T94" fmla="*/ 172 w 256"/>
                  <a:gd name="T95" fmla="*/ 98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6" h="250">
                    <a:moveTo>
                      <a:pt x="86" y="142"/>
                    </a:moveTo>
                    <a:lnTo>
                      <a:pt x="86" y="142"/>
                    </a:lnTo>
                    <a:lnTo>
                      <a:pt x="84" y="154"/>
                    </a:lnTo>
                    <a:lnTo>
                      <a:pt x="86" y="166"/>
                    </a:lnTo>
                    <a:lnTo>
                      <a:pt x="88" y="176"/>
                    </a:lnTo>
                    <a:lnTo>
                      <a:pt x="90" y="184"/>
                    </a:lnTo>
                    <a:lnTo>
                      <a:pt x="96" y="192"/>
                    </a:lnTo>
                    <a:lnTo>
                      <a:pt x="102" y="196"/>
                    </a:lnTo>
                    <a:lnTo>
                      <a:pt x="112" y="200"/>
                    </a:lnTo>
                    <a:lnTo>
                      <a:pt x="124" y="202"/>
                    </a:lnTo>
                    <a:lnTo>
                      <a:pt x="124" y="202"/>
                    </a:lnTo>
                    <a:lnTo>
                      <a:pt x="132" y="200"/>
                    </a:lnTo>
                    <a:lnTo>
                      <a:pt x="140" y="198"/>
                    </a:lnTo>
                    <a:lnTo>
                      <a:pt x="148" y="196"/>
                    </a:lnTo>
                    <a:lnTo>
                      <a:pt x="154" y="192"/>
                    </a:lnTo>
                    <a:lnTo>
                      <a:pt x="158" y="186"/>
                    </a:lnTo>
                    <a:lnTo>
                      <a:pt x="162" y="180"/>
                    </a:lnTo>
                    <a:lnTo>
                      <a:pt x="164" y="174"/>
                    </a:lnTo>
                    <a:lnTo>
                      <a:pt x="164" y="170"/>
                    </a:lnTo>
                    <a:lnTo>
                      <a:pt x="248" y="170"/>
                    </a:lnTo>
                    <a:lnTo>
                      <a:pt x="248" y="170"/>
                    </a:lnTo>
                    <a:lnTo>
                      <a:pt x="246" y="180"/>
                    </a:lnTo>
                    <a:lnTo>
                      <a:pt x="242" y="190"/>
                    </a:lnTo>
                    <a:lnTo>
                      <a:pt x="238" y="198"/>
                    </a:lnTo>
                    <a:lnTo>
                      <a:pt x="232" y="208"/>
                    </a:lnTo>
                    <a:lnTo>
                      <a:pt x="218" y="222"/>
                    </a:lnTo>
                    <a:lnTo>
                      <a:pt x="202" y="234"/>
                    </a:lnTo>
                    <a:lnTo>
                      <a:pt x="202" y="234"/>
                    </a:lnTo>
                    <a:lnTo>
                      <a:pt x="186" y="242"/>
                    </a:lnTo>
                    <a:lnTo>
                      <a:pt x="168" y="246"/>
                    </a:lnTo>
                    <a:lnTo>
                      <a:pt x="148" y="248"/>
                    </a:lnTo>
                    <a:lnTo>
                      <a:pt x="128" y="250"/>
                    </a:lnTo>
                    <a:lnTo>
                      <a:pt x="128" y="250"/>
                    </a:lnTo>
                    <a:lnTo>
                      <a:pt x="96" y="248"/>
                    </a:lnTo>
                    <a:lnTo>
                      <a:pt x="80" y="244"/>
                    </a:lnTo>
                    <a:lnTo>
                      <a:pt x="66" y="242"/>
                    </a:lnTo>
                    <a:lnTo>
                      <a:pt x="54" y="238"/>
                    </a:lnTo>
                    <a:lnTo>
                      <a:pt x="44" y="232"/>
                    </a:lnTo>
                    <a:lnTo>
                      <a:pt x="34" y="226"/>
                    </a:lnTo>
                    <a:lnTo>
                      <a:pt x="26" y="218"/>
                    </a:lnTo>
                    <a:lnTo>
                      <a:pt x="18" y="210"/>
                    </a:lnTo>
                    <a:lnTo>
                      <a:pt x="12" y="200"/>
                    </a:lnTo>
                    <a:lnTo>
                      <a:pt x="8" y="190"/>
                    </a:lnTo>
                    <a:lnTo>
                      <a:pt x="4" y="178"/>
                    </a:lnTo>
                    <a:lnTo>
                      <a:pt x="2" y="164"/>
                    </a:lnTo>
                    <a:lnTo>
                      <a:pt x="0" y="150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2" y="106"/>
                    </a:lnTo>
                    <a:lnTo>
                      <a:pt x="4" y="92"/>
                    </a:lnTo>
                    <a:lnTo>
                      <a:pt x="8" y="80"/>
                    </a:lnTo>
                    <a:lnTo>
                      <a:pt x="14" y="68"/>
                    </a:lnTo>
                    <a:lnTo>
                      <a:pt x="20" y="58"/>
                    </a:lnTo>
                    <a:lnTo>
                      <a:pt x="26" y="48"/>
                    </a:lnTo>
                    <a:lnTo>
                      <a:pt x="34" y="40"/>
                    </a:lnTo>
                    <a:lnTo>
                      <a:pt x="44" y="32"/>
                    </a:lnTo>
                    <a:lnTo>
                      <a:pt x="64" y="18"/>
                    </a:lnTo>
                    <a:lnTo>
                      <a:pt x="86" y="8"/>
                    </a:lnTo>
                    <a:lnTo>
                      <a:pt x="110" y="2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4" y="2"/>
                    </a:lnTo>
                    <a:lnTo>
                      <a:pt x="170" y="4"/>
                    </a:lnTo>
                    <a:lnTo>
                      <a:pt x="184" y="6"/>
                    </a:lnTo>
                    <a:lnTo>
                      <a:pt x="196" y="12"/>
                    </a:lnTo>
                    <a:lnTo>
                      <a:pt x="208" y="18"/>
                    </a:lnTo>
                    <a:lnTo>
                      <a:pt x="218" y="24"/>
                    </a:lnTo>
                    <a:lnTo>
                      <a:pt x="228" y="32"/>
                    </a:lnTo>
                    <a:lnTo>
                      <a:pt x="234" y="40"/>
                    </a:lnTo>
                    <a:lnTo>
                      <a:pt x="242" y="50"/>
                    </a:lnTo>
                    <a:lnTo>
                      <a:pt x="246" y="60"/>
                    </a:lnTo>
                    <a:lnTo>
                      <a:pt x="250" y="72"/>
                    </a:lnTo>
                    <a:lnTo>
                      <a:pt x="254" y="84"/>
                    </a:lnTo>
                    <a:lnTo>
                      <a:pt x="256" y="112"/>
                    </a:lnTo>
                    <a:lnTo>
                      <a:pt x="254" y="142"/>
                    </a:lnTo>
                    <a:lnTo>
                      <a:pt x="86" y="142"/>
                    </a:lnTo>
                    <a:close/>
                    <a:moveTo>
                      <a:pt x="172" y="98"/>
                    </a:moveTo>
                    <a:lnTo>
                      <a:pt x="172" y="98"/>
                    </a:lnTo>
                    <a:lnTo>
                      <a:pt x="172" y="88"/>
                    </a:lnTo>
                    <a:lnTo>
                      <a:pt x="170" y="78"/>
                    </a:lnTo>
                    <a:lnTo>
                      <a:pt x="168" y="70"/>
                    </a:lnTo>
                    <a:lnTo>
                      <a:pt x="164" y="62"/>
                    </a:lnTo>
                    <a:lnTo>
                      <a:pt x="164" y="62"/>
                    </a:lnTo>
                    <a:lnTo>
                      <a:pt x="158" y="56"/>
                    </a:lnTo>
                    <a:lnTo>
                      <a:pt x="150" y="50"/>
                    </a:lnTo>
                    <a:lnTo>
                      <a:pt x="142" y="48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22" y="48"/>
                    </a:lnTo>
                    <a:lnTo>
                      <a:pt x="114" y="52"/>
                    </a:lnTo>
                    <a:lnTo>
                      <a:pt x="106" y="56"/>
                    </a:lnTo>
                    <a:lnTo>
                      <a:pt x="102" y="62"/>
                    </a:lnTo>
                    <a:lnTo>
                      <a:pt x="96" y="70"/>
                    </a:lnTo>
                    <a:lnTo>
                      <a:pt x="94" y="78"/>
                    </a:lnTo>
                    <a:lnTo>
                      <a:pt x="90" y="98"/>
                    </a:lnTo>
                    <a:lnTo>
                      <a:pt x="172" y="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16">
                <a:extLst>
                  <a:ext uri="{FF2B5EF4-FFF2-40B4-BE49-F238E27FC236}">
                    <a16:creationId xmlns:a16="http://schemas.microsoft.com/office/drawing/2014/main" id="{59BD7326-E1BA-47EF-806B-6A7620AD96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4450" y="352425"/>
                <a:ext cx="196850" cy="542925"/>
              </a:xfrm>
              <a:custGeom>
                <a:avLst/>
                <a:gdLst>
                  <a:gd name="T0" fmla="*/ 24 w 124"/>
                  <a:gd name="T1" fmla="*/ 0 h 342"/>
                  <a:gd name="T2" fmla="*/ 124 w 124"/>
                  <a:gd name="T3" fmla="*/ 0 h 342"/>
                  <a:gd name="T4" fmla="*/ 100 w 124"/>
                  <a:gd name="T5" fmla="*/ 342 h 342"/>
                  <a:gd name="T6" fmla="*/ 0 w 124"/>
                  <a:gd name="T7" fmla="*/ 342 h 342"/>
                  <a:gd name="T8" fmla="*/ 24 w 124"/>
                  <a:gd name="T9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342">
                    <a:moveTo>
                      <a:pt x="24" y="0"/>
                    </a:moveTo>
                    <a:lnTo>
                      <a:pt x="124" y="0"/>
                    </a:lnTo>
                    <a:lnTo>
                      <a:pt x="100" y="342"/>
                    </a:lnTo>
                    <a:lnTo>
                      <a:pt x="0" y="34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17">
                <a:extLst>
                  <a:ext uri="{FF2B5EF4-FFF2-40B4-BE49-F238E27FC236}">
                    <a16:creationId xmlns:a16="http://schemas.microsoft.com/office/drawing/2014/main" id="{E047538B-3278-410C-A39F-70E297A0C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8600" y="352425"/>
                <a:ext cx="368300" cy="542925"/>
              </a:xfrm>
              <a:custGeom>
                <a:avLst/>
                <a:gdLst>
                  <a:gd name="T0" fmla="*/ 120 w 232"/>
                  <a:gd name="T1" fmla="*/ 0 h 342"/>
                  <a:gd name="T2" fmla="*/ 0 w 232"/>
                  <a:gd name="T3" fmla="*/ 152 h 342"/>
                  <a:gd name="T4" fmla="*/ 106 w 232"/>
                  <a:gd name="T5" fmla="*/ 342 h 342"/>
                  <a:gd name="T6" fmla="*/ 226 w 232"/>
                  <a:gd name="T7" fmla="*/ 342 h 342"/>
                  <a:gd name="T8" fmla="*/ 106 w 232"/>
                  <a:gd name="T9" fmla="*/ 148 h 342"/>
                  <a:gd name="T10" fmla="*/ 232 w 232"/>
                  <a:gd name="T11" fmla="*/ 0 h 342"/>
                  <a:gd name="T12" fmla="*/ 120 w 232"/>
                  <a:gd name="T13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2" h="342">
                    <a:moveTo>
                      <a:pt x="120" y="0"/>
                    </a:moveTo>
                    <a:lnTo>
                      <a:pt x="0" y="152"/>
                    </a:lnTo>
                    <a:lnTo>
                      <a:pt x="106" y="342"/>
                    </a:lnTo>
                    <a:lnTo>
                      <a:pt x="226" y="342"/>
                    </a:lnTo>
                    <a:lnTo>
                      <a:pt x="106" y="148"/>
                    </a:lnTo>
                    <a:lnTo>
                      <a:pt x="232" y="0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18">
                <a:extLst>
                  <a:ext uri="{FF2B5EF4-FFF2-40B4-BE49-F238E27FC236}">
                    <a16:creationId xmlns:a16="http://schemas.microsoft.com/office/drawing/2014/main" id="{D0102E34-9E2C-4657-A3B8-31D96DAD87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6425" y="517525"/>
                <a:ext cx="158750" cy="377825"/>
              </a:xfrm>
              <a:custGeom>
                <a:avLst/>
                <a:gdLst>
                  <a:gd name="T0" fmla="*/ 16 w 100"/>
                  <a:gd name="T1" fmla="*/ 0 h 238"/>
                  <a:gd name="T2" fmla="*/ 100 w 100"/>
                  <a:gd name="T3" fmla="*/ 0 h 238"/>
                  <a:gd name="T4" fmla="*/ 84 w 100"/>
                  <a:gd name="T5" fmla="*/ 238 h 238"/>
                  <a:gd name="T6" fmla="*/ 0 w 100"/>
                  <a:gd name="T7" fmla="*/ 238 h 238"/>
                  <a:gd name="T8" fmla="*/ 16 w 100"/>
                  <a:gd name="T9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" h="238">
                    <a:moveTo>
                      <a:pt x="16" y="0"/>
                    </a:moveTo>
                    <a:lnTo>
                      <a:pt x="100" y="0"/>
                    </a:lnTo>
                    <a:lnTo>
                      <a:pt x="84" y="238"/>
                    </a:lnTo>
                    <a:lnTo>
                      <a:pt x="0" y="238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19">
                <a:extLst>
                  <a:ext uri="{FF2B5EF4-FFF2-40B4-BE49-F238E27FC236}">
                    <a16:creationId xmlns:a16="http://schemas.microsoft.com/office/drawing/2014/main" id="{206AB94D-8800-4C81-BD86-AB130F2BBB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8350" y="504825"/>
                <a:ext cx="692150" cy="390525"/>
              </a:xfrm>
              <a:custGeom>
                <a:avLst/>
                <a:gdLst>
                  <a:gd name="T0" fmla="*/ 106 w 436"/>
                  <a:gd name="T1" fmla="*/ 40 h 246"/>
                  <a:gd name="T2" fmla="*/ 106 w 436"/>
                  <a:gd name="T3" fmla="*/ 40 h 246"/>
                  <a:gd name="T4" fmla="*/ 128 w 436"/>
                  <a:gd name="T5" fmla="*/ 20 h 246"/>
                  <a:gd name="T6" fmla="*/ 150 w 436"/>
                  <a:gd name="T7" fmla="*/ 8 h 246"/>
                  <a:gd name="T8" fmla="*/ 172 w 436"/>
                  <a:gd name="T9" fmla="*/ 2 h 246"/>
                  <a:gd name="T10" fmla="*/ 192 w 436"/>
                  <a:gd name="T11" fmla="*/ 2 h 246"/>
                  <a:gd name="T12" fmla="*/ 216 w 436"/>
                  <a:gd name="T13" fmla="*/ 6 h 246"/>
                  <a:gd name="T14" fmla="*/ 238 w 436"/>
                  <a:gd name="T15" fmla="*/ 14 h 246"/>
                  <a:gd name="T16" fmla="*/ 254 w 436"/>
                  <a:gd name="T17" fmla="*/ 28 h 246"/>
                  <a:gd name="T18" fmla="*/ 264 w 436"/>
                  <a:gd name="T19" fmla="*/ 44 h 246"/>
                  <a:gd name="T20" fmla="*/ 272 w 436"/>
                  <a:gd name="T21" fmla="*/ 34 h 246"/>
                  <a:gd name="T22" fmla="*/ 290 w 436"/>
                  <a:gd name="T23" fmla="*/ 18 h 246"/>
                  <a:gd name="T24" fmla="*/ 312 w 436"/>
                  <a:gd name="T25" fmla="*/ 8 h 246"/>
                  <a:gd name="T26" fmla="*/ 338 w 436"/>
                  <a:gd name="T27" fmla="*/ 2 h 246"/>
                  <a:gd name="T28" fmla="*/ 352 w 436"/>
                  <a:gd name="T29" fmla="*/ 0 h 246"/>
                  <a:gd name="T30" fmla="*/ 386 w 436"/>
                  <a:gd name="T31" fmla="*/ 6 h 246"/>
                  <a:gd name="T32" fmla="*/ 414 w 436"/>
                  <a:gd name="T33" fmla="*/ 24 h 246"/>
                  <a:gd name="T34" fmla="*/ 432 w 436"/>
                  <a:gd name="T35" fmla="*/ 50 h 246"/>
                  <a:gd name="T36" fmla="*/ 436 w 436"/>
                  <a:gd name="T37" fmla="*/ 86 h 246"/>
                  <a:gd name="T38" fmla="*/ 332 w 436"/>
                  <a:gd name="T39" fmla="*/ 246 h 246"/>
                  <a:gd name="T40" fmla="*/ 342 w 436"/>
                  <a:gd name="T41" fmla="*/ 106 h 246"/>
                  <a:gd name="T42" fmla="*/ 342 w 436"/>
                  <a:gd name="T43" fmla="*/ 80 h 246"/>
                  <a:gd name="T44" fmla="*/ 336 w 436"/>
                  <a:gd name="T45" fmla="*/ 66 h 246"/>
                  <a:gd name="T46" fmla="*/ 322 w 436"/>
                  <a:gd name="T47" fmla="*/ 58 h 246"/>
                  <a:gd name="T48" fmla="*/ 312 w 436"/>
                  <a:gd name="T49" fmla="*/ 58 h 246"/>
                  <a:gd name="T50" fmla="*/ 288 w 436"/>
                  <a:gd name="T51" fmla="*/ 66 h 246"/>
                  <a:gd name="T52" fmla="*/ 276 w 436"/>
                  <a:gd name="T53" fmla="*/ 82 h 246"/>
                  <a:gd name="T54" fmla="*/ 270 w 436"/>
                  <a:gd name="T55" fmla="*/ 100 h 246"/>
                  <a:gd name="T56" fmla="*/ 260 w 436"/>
                  <a:gd name="T57" fmla="*/ 246 h 246"/>
                  <a:gd name="T58" fmla="*/ 180 w 436"/>
                  <a:gd name="T59" fmla="*/ 106 h 246"/>
                  <a:gd name="T60" fmla="*/ 178 w 436"/>
                  <a:gd name="T61" fmla="*/ 88 h 246"/>
                  <a:gd name="T62" fmla="*/ 174 w 436"/>
                  <a:gd name="T63" fmla="*/ 72 h 246"/>
                  <a:gd name="T64" fmla="*/ 164 w 436"/>
                  <a:gd name="T65" fmla="*/ 62 h 246"/>
                  <a:gd name="T66" fmla="*/ 148 w 436"/>
                  <a:gd name="T67" fmla="*/ 58 h 246"/>
                  <a:gd name="T68" fmla="*/ 132 w 436"/>
                  <a:gd name="T69" fmla="*/ 60 h 246"/>
                  <a:gd name="T70" fmla="*/ 114 w 436"/>
                  <a:gd name="T71" fmla="*/ 72 h 246"/>
                  <a:gd name="T72" fmla="*/ 104 w 436"/>
                  <a:gd name="T73" fmla="*/ 92 h 246"/>
                  <a:gd name="T74" fmla="*/ 102 w 436"/>
                  <a:gd name="T75" fmla="*/ 110 h 246"/>
                  <a:gd name="T76" fmla="*/ 0 w 436"/>
                  <a:gd name="T77" fmla="*/ 246 h 246"/>
                  <a:gd name="T78" fmla="*/ 106 w 436"/>
                  <a:gd name="T79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36" h="246">
                    <a:moveTo>
                      <a:pt x="106" y="8"/>
                    </a:moveTo>
                    <a:lnTo>
                      <a:pt x="106" y="40"/>
                    </a:lnTo>
                    <a:lnTo>
                      <a:pt x="106" y="40"/>
                    </a:lnTo>
                    <a:lnTo>
                      <a:pt x="106" y="40"/>
                    </a:lnTo>
                    <a:lnTo>
                      <a:pt x="118" y="28"/>
                    </a:lnTo>
                    <a:lnTo>
                      <a:pt x="128" y="20"/>
                    </a:lnTo>
                    <a:lnTo>
                      <a:pt x="140" y="12"/>
                    </a:lnTo>
                    <a:lnTo>
                      <a:pt x="150" y="8"/>
                    </a:lnTo>
                    <a:lnTo>
                      <a:pt x="162" y="4"/>
                    </a:lnTo>
                    <a:lnTo>
                      <a:pt x="172" y="2"/>
                    </a:lnTo>
                    <a:lnTo>
                      <a:pt x="192" y="2"/>
                    </a:lnTo>
                    <a:lnTo>
                      <a:pt x="192" y="2"/>
                    </a:lnTo>
                    <a:lnTo>
                      <a:pt x="204" y="2"/>
                    </a:lnTo>
                    <a:lnTo>
                      <a:pt x="216" y="6"/>
                    </a:lnTo>
                    <a:lnTo>
                      <a:pt x="228" y="8"/>
                    </a:lnTo>
                    <a:lnTo>
                      <a:pt x="238" y="14"/>
                    </a:lnTo>
                    <a:lnTo>
                      <a:pt x="246" y="20"/>
                    </a:lnTo>
                    <a:lnTo>
                      <a:pt x="254" y="28"/>
                    </a:lnTo>
                    <a:lnTo>
                      <a:pt x="260" y="36"/>
                    </a:lnTo>
                    <a:lnTo>
                      <a:pt x="264" y="44"/>
                    </a:lnTo>
                    <a:lnTo>
                      <a:pt x="264" y="44"/>
                    </a:lnTo>
                    <a:lnTo>
                      <a:pt x="272" y="34"/>
                    </a:lnTo>
                    <a:lnTo>
                      <a:pt x="280" y="26"/>
                    </a:lnTo>
                    <a:lnTo>
                      <a:pt x="290" y="18"/>
                    </a:lnTo>
                    <a:lnTo>
                      <a:pt x="302" y="12"/>
                    </a:lnTo>
                    <a:lnTo>
                      <a:pt x="312" y="8"/>
                    </a:lnTo>
                    <a:lnTo>
                      <a:pt x="326" y="4"/>
                    </a:lnTo>
                    <a:lnTo>
                      <a:pt x="338" y="2"/>
                    </a:lnTo>
                    <a:lnTo>
                      <a:pt x="352" y="0"/>
                    </a:lnTo>
                    <a:lnTo>
                      <a:pt x="352" y="0"/>
                    </a:lnTo>
                    <a:lnTo>
                      <a:pt x="370" y="2"/>
                    </a:lnTo>
                    <a:lnTo>
                      <a:pt x="386" y="6"/>
                    </a:lnTo>
                    <a:lnTo>
                      <a:pt x="402" y="14"/>
                    </a:lnTo>
                    <a:lnTo>
                      <a:pt x="414" y="24"/>
                    </a:lnTo>
                    <a:lnTo>
                      <a:pt x="424" y="36"/>
                    </a:lnTo>
                    <a:lnTo>
                      <a:pt x="432" y="50"/>
                    </a:lnTo>
                    <a:lnTo>
                      <a:pt x="436" y="68"/>
                    </a:lnTo>
                    <a:lnTo>
                      <a:pt x="436" y="86"/>
                    </a:lnTo>
                    <a:lnTo>
                      <a:pt x="424" y="246"/>
                    </a:lnTo>
                    <a:lnTo>
                      <a:pt x="332" y="246"/>
                    </a:lnTo>
                    <a:lnTo>
                      <a:pt x="342" y="106"/>
                    </a:lnTo>
                    <a:lnTo>
                      <a:pt x="342" y="106"/>
                    </a:lnTo>
                    <a:lnTo>
                      <a:pt x="342" y="88"/>
                    </a:lnTo>
                    <a:lnTo>
                      <a:pt x="342" y="80"/>
                    </a:lnTo>
                    <a:lnTo>
                      <a:pt x="340" y="74"/>
                    </a:lnTo>
                    <a:lnTo>
                      <a:pt x="336" y="66"/>
                    </a:lnTo>
                    <a:lnTo>
                      <a:pt x="330" y="62"/>
                    </a:lnTo>
                    <a:lnTo>
                      <a:pt x="322" y="58"/>
                    </a:lnTo>
                    <a:lnTo>
                      <a:pt x="312" y="58"/>
                    </a:lnTo>
                    <a:lnTo>
                      <a:pt x="312" y="58"/>
                    </a:lnTo>
                    <a:lnTo>
                      <a:pt x="298" y="60"/>
                    </a:lnTo>
                    <a:lnTo>
                      <a:pt x="288" y="66"/>
                    </a:lnTo>
                    <a:lnTo>
                      <a:pt x="280" y="72"/>
                    </a:lnTo>
                    <a:lnTo>
                      <a:pt x="276" y="82"/>
                    </a:lnTo>
                    <a:lnTo>
                      <a:pt x="272" y="92"/>
                    </a:lnTo>
                    <a:lnTo>
                      <a:pt x="270" y="100"/>
                    </a:lnTo>
                    <a:lnTo>
                      <a:pt x="270" y="110"/>
                    </a:lnTo>
                    <a:lnTo>
                      <a:pt x="260" y="246"/>
                    </a:lnTo>
                    <a:lnTo>
                      <a:pt x="170" y="246"/>
                    </a:lnTo>
                    <a:lnTo>
                      <a:pt x="180" y="106"/>
                    </a:lnTo>
                    <a:lnTo>
                      <a:pt x="180" y="106"/>
                    </a:lnTo>
                    <a:lnTo>
                      <a:pt x="178" y="88"/>
                    </a:lnTo>
                    <a:lnTo>
                      <a:pt x="178" y="80"/>
                    </a:lnTo>
                    <a:lnTo>
                      <a:pt x="174" y="72"/>
                    </a:lnTo>
                    <a:lnTo>
                      <a:pt x="170" y="66"/>
                    </a:lnTo>
                    <a:lnTo>
                      <a:pt x="164" y="62"/>
                    </a:lnTo>
                    <a:lnTo>
                      <a:pt x="15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32" y="60"/>
                    </a:lnTo>
                    <a:lnTo>
                      <a:pt x="122" y="66"/>
                    </a:lnTo>
                    <a:lnTo>
                      <a:pt x="114" y="72"/>
                    </a:lnTo>
                    <a:lnTo>
                      <a:pt x="108" y="82"/>
                    </a:lnTo>
                    <a:lnTo>
                      <a:pt x="104" y="92"/>
                    </a:lnTo>
                    <a:lnTo>
                      <a:pt x="104" y="100"/>
                    </a:lnTo>
                    <a:lnTo>
                      <a:pt x="102" y="110"/>
                    </a:lnTo>
                    <a:lnTo>
                      <a:pt x="94" y="246"/>
                    </a:lnTo>
                    <a:lnTo>
                      <a:pt x="0" y="246"/>
                    </a:lnTo>
                    <a:lnTo>
                      <a:pt x="16" y="8"/>
                    </a:lnTo>
                    <a:lnTo>
                      <a:pt x="106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20">
                <a:extLst>
                  <a:ext uri="{FF2B5EF4-FFF2-40B4-BE49-F238E27FC236}">
                    <a16:creationId xmlns:a16="http://schemas.microsoft.com/office/drawing/2014/main" id="{8F89A352-BC8C-4B98-8469-D36F21F4DA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4000" y="517525"/>
                <a:ext cx="454025" cy="558800"/>
              </a:xfrm>
              <a:custGeom>
                <a:avLst/>
                <a:gdLst>
                  <a:gd name="T0" fmla="*/ 116 w 286"/>
                  <a:gd name="T1" fmla="*/ 352 h 352"/>
                  <a:gd name="T2" fmla="*/ 34 w 286"/>
                  <a:gd name="T3" fmla="*/ 352 h 352"/>
                  <a:gd name="T4" fmla="*/ 86 w 286"/>
                  <a:gd name="T5" fmla="*/ 242 h 352"/>
                  <a:gd name="T6" fmla="*/ 0 w 286"/>
                  <a:gd name="T7" fmla="*/ 0 h 352"/>
                  <a:gd name="T8" fmla="*/ 100 w 286"/>
                  <a:gd name="T9" fmla="*/ 0 h 352"/>
                  <a:gd name="T10" fmla="*/ 140 w 286"/>
                  <a:gd name="T11" fmla="*/ 148 h 352"/>
                  <a:gd name="T12" fmla="*/ 202 w 286"/>
                  <a:gd name="T13" fmla="*/ 0 h 352"/>
                  <a:gd name="T14" fmla="*/ 286 w 286"/>
                  <a:gd name="T15" fmla="*/ 0 h 352"/>
                  <a:gd name="T16" fmla="*/ 116 w 286"/>
                  <a:gd name="T17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6" h="352">
                    <a:moveTo>
                      <a:pt x="116" y="352"/>
                    </a:moveTo>
                    <a:lnTo>
                      <a:pt x="34" y="352"/>
                    </a:lnTo>
                    <a:lnTo>
                      <a:pt x="86" y="242"/>
                    </a:lnTo>
                    <a:lnTo>
                      <a:pt x="0" y="0"/>
                    </a:lnTo>
                    <a:lnTo>
                      <a:pt x="100" y="0"/>
                    </a:lnTo>
                    <a:lnTo>
                      <a:pt x="140" y="148"/>
                    </a:lnTo>
                    <a:lnTo>
                      <a:pt x="202" y="0"/>
                    </a:lnTo>
                    <a:lnTo>
                      <a:pt x="286" y="0"/>
                    </a:lnTo>
                    <a:lnTo>
                      <a:pt x="116" y="3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21">
                <a:extLst>
                  <a:ext uri="{FF2B5EF4-FFF2-40B4-BE49-F238E27FC236}">
                    <a16:creationId xmlns:a16="http://schemas.microsoft.com/office/drawing/2014/main" id="{434240E2-A324-45F2-B95E-E48F41353B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3575" y="593725"/>
                <a:ext cx="241300" cy="117475"/>
              </a:xfrm>
              <a:custGeom>
                <a:avLst/>
                <a:gdLst>
                  <a:gd name="T0" fmla="*/ 36 w 152"/>
                  <a:gd name="T1" fmla="*/ 0 h 74"/>
                  <a:gd name="T2" fmla="*/ 152 w 152"/>
                  <a:gd name="T3" fmla="*/ 0 h 74"/>
                  <a:gd name="T4" fmla="*/ 114 w 152"/>
                  <a:gd name="T5" fmla="*/ 74 h 74"/>
                  <a:gd name="T6" fmla="*/ 0 w 152"/>
                  <a:gd name="T7" fmla="*/ 74 h 74"/>
                  <a:gd name="T8" fmla="*/ 36 w 152"/>
                  <a:gd name="T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74">
                    <a:moveTo>
                      <a:pt x="36" y="0"/>
                    </a:moveTo>
                    <a:lnTo>
                      <a:pt x="152" y="0"/>
                    </a:lnTo>
                    <a:lnTo>
                      <a:pt x="114" y="74"/>
                    </a:lnTo>
                    <a:lnTo>
                      <a:pt x="0" y="7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22">
                <a:extLst>
                  <a:ext uri="{FF2B5EF4-FFF2-40B4-BE49-F238E27FC236}">
                    <a16:creationId xmlns:a16="http://schemas.microsoft.com/office/drawing/2014/main" id="{DD3DFF3F-20F8-4794-8EDF-58516C79FD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1225" y="339725"/>
                <a:ext cx="504825" cy="558800"/>
              </a:xfrm>
              <a:custGeom>
                <a:avLst/>
                <a:gdLst>
                  <a:gd name="T0" fmla="*/ 180 w 318"/>
                  <a:gd name="T1" fmla="*/ 0 h 352"/>
                  <a:gd name="T2" fmla="*/ 232 w 318"/>
                  <a:gd name="T3" fmla="*/ 6 h 352"/>
                  <a:gd name="T4" fmla="*/ 266 w 318"/>
                  <a:gd name="T5" fmla="*/ 20 h 352"/>
                  <a:gd name="T6" fmla="*/ 286 w 318"/>
                  <a:gd name="T7" fmla="*/ 32 h 352"/>
                  <a:gd name="T8" fmla="*/ 302 w 318"/>
                  <a:gd name="T9" fmla="*/ 50 h 352"/>
                  <a:gd name="T10" fmla="*/ 312 w 318"/>
                  <a:gd name="T11" fmla="*/ 74 h 352"/>
                  <a:gd name="T12" fmla="*/ 318 w 318"/>
                  <a:gd name="T13" fmla="*/ 100 h 352"/>
                  <a:gd name="T14" fmla="*/ 222 w 318"/>
                  <a:gd name="T15" fmla="*/ 116 h 352"/>
                  <a:gd name="T16" fmla="*/ 222 w 318"/>
                  <a:gd name="T17" fmla="*/ 108 h 352"/>
                  <a:gd name="T18" fmla="*/ 216 w 318"/>
                  <a:gd name="T19" fmla="*/ 90 h 352"/>
                  <a:gd name="T20" fmla="*/ 204 w 318"/>
                  <a:gd name="T21" fmla="*/ 76 h 352"/>
                  <a:gd name="T22" fmla="*/ 188 w 318"/>
                  <a:gd name="T23" fmla="*/ 68 h 352"/>
                  <a:gd name="T24" fmla="*/ 176 w 318"/>
                  <a:gd name="T25" fmla="*/ 68 h 352"/>
                  <a:gd name="T26" fmla="*/ 150 w 318"/>
                  <a:gd name="T27" fmla="*/ 72 h 352"/>
                  <a:gd name="T28" fmla="*/ 128 w 318"/>
                  <a:gd name="T29" fmla="*/ 88 h 352"/>
                  <a:gd name="T30" fmla="*/ 108 w 318"/>
                  <a:gd name="T31" fmla="*/ 118 h 352"/>
                  <a:gd name="T32" fmla="*/ 98 w 318"/>
                  <a:gd name="T33" fmla="*/ 162 h 352"/>
                  <a:gd name="T34" fmla="*/ 96 w 318"/>
                  <a:gd name="T35" fmla="*/ 188 h 352"/>
                  <a:gd name="T36" fmla="*/ 98 w 318"/>
                  <a:gd name="T37" fmla="*/ 234 h 352"/>
                  <a:gd name="T38" fmla="*/ 112 w 318"/>
                  <a:gd name="T39" fmla="*/ 266 h 352"/>
                  <a:gd name="T40" fmla="*/ 122 w 318"/>
                  <a:gd name="T41" fmla="*/ 278 h 352"/>
                  <a:gd name="T42" fmla="*/ 138 w 318"/>
                  <a:gd name="T43" fmla="*/ 284 h 352"/>
                  <a:gd name="T44" fmla="*/ 158 w 318"/>
                  <a:gd name="T45" fmla="*/ 288 h 352"/>
                  <a:gd name="T46" fmla="*/ 174 w 318"/>
                  <a:gd name="T47" fmla="*/ 286 h 352"/>
                  <a:gd name="T48" fmla="*/ 198 w 318"/>
                  <a:gd name="T49" fmla="*/ 274 h 352"/>
                  <a:gd name="T50" fmla="*/ 212 w 318"/>
                  <a:gd name="T51" fmla="*/ 256 h 352"/>
                  <a:gd name="T52" fmla="*/ 218 w 318"/>
                  <a:gd name="T53" fmla="*/ 236 h 352"/>
                  <a:gd name="T54" fmla="*/ 314 w 318"/>
                  <a:gd name="T55" fmla="*/ 236 h 352"/>
                  <a:gd name="T56" fmla="*/ 306 w 318"/>
                  <a:gd name="T57" fmla="*/ 270 h 352"/>
                  <a:gd name="T58" fmla="*/ 290 w 318"/>
                  <a:gd name="T59" fmla="*/ 300 h 352"/>
                  <a:gd name="T60" fmla="*/ 272 w 318"/>
                  <a:gd name="T61" fmla="*/ 318 h 352"/>
                  <a:gd name="T62" fmla="*/ 248 w 318"/>
                  <a:gd name="T63" fmla="*/ 334 h 352"/>
                  <a:gd name="T64" fmla="*/ 216 w 318"/>
                  <a:gd name="T65" fmla="*/ 346 h 352"/>
                  <a:gd name="T66" fmla="*/ 176 w 318"/>
                  <a:gd name="T67" fmla="*/ 352 h 352"/>
                  <a:gd name="T68" fmla="*/ 152 w 318"/>
                  <a:gd name="T69" fmla="*/ 352 h 352"/>
                  <a:gd name="T70" fmla="*/ 106 w 318"/>
                  <a:gd name="T71" fmla="*/ 348 h 352"/>
                  <a:gd name="T72" fmla="*/ 70 w 318"/>
                  <a:gd name="T73" fmla="*/ 336 h 352"/>
                  <a:gd name="T74" fmla="*/ 42 w 318"/>
                  <a:gd name="T75" fmla="*/ 316 h 352"/>
                  <a:gd name="T76" fmla="*/ 22 w 318"/>
                  <a:gd name="T77" fmla="*/ 292 h 352"/>
                  <a:gd name="T78" fmla="*/ 8 w 318"/>
                  <a:gd name="T79" fmla="*/ 262 h 352"/>
                  <a:gd name="T80" fmla="*/ 2 w 318"/>
                  <a:gd name="T81" fmla="*/ 230 h 352"/>
                  <a:gd name="T82" fmla="*/ 0 w 318"/>
                  <a:gd name="T83" fmla="*/ 194 h 352"/>
                  <a:gd name="T84" fmla="*/ 2 w 318"/>
                  <a:gd name="T85" fmla="*/ 160 h 352"/>
                  <a:gd name="T86" fmla="*/ 18 w 318"/>
                  <a:gd name="T87" fmla="*/ 102 h 352"/>
                  <a:gd name="T88" fmla="*/ 32 w 318"/>
                  <a:gd name="T89" fmla="*/ 74 h 352"/>
                  <a:gd name="T90" fmla="*/ 52 w 318"/>
                  <a:gd name="T91" fmla="*/ 50 h 352"/>
                  <a:gd name="T92" fmla="*/ 76 w 318"/>
                  <a:gd name="T93" fmla="*/ 30 h 352"/>
                  <a:gd name="T94" fmla="*/ 106 w 318"/>
                  <a:gd name="T95" fmla="*/ 14 h 352"/>
                  <a:gd name="T96" fmla="*/ 140 w 318"/>
                  <a:gd name="T97" fmla="*/ 4 h 352"/>
                  <a:gd name="T98" fmla="*/ 180 w 318"/>
                  <a:gd name="T99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18" h="352">
                    <a:moveTo>
                      <a:pt x="180" y="0"/>
                    </a:moveTo>
                    <a:lnTo>
                      <a:pt x="180" y="0"/>
                    </a:lnTo>
                    <a:lnTo>
                      <a:pt x="206" y="0"/>
                    </a:lnTo>
                    <a:lnTo>
                      <a:pt x="232" y="6"/>
                    </a:lnTo>
                    <a:lnTo>
                      <a:pt x="256" y="14"/>
                    </a:lnTo>
                    <a:lnTo>
                      <a:pt x="266" y="20"/>
                    </a:lnTo>
                    <a:lnTo>
                      <a:pt x="276" y="26"/>
                    </a:lnTo>
                    <a:lnTo>
                      <a:pt x="286" y="32"/>
                    </a:lnTo>
                    <a:lnTo>
                      <a:pt x="294" y="42"/>
                    </a:lnTo>
                    <a:lnTo>
                      <a:pt x="302" y="50"/>
                    </a:lnTo>
                    <a:lnTo>
                      <a:pt x="308" y="62"/>
                    </a:lnTo>
                    <a:lnTo>
                      <a:pt x="312" y="74"/>
                    </a:lnTo>
                    <a:lnTo>
                      <a:pt x="316" y="86"/>
                    </a:lnTo>
                    <a:lnTo>
                      <a:pt x="318" y="100"/>
                    </a:lnTo>
                    <a:lnTo>
                      <a:pt x="318" y="116"/>
                    </a:lnTo>
                    <a:lnTo>
                      <a:pt x="222" y="116"/>
                    </a:lnTo>
                    <a:lnTo>
                      <a:pt x="222" y="116"/>
                    </a:lnTo>
                    <a:lnTo>
                      <a:pt x="222" y="108"/>
                    </a:lnTo>
                    <a:lnTo>
                      <a:pt x="220" y="98"/>
                    </a:lnTo>
                    <a:lnTo>
                      <a:pt x="216" y="90"/>
                    </a:lnTo>
                    <a:lnTo>
                      <a:pt x="212" y="84"/>
                    </a:lnTo>
                    <a:lnTo>
                      <a:pt x="204" y="76"/>
                    </a:lnTo>
                    <a:lnTo>
                      <a:pt x="198" y="72"/>
                    </a:lnTo>
                    <a:lnTo>
                      <a:pt x="188" y="68"/>
                    </a:lnTo>
                    <a:lnTo>
                      <a:pt x="176" y="68"/>
                    </a:lnTo>
                    <a:lnTo>
                      <a:pt x="176" y="68"/>
                    </a:lnTo>
                    <a:lnTo>
                      <a:pt x="164" y="68"/>
                    </a:lnTo>
                    <a:lnTo>
                      <a:pt x="150" y="72"/>
                    </a:lnTo>
                    <a:lnTo>
                      <a:pt x="138" y="80"/>
                    </a:lnTo>
                    <a:lnTo>
                      <a:pt x="128" y="88"/>
                    </a:lnTo>
                    <a:lnTo>
                      <a:pt x="118" y="102"/>
                    </a:lnTo>
                    <a:lnTo>
                      <a:pt x="108" y="118"/>
                    </a:lnTo>
                    <a:lnTo>
                      <a:pt x="102" y="138"/>
                    </a:lnTo>
                    <a:lnTo>
                      <a:pt x="98" y="162"/>
                    </a:lnTo>
                    <a:lnTo>
                      <a:pt x="98" y="162"/>
                    </a:lnTo>
                    <a:lnTo>
                      <a:pt x="96" y="188"/>
                    </a:lnTo>
                    <a:lnTo>
                      <a:pt x="96" y="212"/>
                    </a:lnTo>
                    <a:lnTo>
                      <a:pt x="98" y="234"/>
                    </a:lnTo>
                    <a:lnTo>
                      <a:pt x="104" y="252"/>
                    </a:lnTo>
                    <a:lnTo>
                      <a:pt x="112" y="266"/>
                    </a:lnTo>
                    <a:lnTo>
                      <a:pt x="116" y="272"/>
                    </a:lnTo>
                    <a:lnTo>
                      <a:pt x="122" y="278"/>
                    </a:lnTo>
                    <a:lnTo>
                      <a:pt x="130" y="282"/>
                    </a:lnTo>
                    <a:lnTo>
                      <a:pt x="138" y="284"/>
                    </a:lnTo>
                    <a:lnTo>
                      <a:pt x="148" y="286"/>
                    </a:lnTo>
                    <a:lnTo>
                      <a:pt x="158" y="288"/>
                    </a:lnTo>
                    <a:lnTo>
                      <a:pt x="158" y="288"/>
                    </a:lnTo>
                    <a:lnTo>
                      <a:pt x="174" y="286"/>
                    </a:lnTo>
                    <a:lnTo>
                      <a:pt x="188" y="280"/>
                    </a:lnTo>
                    <a:lnTo>
                      <a:pt x="198" y="274"/>
                    </a:lnTo>
                    <a:lnTo>
                      <a:pt x="206" y="264"/>
                    </a:lnTo>
                    <a:lnTo>
                      <a:pt x="212" y="256"/>
                    </a:lnTo>
                    <a:lnTo>
                      <a:pt x="214" y="248"/>
                    </a:lnTo>
                    <a:lnTo>
                      <a:pt x="218" y="236"/>
                    </a:lnTo>
                    <a:lnTo>
                      <a:pt x="314" y="236"/>
                    </a:lnTo>
                    <a:lnTo>
                      <a:pt x="314" y="236"/>
                    </a:lnTo>
                    <a:lnTo>
                      <a:pt x="312" y="252"/>
                    </a:lnTo>
                    <a:lnTo>
                      <a:pt x="306" y="270"/>
                    </a:lnTo>
                    <a:lnTo>
                      <a:pt x="296" y="290"/>
                    </a:lnTo>
                    <a:lnTo>
                      <a:pt x="290" y="300"/>
                    </a:lnTo>
                    <a:lnTo>
                      <a:pt x="282" y="308"/>
                    </a:lnTo>
                    <a:lnTo>
                      <a:pt x="272" y="318"/>
                    </a:lnTo>
                    <a:lnTo>
                      <a:pt x="260" y="326"/>
                    </a:lnTo>
                    <a:lnTo>
                      <a:pt x="248" y="334"/>
                    </a:lnTo>
                    <a:lnTo>
                      <a:pt x="232" y="340"/>
                    </a:lnTo>
                    <a:lnTo>
                      <a:pt x="216" y="346"/>
                    </a:lnTo>
                    <a:lnTo>
                      <a:pt x="196" y="350"/>
                    </a:lnTo>
                    <a:lnTo>
                      <a:pt x="176" y="352"/>
                    </a:lnTo>
                    <a:lnTo>
                      <a:pt x="152" y="352"/>
                    </a:lnTo>
                    <a:lnTo>
                      <a:pt x="152" y="352"/>
                    </a:lnTo>
                    <a:lnTo>
                      <a:pt x="128" y="352"/>
                    </a:lnTo>
                    <a:lnTo>
                      <a:pt x="106" y="348"/>
                    </a:lnTo>
                    <a:lnTo>
                      <a:pt x="86" y="342"/>
                    </a:lnTo>
                    <a:lnTo>
                      <a:pt x="70" y="336"/>
                    </a:lnTo>
                    <a:lnTo>
                      <a:pt x="54" y="326"/>
                    </a:lnTo>
                    <a:lnTo>
                      <a:pt x="42" y="316"/>
                    </a:lnTo>
                    <a:lnTo>
                      <a:pt x="30" y="304"/>
                    </a:lnTo>
                    <a:lnTo>
                      <a:pt x="22" y="292"/>
                    </a:lnTo>
                    <a:lnTo>
                      <a:pt x="14" y="276"/>
                    </a:lnTo>
                    <a:lnTo>
                      <a:pt x="8" y="262"/>
                    </a:lnTo>
                    <a:lnTo>
                      <a:pt x="4" y="246"/>
                    </a:lnTo>
                    <a:lnTo>
                      <a:pt x="2" y="230"/>
                    </a:lnTo>
                    <a:lnTo>
                      <a:pt x="0" y="212"/>
                    </a:lnTo>
                    <a:lnTo>
                      <a:pt x="0" y="194"/>
                    </a:lnTo>
                    <a:lnTo>
                      <a:pt x="2" y="160"/>
                    </a:lnTo>
                    <a:lnTo>
                      <a:pt x="2" y="160"/>
                    </a:lnTo>
                    <a:lnTo>
                      <a:pt x="8" y="130"/>
                    </a:lnTo>
                    <a:lnTo>
                      <a:pt x="18" y="102"/>
                    </a:lnTo>
                    <a:lnTo>
                      <a:pt x="24" y="88"/>
                    </a:lnTo>
                    <a:lnTo>
                      <a:pt x="32" y="74"/>
                    </a:lnTo>
                    <a:lnTo>
                      <a:pt x="42" y="62"/>
                    </a:lnTo>
                    <a:lnTo>
                      <a:pt x="52" y="50"/>
                    </a:lnTo>
                    <a:lnTo>
                      <a:pt x="64" y="40"/>
                    </a:lnTo>
                    <a:lnTo>
                      <a:pt x="76" y="30"/>
                    </a:lnTo>
                    <a:lnTo>
                      <a:pt x="90" y="20"/>
                    </a:lnTo>
                    <a:lnTo>
                      <a:pt x="106" y="14"/>
                    </a:lnTo>
                    <a:lnTo>
                      <a:pt x="122" y="8"/>
                    </a:lnTo>
                    <a:lnTo>
                      <a:pt x="140" y="4"/>
                    </a:lnTo>
                    <a:lnTo>
                      <a:pt x="160" y="0"/>
                    </a:lnTo>
                    <a:lnTo>
                      <a:pt x="180" y="0"/>
                    </a:lnTo>
                    <a:lnTo>
                      <a:pt x="18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23">
                <a:extLst>
                  <a:ext uri="{FF2B5EF4-FFF2-40B4-BE49-F238E27FC236}">
                    <a16:creationId xmlns:a16="http://schemas.microsoft.com/office/drawing/2014/main" id="{1FD38EE9-A2CE-4608-9B88-CCDB148BFB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29225" y="352425"/>
                <a:ext cx="177800" cy="542925"/>
              </a:xfrm>
              <a:custGeom>
                <a:avLst/>
                <a:gdLst>
                  <a:gd name="T0" fmla="*/ 0 w 112"/>
                  <a:gd name="T1" fmla="*/ 342 h 342"/>
                  <a:gd name="T2" fmla="*/ 24 w 112"/>
                  <a:gd name="T3" fmla="*/ 0 h 342"/>
                  <a:gd name="T4" fmla="*/ 112 w 112"/>
                  <a:gd name="T5" fmla="*/ 0 h 342"/>
                  <a:gd name="T6" fmla="*/ 88 w 112"/>
                  <a:gd name="T7" fmla="*/ 342 h 342"/>
                  <a:gd name="T8" fmla="*/ 0 w 112"/>
                  <a:gd name="T9" fmla="*/ 34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2" h="342">
                    <a:moveTo>
                      <a:pt x="0" y="342"/>
                    </a:moveTo>
                    <a:lnTo>
                      <a:pt x="24" y="0"/>
                    </a:lnTo>
                    <a:lnTo>
                      <a:pt x="112" y="0"/>
                    </a:lnTo>
                    <a:lnTo>
                      <a:pt x="88" y="342"/>
                    </a:lnTo>
                    <a:lnTo>
                      <a:pt x="0" y="3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24">
                <a:extLst>
                  <a:ext uri="{FF2B5EF4-FFF2-40B4-BE49-F238E27FC236}">
                    <a16:creationId xmlns:a16="http://schemas.microsoft.com/office/drawing/2014/main" id="{5C7AAA0E-6AE9-4D9C-8EFF-11C91A3D39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3900" y="517525"/>
                <a:ext cx="295275" cy="377825"/>
              </a:xfrm>
              <a:custGeom>
                <a:avLst/>
                <a:gdLst>
                  <a:gd name="T0" fmla="*/ 106 w 186"/>
                  <a:gd name="T1" fmla="*/ 34 h 238"/>
                  <a:gd name="T2" fmla="*/ 106 w 186"/>
                  <a:gd name="T3" fmla="*/ 34 h 238"/>
                  <a:gd name="T4" fmla="*/ 106 w 186"/>
                  <a:gd name="T5" fmla="*/ 34 h 238"/>
                  <a:gd name="T6" fmla="*/ 116 w 186"/>
                  <a:gd name="T7" fmla="*/ 24 h 238"/>
                  <a:gd name="T8" fmla="*/ 124 w 186"/>
                  <a:gd name="T9" fmla="*/ 16 h 238"/>
                  <a:gd name="T10" fmla="*/ 134 w 186"/>
                  <a:gd name="T11" fmla="*/ 10 h 238"/>
                  <a:gd name="T12" fmla="*/ 144 w 186"/>
                  <a:gd name="T13" fmla="*/ 6 h 238"/>
                  <a:gd name="T14" fmla="*/ 154 w 186"/>
                  <a:gd name="T15" fmla="*/ 4 h 238"/>
                  <a:gd name="T16" fmla="*/ 164 w 186"/>
                  <a:gd name="T17" fmla="*/ 2 h 238"/>
                  <a:gd name="T18" fmla="*/ 186 w 186"/>
                  <a:gd name="T19" fmla="*/ 0 h 238"/>
                  <a:gd name="T20" fmla="*/ 180 w 186"/>
                  <a:gd name="T21" fmla="*/ 76 h 238"/>
                  <a:gd name="T22" fmla="*/ 180 w 186"/>
                  <a:gd name="T23" fmla="*/ 76 h 238"/>
                  <a:gd name="T24" fmla="*/ 162 w 186"/>
                  <a:gd name="T25" fmla="*/ 76 h 238"/>
                  <a:gd name="T26" fmla="*/ 162 w 186"/>
                  <a:gd name="T27" fmla="*/ 76 h 238"/>
                  <a:gd name="T28" fmla="*/ 142 w 186"/>
                  <a:gd name="T29" fmla="*/ 78 h 238"/>
                  <a:gd name="T30" fmla="*/ 126 w 186"/>
                  <a:gd name="T31" fmla="*/ 82 h 238"/>
                  <a:gd name="T32" fmla="*/ 116 w 186"/>
                  <a:gd name="T33" fmla="*/ 88 h 238"/>
                  <a:gd name="T34" fmla="*/ 108 w 186"/>
                  <a:gd name="T35" fmla="*/ 98 h 238"/>
                  <a:gd name="T36" fmla="*/ 104 w 186"/>
                  <a:gd name="T37" fmla="*/ 108 h 238"/>
                  <a:gd name="T38" fmla="*/ 100 w 186"/>
                  <a:gd name="T39" fmla="*/ 120 h 238"/>
                  <a:gd name="T40" fmla="*/ 98 w 186"/>
                  <a:gd name="T41" fmla="*/ 148 h 238"/>
                  <a:gd name="T42" fmla="*/ 92 w 186"/>
                  <a:gd name="T43" fmla="*/ 238 h 238"/>
                  <a:gd name="T44" fmla="*/ 0 w 186"/>
                  <a:gd name="T45" fmla="*/ 238 h 238"/>
                  <a:gd name="T46" fmla="*/ 14 w 186"/>
                  <a:gd name="T47" fmla="*/ 62 h 238"/>
                  <a:gd name="T48" fmla="*/ 14 w 186"/>
                  <a:gd name="T49" fmla="*/ 62 h 238"/>
                  <a:gd name="T50" fmla="*/ 14 w 186"/>
                  <a:gd name="T51" fmla="*/ 32 h 238"/>
                  <a:gd name="T52" fmla="*/ 14 w 186"/>
                  <a:gd name="T53" fmla="*/ 0 h 238"/>
                  <a:gd name="T54" fmla="*/ 102 w 186"/>
                  <a:gd name="T55" fmla="*/ 0 h 238"/>
                  <a:gd name="T56" fmla="*/ 106 w 186"/>
                  <a:gd name="T57" fmla="*/ 3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6" h="238">
                    <a:moveTo>
                      <a:pt x="106" y="34"/>
                    </a:moveTo>
                    <a:lnTo>
                      <a:pt x="106" y="34"/>
                    </a:lnTo>
                    <a:lnTo>
                      <a:pt x="106" y="34"/>
                    </a:lnTo>
                    <a:lnTo>
                      <a:pt x="116" y="24"/>
                    </a:lnTo>
                    <a:lnTo>
                      <a:pt x="124" y="16"/>
                    </a:lnTo>
                    <a:lnTo>
                      <a:pt x="134" y="10"/>
                    </a:lnTo>
                    <a:lnTo>
                      <a:pt x="144" y="6"/>
                    </a:lnTo>
                    <a:lnTo>
                      <a:pt x="154" y="4"/>
                    </a:lnTo>
                    <a:lnTo>
                      <a:pt x="164" y="2"/>
                    </a:lnTo>
                    <a:lnTo>
                      <a:pt x="186" y="0"/>
                    </a:lnTo>
                    <a:lnTo>
                      <a:pt x="180" y="76"/>
                    </a:lnTo>
                    <a:lnTo>
                      <a:pt x="180" y="76"/>
                    </a:lnTo>
                    <a:lnTo>
                      <a:pt x="162" y="76"/>
                    </a:lnTo>
                    <a:lnTo>
                      <a:pt x="162" y="76"/>
                    </a:lnTo>
                    <a:lnTo>
                      <a:pt x="142" y="78"/>
                    </a:lnTo>
                    <a:lnTo>
                      <a:pt x="126" y="82"/>
                    </a:lnTo>
                    <a:lnTo>
                      <a:pt x="116" y="88"/>
                    </a:lnTo>
                    <a:lnTo>
                      <a:pt x="108" y="98"/>
                    </a:lnTo>
                    <a:lnTo>
                      <a:pt x="104" y="108"/>
                    </a:lnTo>
                    <a:lnTo>
                      <a:pt x="100" y="120"/>
                    </a:lnTo>
                    <a:lnTo>
                      <a:pt x="98" y="148"/>
                    </a:lnTo>
                    <a:lnTo>
                      <a:pt x="92" y="238"/>
                    </a:lnTo>
                    <a:lnTo>
                      <a:pt x="0" y="238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32"/>
                    </a:lnTo>
                    <a:lnTo>
                      <a:pt x="14" y="0"/>
                    </a:lnTo>
                    <a:lnTo>
                      <a:pt x="102" y="0"/>
                    </a:lnTo>
                    <a:lnTo>
                      <a:pt x="106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636169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h_dwUObXQyU9ioD_sXiw"/>
</p:tagLst>
</file>

<file path=ppt/theme/theme1.xml><?xml version="1.0" encoding="utf-8"?>
<a:theme xmlns:a="http://schemas.openxmlformats.org/drawingml/2006/main" name="Office Theme">
  <a:themeElements>
    <a:clrScheme name="K-C Corporate Colors">
      <a:dk1>
        <a:sysClr val="windowText" lastClr="000000"/>
      </a:dk1>
      <a:lt1>
        <a:srgbClr val="FFFFFF"/>
      </a:lt1>
      <a:dk2>
        <a:srgbClr val="595959"/>
      </a:dk2>
      <a:lt2>
        <a:srgbClr val="FFFFFF"/>
      </a:lt2>
      <a:accent1>
        <a:srgbClr val="10069F"/>
      </a:accent1>
      <a:accent2>
        <a:srgbClr val="BED2F3"/>
      </a:accent2>
      <a:accent3>
        <a:srgbClr val="753BBD"/>
      </a:accent3>
      <a:accent4>
        <a:srgbClr val="33D196"/>
      </a:accent4>
      <a:accent5>
        <a:srgbClr val="EE3744"/>
      </a:accent5>
      <a:accent6>
        <a:srgbClr val="58595B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-C Corp PPT Template 1 16x9.pptx" id="{715834F6-9D55-4A97-93FC-36CF989C8FBB}" vid="{DF295AB3-2DF7-475F-86F4-3C51814DA9E4}"/>
    </a:ext>
  </a:extLst>
</a:theme>
</file>

<file path=ppt/theme/theme2.xml><?xml version="1.0" encoding="utf-8"?>
<a:theme xmlns:a="http://schemas.openxmlformats.org/drawingml/2006/main" name="20_Personalizar design">
  <a:themeElements>
    <a:clrScheme name="Personalizados 1">
      <a:dk1>
        <a:srgbClr val="292929"/>
      </a:dk1>
      <a:lt1>
        <a:srgbClr val="FFFFFF"/>
      </a:lt1>
      <a:dk2>
        <a:srgbClr val="000000"/>
      </a:dk2>
      <a:lt2>
        <a:srgbClr val="E7E6E6"/>
      </a:lt2>
      <a:accent1>
        <a:srgbClr val="10069F"/>
      </a:accent1>
      <a:accent2>
        <a:srgbClr val="7F2EC3"/>
      </a:accent2>
      <a:accent3>
        <a:srgbClr val="33D196"/>
      </a:accent3>
      <a:accent4>
        <a:srgbClr val="EE3744"/>
      </a:accent4>
      <a:accent5>
        <a:srgbClr val="BED2F3"/>
      </a:accent5>
      <a:accent6>
        <a:srgbClr val="E3D8F2"/>
      </a:accent6>
      <a:hlink>
        <a:srgbClr val="DAF7EE"/>
      </a:hlink>
      <a:folHlink>
        <a:srgbClr val="FCD7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K-C Corporate Colors">
      <a:dk1>
        <a:sysClr val="windowText" lastClr="000000"/>
      </a:dk1>
      <a:lt1>
        <a:srgbClr val="FFFFFF"/>
      </a:lt1>
      <a:dk2>
        <a:srgbClr val="595959"/>
      </a:dk2>
      <a:lt2>
        <a:srgbClr val="FFFFFF"/>
      </a:lt2>
      <a:accent1>
        <a:srgbClr val="10069F"/>
      </a:accent1>
      <a:accent2>
        <a:srgbClr val="BED2F3"/>
      </a:accent2>
      <a:accent3>
        <a:srgbClr val="753BBD"/>
      </a:accent3>
      <a:accent4>
        <a:srgbClr val="33D196"/>
      </a:accent4>
      <a:accent5>
        <a:srgbClr val="EE3744"/>
      </a:accent5>
      <a:accent6>
        <a:srgbClr val="58595B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100E69F2502EA47AC79DBB106A9309E" ma:contentTypeVersion="11" ma:contentTypeDescription="Create a new document." ma:contentTypeScope="" ma:versionID="759ede7c9f0df14c8e6d614a1c345af6">
  <xsd:schema xmlns:xsd="http://www.w3.org/2001/XMLSchema" xmlns:xs="http://www.w3.org/2001/XMLSchema" xmlns:p="http://schemas.microsoft.com/office/2006/metadata/properties" xmlns:ns2="b705befe-9649-45c6-8c99-c1f709692457" xmlns:ns3="98bfa9b6-a0fd-4ec0-bc77-c80b694af6e4" targetNamespace="http://schemas.microsoft.com/office/2006/metadata/properties" ma:root="true" ma:fieldsID="586b02097f10dbd4c047ccbdeba25d65" ns2:_="" ns3:_="">
    <xsd:import namespace="b705befe-9649-45c6-8c99-c1f709692457"/>
    <xsd:import namespace="98bfa9b6-a0fd-4ec0-bc77-c80b694af6e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05befe-9649-45c6-8c99-c1f7096924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bfa9b6-a0fd-4ec0-bc77-c80b694af6e4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D305B39-902E-49FB-A89F-54F64AF7508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705befe-9649-45c6-8c99-c1f709692457"/>
    <ds:schemaRef ds:uri="98bfa9b6-a0fd-4ec0-bc77-c80b694af6e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EAADE3C-45BD-4514-A144-FD52408A8A78}">
  <ds:schemaRefs>
    <ds:schemaRef ds:uri="http://purl.org/dc/dcmitype/"/>
    <ds:schemaRef ds:uri="98bfa9b6-a0fd-4ec0-bc77-c80b694af6e4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b705befe-9649-45c6-8c99-c1f709692457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97559A3-D13D-46E4-B501-0AC9FF39BBF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-C Corp PPT Template 1 16x9</Template>
  <TotalTime>21496</TotalTime>
  <Words>308</Words>
  <Application>Microsoft Office PowerPoint</Application>
  <PresentationFormat>Widescreen</PresentationFormat>
  <Paragraphs>40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Calibri</vt:lpstr>
      <vt:lpstr>Roboto Condensed</vt:lpstr>
      <vt:lpstr>Wingdings</vt:lpstr>
      <vt:lpstr>Office Theme</vt:lpstr>
      <vt:lpstr>20_Personalizar design</vt:lpstr>
      <vt:lpstr>3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opkins, Andrea</dc:creator>
  <cp:lastModifiedBy>Hopkins, Andrea</cp:lastModifiedBy>
  <cp:revision>1391</cp:revision>
  <dcterms:created xsi:type="dcterms:W3CDTF">2020-10-29T16:04:47Z</dcterms:created>
  <dcterms:modified xsi:type="dcterms:W3CDTF">2021-04-01T20:30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IQPDocumentId">
    <vt:lpwstr>5ecd4208-358a-4c73-aa6b-2725b85f854b</vt:lpwstr>
  </property>
  <property fmtid="{D5CDD505-2E9C-101B-9397-08002B2CF9AE}" pid="3" name="Classification">
    <vt:lpwstr>None|K-C Internal Use Only</vt:lpwstr>
  </property>
  <property fmtid="{D5CDD505-2E9C-101B-9397-08002B2CF9AE}" pid="4" name="_SIProp12DataClass+5bf2daf4-e275-437f-9dc9-36f6d0708f59">
    <vt:lpwstr>v=1.2&gt;I=5bf2daf4-e275-437f-9dc9-36f6d0708f59&amp;N=K-C+Internal+Use+Only&amp;V=1.3&amp;U=S-1-5-21-73153925-784800294-903097961-2844&amp;D=Butelefski%2c+Julie&amp;A=Associated&amp;H=False</vt:lpwstr>
  </property>
  <property fmtid="{D5CDD505-2E9C-101B-9397-08002B2CF9AE}" pid="5" name="_SIProp12DataClass+0e79dc17-d442-4caf-8049-d1b311d1bcb2">
    <vt:lpwstr>v=1.2&gt;I=0e79dc17-d442-4caf-8049-d1b311d1bcb2&amp;N=None&amp;V=1.3&amp;U=S-1-5-21-73153925-784800294-903097961-2844&amp;D=Butelefski%2c+Julie&amp;A=Associated&amp;H=False</vt:lpwstr>
  </property>
  <property fmtid="{D5CDD505-2E9C-101B-9397-08002B2CF9AE}" pid="6" name="MSIP_Label_f3a425e9-ff5b-4164-ab21-177a29e6432d_Enabled">
    <vt:lpwstr>True</vt:lpwstr>
  </property>
  <property fmtid="{D5CDD505-2E9C-101B-9397-08002B2CF9AE}" pid="7" name="MSIP_Label_f3a425e9-ff5b-4164-ab21-177a29e6432d_SiteId">
    <vt:lpwstr>fee2180b-69b6-4afe-9f14-ccd70bd4c737</vt:lpwstr>
  </property>
  <property fmtid="{D5CDD505-2E9C-101B-9397-08002B2CF9AE}" pid="8" name="MSIP_Label_f3a425e9-ff5b-4164-ab21-177a29e6432d_Owner">
    <vt:lpwstr>Andrea.Hopkins@kcc.com</vt:lpwstr>
  </property>
  <property fmtid="{D5CDD505-2E9C-101B-9397-08002B2CF9AE}" pid="9" name="MSIP_Label_f3a425e9-ff5b-4164-ab21-177a29e6432d_SetDate">
    <vt:lpwstr>2020-10-29T16:05:21.1600140Z</vt:lpwstr>
  </property>
  <property fmtid="{D5CDD505-2E9C-101B-9397-08002B2CF9AE}" pid="10" name="MSIP_Label_f3a425e9-ff5b-4164-ab21-177a29e6432d_Name">
    <vt:lpwstr>K-C Internal Only</vt:lpwstr>
  </property>
  <property fmtid="{D5CDD505-2E9C-101B-9397-08002B2CF9AE}" pid="11" name="MSIP_Label_f3a425e9-ff5b-4164-ab21-177a29e6432d_Application">
    <vt:lpwstr>Microsoft Azure Information Protection</vt:lpwstr>
  </property>
  <property fmtid="{D5CDD505-2E9C-101B-9397-08002B2CF9AE}" pid="12" name="MSIP_Label_f3a425e9-ff5b-4164-ab21-177a29e6432d_ActionId">
    <vt:lpwstr>c3748b0c-9274-4aed-b147-3f2d9eb3e3d2</vt:lpwstr>
  </property>
  <property fmtid="{D5CDD505-2E9C-101B-9397-08002B2CF9AE}" pid="13" name="MSIP_Label_f3a425e9-ff5b-4164-ab21-177a29e6432d_Extended_MSFT_Method">
    <vt:lpwstr>Automatic</vt:lpwstr>
  </property>
  <property fmtid="{D5CDD505-2E9C-101B-9397-08002B2CF9AE}" pid="14" name="KCAutoClass">
    <vt:lpwstr>K-C Internal Only</vt:lpwstr>
  </property>
  <property fmtid="{D5CDD505-2E9C-101B-9397-08002B2CF9AE}" pid="15" name="ContentTypeId">
    <vt:lpwstr>0x010100A100E69F2502EA47AC79DBB106A9309E</vt:lpwstr>
  </property>
</Properties>
</file>